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  <p:sldMasterId id="2147483671" r:id="rId2"/>
  </p:sldMasterIdLst>
  <p:notesMasterIdLst>
    <p:notesMasterId r:id="rId15"/>
  </p:notesMasterIdLst>
  <p:sldIdLst>
    <p:sldId id="306" r:id="rId3"/>
    <p:sldId id="333" r:id="rId4"/>
    <p:sldId id="284" r:id="rId5"/>
    <p:sldId id="2147377125" r:id="rId6"/>
    <p:sldId id="2147377114" r:id="rId7"/>
    <p:sldId id="2147377115" r:id="rId8"/>
    <p:sldId id="2147377117" r:id="rId9"/>
    <p:sldId id="2147377122" r:id="rId10"/>
    <p:sldId id="2147377123" r:id="rId11"/>
    <p:sldId id="2147377124" r:id="rId12"/>
    <p:sldId id="2147377127" r:id="rId13"/>
    <p:sldId id="2147377120" r:id="rId14"/>
  </p:sldIdLst>
  <p:sldSz cx="12192000" cy="6858000"/>
  <p:notesSz cx="6858000" cy="9144000"/>
  <p:embeddedFontLst>
    <p:embeddedFont>
      <p:font typeface="Andy" panose="020B0604020202020204" charset="-52"/>
      <p:bold r:id="rId16"/>
    </p:embeddedFon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Century Gothic" panose="020B0502020202020204" pitchFamily="34" charset="0"/>
      <p:regular r:id="rId21"/>
      <p:bold r:id="rId22"/>
      <p:italic r:id="rId23"/>
      <p:boldItalic r:id="rId24"/>
    </p:embeddedFont>
    <p:embeddedFont>
      <p:font typeface="DIN PT" panose="020B0504030203060204" pitchFamily="34" charset="0"/>
      <p:regular r:id="rId25"/>
    </p:embeddedFont>
    <p:embeddedFont>
      <p:font typeface="DIN PT Bold" panose="020B0704030203060204" pitchFamily="34" charset="0"/>
      <p:bold r:id="rId26"/>
    </p:embeddedFont>
    <p:embeddedFont>
      <p:font typeface="DIN PT Extra Bold" panose="020B0804030203060204" pitchFamily="34" charset="0"/>
      <p:bold r:id="rId27"/>
    </p:embeddedFont>
    <p:embeddedFont>
      <p:font typeface="DIN PT Light" panose="020B0404030203060204" pitchFamily="34" charset="0"/>
      <p:regular r:id="rId28"/>
    </p:embeddedFont>
    <p:embeddedFont>
      <p:font typeface="DIN PT Medium" panose="020B0604030203060204" pitchFamily="34" charset="0"/>
      <p:regular r:id="rId29"/>
    </p:embeddedFont>
    <p:embeddedFont>
      <p:font typeface="DIN PT Thin" panose="020B0304030203060204" pitchFamily="34" charset="0"/>
      <p:regular r:id="rId30"/>
    </p:embeddedFont>
    <p:embeddedFont>
      <p:font typeface="Verdana" panose="020B0604030504040204" pitchFamily="34" charset="0"/>
      <p:regular r:id="rId31"/>
      <p:bold r:id="rId32"/>
      <p:italic r:id="rId33"/>
      <p:boldItalic r:id="rId34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11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8EBCEF-2FB8-5391-62D4-7CFC7F3540D6}" name="Листопадова Марина Анатольевна" initials="МЛ" userId="S::ListopadovaMA@fsk.ru::ff804c77-04f3-4861-aa0c-f7bc6cd667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76"/>
    <a:srgbClr val="FFF2D1"/>
    <a:srgbClr val="D9D9D9"/>
    <a:srgbClr val="B2C0E3"/>
    <a:srgbClr val="CD3F0D"/>
    <a:srgbClr val="F15A22"/>
    <a:srgbClr val="0B0A10"/>
    <a:srgbClr val="DD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17" autoAdjust="0"/>
    <p:restoredTop sz="93271" autoAdjust="0"/>
  </p:normalViewPr>
  <p:slideViewPr>
    <p:cSldViewPr snapToGrid="0">
      <p:cViewPr>
        <p:scale>
          <a:sx n="66" d="100"/>
          <a:sy n="66" d="100"/>
        </p:scale>
        <p:origin x="1674" y="288"/>
      </p:cViewPr>
      <p:guideLst>
        <p:guide pos="21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9" Type="http://schemas.microsoft.com/office/2018/10/relationships/authors" Target="authors.xml"/><Relationship Id="rId21" Type="http://schemas.openxmlformats.org/officeDocument/2006/relationships/font" Target="fonts/font6.fntdata"/><Relationship Id="rId34" Type="http://schemas.openxmlformats.org/officeDocument/2006/relationships/font" Target="fonts/font19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font" Target="fonts/font18.fntdata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9.fntdata"/><Relationship Id="rId32" Type="http://schemas.openxmlformats.org/officeDocument/2006/relationships/font" Target="fonts/font17.fntdata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C8C38B-E099-4587-9725-51B66108FB64}" type="datetimeFigureOut">
              <a:rPr lang="ru-RU" smtClean="0"/>
              <a:t>05.03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E38BBA-B69E-4FF3-8898-25C6ACD298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941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2363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B53E72-2F00-45EC-9309-A7C1D5003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Номер слайда">
            <a:extLst>
              <a:ext uri="{FF2B5EF4-FFF2-40B4-BE49-F238E27FC236}">
                <a16:creationId xmlns:a16="http://schemas.microsoft.com/office/drawing/2014/main" id="{44569778-06E7-4138-A969-343F268C188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332317" y="6546509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6261274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607F255-0260-71C1-A5D0-0570DFFE5AD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907843" y="6430780"/>
            <a:ext cx="0" cy="31479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Рисунок 6">
            <a:extLst>
              <a:ext uri="{FF2B5EF4-FFF2-40B4-BE49-F238E27FC236}">
                <a16:creationId xmlns:a16="http://schemas.microsoft.com/office/drawing/2014/main" id="{9C42086C-6234-2BD7-C4B8-64C33E3006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97153" y="6448968"/>
            <a:ext cx="1178641" cy="278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ru-RU"/>
              <a:t>Логотип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96AA3A73-E1A4-11A7-F2D3-208B73DC63F5}"/>
              </a:ext>
            </a:extLst>
          </p:cNvPr>
          <p:cNvSpPr txBox="1">
            <a:spLocks/>
          </p:cNvSpPr>
          <p:nvPr userDrawn="1"/>
        </p:nvSpPr>
        <p:spPr>
          <a:xfrm>
            <a:off x="11029507" y="147638"/>
            <a:ext cx="754506" cy="250339"/>
          </a:xfrm>
          <a:prstGeom prst="rect">
            <a:avLst/>
          </a:prstGeom>
        </p:spPr>
        <p:txBody>
          <a:bodyPr tIns="46800" rIns="0" anchor="ctr"/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C7AD2C-AB96-D642-A4E2-D25C75B2F8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Заголовок 29">
            <a:extLst>
              <a:ext uri="{FF2B5EF4-FFF2-40B4-BE49-F238E27FC236}">
                <a16:creationId xmlns:a16="http://schemas.microsoft.com/office/drawing/2014/main" id="{B0633432-3DF0-7E3F-C424-C05646CB5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137" y="434173"/>
            <a:ext cx="10695749" cy="43088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Заголовок</a:t>
            </a:r>
          </a:p>
        </p:txBody>
      </p:sp>
      <p:grpSp>
        <p:nvGrpSpPr>
          <p:cNvPr id="3" name="Рисунок 100">
            <a:extLst>
              <a:ext uri="{FF2B5EF4-FFF2-40B4-BE49-F238E27FC236}">
                <a16:creationId xmlns:a16="http://schemas.microsoft.com/office/drawing/2014/main" id="{44B22BAD-0796-87A2-BAD3-8C03F8C69BDD}"/>
              </a:ext>
            </a:extLst>
          </p:cNvPr>
          <p:cNvGrpSpPr/>
          <p:nvPr userDrawn="1"/>
        </p:nvGrpSpPr>
        <p:grpSpPr>
          <a:xfrm>
            <a:off x="11018788" y="6454376"/>
            <a:ext cx="765225" cy="266400"/>
            <a:chOff x="3497858" y="2521444"/>
            <a:chExt cx="5186766" cy="1805684"/>
          </a:xfrm>
          <a:solidFill>
            <a:schemeClr val="tx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A7BD30A3-30AA-CD36-8B03-E5F90131E614}"/>
                </a:ext>
              </a:extLst>
            </p:cNvPr>
            <p:cNvSpPr/>
            <p:nvPr/>
          </p:nvSpPr>
          <p:spPr>
            <a:xfrm>
              <a:off x="3497858" y="2521444"/>
              <a:ext cx="1802501" cy="1805684"/>
            </a:xfrm>
            <a:custGeom>
              <a:avLst/>
              <a:gdLst>
                <a:gd name="connsiteX0" fmla="*/ 901251 w 1802501"/>
                <a:gd name="connsiteY0" fmla="*/ 0 h 1805684"/>
                <a:gd name="connsiteX1" fmla="*/ 0 w 1802501"/>
                <a:gd name="connsiteY1" fmla="*/ 902842 h 1805684"/>
                <a:gd name="connsiteX2" fmla="*/ 901251 w 1802501"/>
                <a:gd name="connsiteY2" fmla="*/ 1805685 h 1805684"/>
                <a:gd name="connsiteX3" fmla="*/ 1802501 w 1802501"/>
                <a:gd name="connsiteY3" fmla="*/ 902842 h 1805684"/>
                <a:gd name="connsiteX4" fmla="*/ 901251 w 1802501"/>
                <a:gd name="connsiteY4" fmla="*/ 0 h 1805684"/>
                <a:gd name="connsiteX5" fmla="*/ 1538452 w 1802501"/>
                <a:gd name="connsiteY5" fmla="*/ 902842 h 1805684"/>
                <a:gd name="connsiteX6" fmla="*/ 901251 w 1802501"/>
                <a:gd name="connsiteY6" fmla="*/ 1541163 h 1805684"/>
                <a:gd name="connsiteX7" fmla="*/ 264049 w 1802501"/>
                <a:gd name="connsiteY7" fmla="*/ 902842 h 1805684"/>
                <a:gd name="connsiteX8" fmla="*/ 901251 w 1802501"/>
                <a:gd name="connsiteY8" fmla="*/ 264512 h 1805684"/>
                <a:gd name="connsiteX9" fmla="*/ 1538452 w 1802501"/>
                <a:gd name="connsiteY9" fmla="*/ 902842 h 18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2501" h="1805684">
                  <a:moveTo>
                    <a:pt x="901251" y="0"/>
                  </a:moveTo>
                  <a:cubicBezTo>
                    <a:pt x="404301" y="0"/>
                    <a:pt x="0" y="405008"/>
                    <a:pt x="0" y="902842"/>
                  </a:cubicBezTo>
                  <a:cubicBezTo>
                    <a:pt x="0" y="1400668"/>
                    <a:pt x="404301" y="1805685"/>
                    <a:pt x="901251" y="1805685"/>
                  </a:cubicBezTo>
                  <a:cubicBezTo>
                    <a:pt x="1398200" y="1805685"/>
                    <a:pt x="1802501" y="1400668"/>
                    <a:pt x="1802501" y="902842"/>
                  </a:cubicBezTo>
                  <a:cubicBezTo>
                    <a:pt x="1802501" y="405008"/>
                    <a:pt x="1398200" y="0"/>
                    <a:pt x="901251" y="0"/>
                  </a:cubicBezTo>
                  <a:close/>
                  <a:moveTo>
                    <a:pt x="1538452" y="902842"/>
                  </a:moveTo>
                  <a:cubicBezTo>
                    <a:pt x="1538452" y="1254803"/>
                    <a:pt x="1252590" y="1541163"/>
                    <a:pt x="901251" y="1541163"/>
                  </a:cubicBezTo>
                  <a:cubicBezTo>
                    <a:pt x="549902" y="1541163"/>
                    <a:pt x="264049" y="1254803"/>
                    <a:pt x="264049" y="902842"/>
                  </a:cubicBezTo>
                  <a:cubicBezTo>
                    <a:pt x="264049" y="550882"/>
                    <a:pt x="549902" y="264512"/>
                    <a:pt x="901251" y="264512"/>
                  </a:cubicBezTo>
                  <a:cubicBezTo>
                    <a:pt x="1252590" y="264512"/>
                    <a:pt x="1538452" y="550882"/>
                    <a:pt x="1538452" y="902842"/>
                  </a:cubicBezTo>
                  <a:close/>
                </a:path>
              </a:pathLst>
            </a:custGeom>
            <a:grpFill/>
            <a:ln w="95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FCCA7E2B-3C04-2B7C-5BB5-AE2605E49CAF}"/>
                </a:ext>
              </a:extLst>
            </p:cNvPr>
            <p:cNvSpPr/>
            <p:nvPr/>
          </p:nvSpPr>
          <p:spPr>
            <a:xfrm>
              <a:off x="6882132" y="2521444"/>
              <a:ext cx="1802491" cy="1805684"/>
            </a:xfrm>
            <a:custGeom>
              <a:avLst/>
              <a:gdLst>
                <a:gd name="connsiteX0" fmla="*/ 901241 w 1802491"/>
                <a:gd name="connsiteY0" fmla="*/ 0 h 1805684"/>
                <a:gd name="connsiteX1" fmla="*/ 0 w 1802491"/>
                <a:gd name="connsiteY1" fmla="*/ 902842 h 1805684"/>
                <a:gd name="connsiteX2" fmla="*/ 901241 w 1802491"/>
                <a:gd name="connsiteY2" fmla="*/ 1805685 h 1805684"/>
                <a:gd name="connsiteX3" fmla="*/ 1802492 w 1802491"/>
                <a:gd name="connsiteY3" fmla="*/ 902842 h 1805684"/>
                <a:gd name="connsiteX4" fmla="*/ 901241 w 1802491"/>
                <a:gd name="connsiteY4" fmla="*/ 0 h 1805684"/>
                <a:gd name="connsiteX5" fmla="*/ 901241 w 1802491"/>
                <a:gd name="connsiteY5" fmla="*/ 1541163 h 1805684"/>
                <a:gd name="connsiteX6" fmla="*/ 264049 w 1802491"/>
                <a:gd name="connsiteY6" fmla="*/ 902842 h 1805684"/>
                <a:gd name="connsiteX7" fmla="*/ 901241 w 1802491"/>
                <a:gd name="connsiteY7" fmla="*/ 264512 h 1805684"/>
                <a:gd name="connsiteX8" fmla="*/ 1538443 w 1802491"/>
                <a:gd name="connsiteY8" fmla="*/ 902842 h 1805684"/>
                <a:gd name="connsiteX9" fmla="*/ 901241 w 1802491"/>
                <a:gd name="connsiteY9" fmla="*/ 1541163 h 18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2491" h="1805684">
                  <a:moveTo>
                    <a:pt x="901241" y="0"/>
                  </a:moveTo>
                  <a:cubicBezTo>
                    <a:pt x="404292" y="0"/>
                    <a:pt x="0" y="405008"/>
                    <a:pt x="0" y="902842"/>
                  </a:cubicBezTo>
                  <a:cubicBezTo>
                    <a:pt x="0" y="1400668"/>
                    <a:pt x="404292" y="1805685"/>
                    <a:pt x="901241" y="1805685"/>
                  </a:cubicBezTo>
                  <a:cubicBezTo>
                    <a:pt x="1398200" y="1805685"/>
                    <a:pt x="1802492" y="1400668"/>
                    <a:pt x="1802492" y="902842"/>
                  </a:cubicBezTo>
                  <a:cubicBezTo>
                    <a:pt x="1802492" y="405008"/>
                    <a:pt x="1398200" y="0"/>
                    <a:pt x="901241" y="0"/>
                  </a:cubicBezTo>
                  <a:close/>
                  <a:moveTo>
                    <a:pt x="901241" y="1541163"/>
                  </a:moveTo>
                  <a:cubicBezTo>
                    <a:pt x="549902" y="1541163"/>
                    <a:pt x="264049" y="1254803"/>
                    <a:pt x="264049" y="902842"/>
                  </a:cubicBezTo>
                  <a:cubicBezTo>
                    <a:pt x="264049" y="550882"/>
                    <a:pt x="549902" y="264512"/>
                    <a:pt x="901241" y="264512"/>
                  </a:cubicBezTo>
                  <a:cubicBezTo>
                    <a:pt x="1252590" y="264512"/>
                    <a:pt x="1538443" y="550882"/>
                    <a:pt x="1538443" y="902842"/>
                  </a:cubicBezTo>
                  <a:cubicBezTo>
                    <a:pt x="1538443" y="1254803"/>
                    <a:pt x="1252590" y="1541163"/>
                    <a:pt x="901241" y="1541163"/>
                  </a:cubicBezTo>
                  <a:close/>
                </a:path>
              </a:pathLst>
            </a:custGeom>
            <a:grpFill/>
            <a:ln w="95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15A52A93-0E38-9609-6E3C-E8E7B13E7B9C}"/>
                </a:ext>
              </a:extLst>
            </p:cNvPr>
            <p:cNvSpPr/>
            <p:nvPr/>
          </p:nvSpPr>
          <p:spPr>
            <a:xfrm>
              <a:off x="5450385" y="2548803"/>
              <a:ext cx="1538518" cy="1751402"/>
            </a:xfrm>
            <a:custGeom>
              <a:avLst/>
              <a:gdLst>
                <a:gd name="connsiteX0" fmla="*/ 1348284 w 1538518"/>
                <a:gd name="connsiteY0" fmla="*/ 501674 h 1751402"/>
                <a:gd name="connsiteX1" fmla="*/ 847499 w 1538518"/>
                <a:gd name="connsiteY1" fmla="*/ 0 h 1751402"/>
                <a:gd name="connsiteX2" fmla="*/ 0 w 1538518"/>
                <a:gd name="connsiteY2" fmla="*/ 0 h 1751402"/>
                <a:gd name="connsiteX3" fmla="*/ 0 w 1538518"/>
                <a:gd name="connsiteY3" fmla="*/ 257917 h 1751402"/>
                <a:gd name="connsiteX4" fmla="*/ 847499 w 1538518"/>
                <a:gd name="connsiteY4" fmla="*/ 257917 h 1751402"/>
                <a:gd name="connsiteX5" fmla="*/ 1090830 w 1538518"/>
                <a:gd name="connsiteY5" fmla="*/ 501674 h 1751402"/>
                <a:gd name="connsiteX6" fmla="*/ 847499 w 1538518"/>
                <a:gd name="connsiteY6" fmla="*/ 745441 h 1751402"/>
                <a:gd name="connsiteX7" fmla="*/ 0 w 1538518"/>
                <a:gd name="connsiteY7" fmla="*/ 745441 h 1751402"/>
                <a:gd name="connsiteX8" fmla="*/ 0 w 1538518"/>
                <a:gd name="connsiteY8" fmla="*/ 1750965 h 1751402"/>
                <a:gd name="connsiteX9" fmla="*/ 264478 w 1538518"/>
                <a:gd name="connsiteY9" fmla="*/ 1750965 h 1751402"/>
                <a:gd name="connsiteX10" fmla="*/ 264478 w 1538518"/>
                <a:gd name="connsiteY10" fmla="*/ 1003358 h 1751402"/>
                <a:gd name="connsiteX11" fmla="*/ 701013 w 1538518"/>
                <a:gd name="connsiteY11" fmla="*/ 1003358 h 1751402"/>
                <a:gd name="connsiteX12" fmla="*/ 1220860 w 1538518"/>
                <a:gd name="connsiteY12" fmla="*/ 1751402 h 1751402"/>
                <a:gd name="connsiteX13" fmla="*/ 1538519 w 1538518"/>
                <a:gd name="connsiteY13" fmla="*/ 1751402 h 1751402"/>
                <a:gd name="connsiteX14" fmla="*/ 1003102 w 1538518"/>
                <a:gd name="connsiteY14" fmla="*/ 978174 h 1751402"/>
                <a:gd name="connsiteX15" fmla="*/ 1348284 w 1538518"/>
                <a:gd name="connsiteY15" fmla="*/ 501674 h 175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38518" h="1751402">
                  <a:moveTo>
                    <a:pt x="1348284" y="501674"/>
                  </a:moveTo>
                  <a:cubicBezTo>
                    <a:pt x="1348284" y="225045"/>
                    <a:pt x="1123644" y="0"/>
                    <a:pt x="847499" y="0"/>
                  </a:cubicBezTo>
                  <a:lnTo>
                    <a:pt x="0" y="0"/>
                  </a:lnTo>
                  <a:lnTo>
                    <a:pt x="0" y="257917"/>
                  </a:lnTo>
                  <a:lnTo>
                    <a:pt x="847499" y="257917"/>
                  </a:lnTo>
                  <a:cubicBezTo>
                    <a:pt x="981660" y="257917"/>
                    <a:pt x="1090830" y="367280"/>
                    <a:pt x="1090830" y="501674"/>
                  </a:cubicBezTo>
                  <a:cubicBezTo>
                    <a:pt x="1090830" y="636078"/>
                    <a:pt x="981660" y="745441"/>
                    <a:pt x="847499" y="745441"/>
                  </a:cubicBezTo>
                  <a:lnTo>
                    <a:pt x="0" y="745441"/>
                  </a:lnTo>
                  <a:lnTo>
                    <a:pt x="0" y="1750965"/>
                  </a:lnTo>
                  <a:lnTo>
                    <a:pt x="264478" y="1750965"/>
                  </a:lnTo>
                  <a:lnTo>
                    <a:pt x="264478" y="1003358"/>
                  </a:lnTo>
                  <a:lnTo>
                    <a:pt x="701013" y="1003358"/>
                  </a:lnTo>
                  <a:lnTo>
                    <a:pt x="1220860" y="1751402"/>
                  </a:lnTo>
                  <a:lnTo>
                    <a:pt x="1538519" y="1751402"/>
                  </a:lnTo>
                  <a:lnTo>
                    <a:pt x="1003102" y="978174"/>
                  </a:lnTo>
                  <a:cubicBezTo>
                    <a:pt x="1207822" y="911842"/>
                    <a:pt x="1348284" y="720191"/>
                    <a:pt x="1348284" y="501674"/>
                  </a:cubicBezTo>
                  <a:close/>
                </a:path>
              </a:pathLst>
            </a:custGeom>
            <a:grpFill/>
            <a:ln w="95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5322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ECTION_HEADER">
    <p:bg>
      <p:bgPr>
        <a:solidFill>
          <a:srgbClr val="12101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17" y="6396138"/>
            <a:ext cx="914400" cy="306468"/>
          </a:xfrm>
          <a:prstGeom prst="rect">
            <a:avLst/>
          </a:prstGeom>
        </p:spPr>
      </p:pic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6096000" y="306919"/>
            <a:ext cx="6096000" cy="34163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332318" y="306918"/>
            <a:ext cx="5283905" cy="337967"/>
          </a:xfrm>
        </p:spPr>
        <p:txBody>
          <a:bodyPr wrap="square" lIns="0" tIns="0" rIns="0" bIns="0">
            <a:noAutofit/>
          </a:bodyPr>
          <a:lstStyle>
            <a:lvl1pPr>
              <a:defRPr sz="2133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32318" y="989190"/>
            <a:ext cx="5278260" cy="4290484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67">
                <a:solidFill>
                  <a:schemeClr val="bg1"/>
                </a:solidFill>
              </a:defRPr>
            </a:lvl1pPr>
            <a:lvl2pPr marL="795847" indent="0">
              <a:buNone/>
              <a:defRPr sz="1467">
                <a:solidFill>
                  <a:schemeClr val="tx1"/>
                </a:solidFill>
              </a:defRPr>
            </a:lvl2pPr>
            <a:lvl3pPr marL="1405432" indent="0">
              <a:buNone/>
              <a:defRPr sz="1467">
                <a:solidFill>
                  <a:schemeClr val="tx1"/>
                </a:solidFill>
              </a:defRPr>
            </a:lvl3pPr>
            <a:lvl4pPr marL="2015016" indent="0">
              <a:buNone/>
              <a:defRPr sz="1467">
                <a:solidFill>
                  <a:schemeClr val="tx1"/>
                </a:solidFill>
              </a:defRPr>
            </a:lvl4pPr>
            <a:lvl5pPr marL="2624601" indent="0">
              <a:buNone/>
              <a:defRPr sz="1467">
                <a:solidFill>
                  <a:schemeClr val="tx1"/>
                </a:solidFill>
              </a:defRPr>
            </a:lvl5pPr>
          </a:lstStyle>
          <a:p>
            <a:pPr>
              <a:defRPr sz="11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/>
              <a:t>Шрифт: </a:t>
            </a:r>
            <a:r>
              <a:rPr lang="en-US" dirty="0"/>
              <a:t>VERDANA</a:t>
            </a:r>
            <a:r>
              <a:rPr lang="ru-RU" dirty="0"/>
              <a:t>, размер: 11. Рядовой текст страницы. Не изменяйте цвет, размер и межстрочное расстояние шрифта для сохранения единой стилистики бренда. Не изменяйте цвет, размер и межстрочное расстояние шрифта </a:t>
            </a:r>
            <a:br>
              <a:rPr lang="ru-RU" dirty="0"/>
            </a:br>
            <a:r>
              <a:rPr lang="ru-RU" dirty="0"/>
              <a:t>для сохранения единой стилистики бренда. </a:t>
            </a:r>
            <a:br>
              <a:rPr lang="ru-RU" dirty="0"/>
            </a:br>
            <a:r>
              <a:rPr lang="ru-RU" dirty="0"/>
              <a:t>Рядовой текст страницы. Не изменяйте цвет, размер и межстрочное расстояние шрифта для сохранения единой стилистики бренда. </a:t>
            </a:r>
          </a:p>
          <a:p>
            <a:pPr>
              <a:defRPr sz="1100">
                <a:latin typeface="Verdana"/>
                <a:ea typeface="Verdana"/>
                <a:cs typeface="Verdana"/>
                <a:sym typeface="Verdana"/>
              </a:defRPr>
            </a:pPr>
            <a:endParaRPr lang="ru-RU" dirty="0"/>
          </a:p>
          <a:p>
            <a:pPr>
              <a:defRPr sz="11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/>
              <a:t>Рядовой текст страницы. Не изменяйте цвет, размер и межстрочное расстояние шрифта для сохранения единой стилистики бренда. </a:t>
            </a:r>
          </a:p>
          <a:p>
            <a:pPr>
              <a:defRPr sz="1100">
                <a:latin typeface="Verdana"/>
                <a:ea typeface="Verdana"/>
                <a:cs typeface="Verdana"/>
                <a:sym typeface="Verdana"/>
              </a:defRPr>
            </a:pPr>
            <a:endParaRPr lang="ru-RU" dirty="0"/>
          </a:p>
          <a:p>
            <a:pPr>
              <a:defRPr sz="11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/>
              <a:t>Рядовой текст страницы. Не изменяйте цвет, размер и межстрочное расстояние шрифта для сохранения единой стилистики бренда. Рядовой текст страницы. Не изменяйте цвет, размер и межстрочное расстояние шрифта для сохранения единой стилистики бренда.</a:t>
            </a:r>
          </a:p>
        </p:txBody>
      </p:sp>
      <p:sp>
        <p:nvSpPr>
          <p:cNvPr id="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332317" y="6546507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230875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bg>
      <p:bgPr>
        <a:solidFill>
          <a:srgbClr val="12101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13"/>
          </p:nvPr>
        </p:nvSpPr>
        <p:spPr>
          <a:xfrm>
            <a:off x="3756897" y="0"/>
            <a:ext cx="8435104" cy="34163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515363" y="2632488"/>
            <a:ext cx="3879944" cy="1597379"/>
          </a:xfrm>
        </p:spPr>
        <p:txBody>
          <a:bodyPr lIns="0" rIns="0" bIns="90000" anchor="ctr">
            <a:noAutofit/>
          </a:bodyPr>
          <a:lstStyle>
            <a:lvl1pPr marL="152396" indent="0" algn="l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>
                <a:solidFill>
                  <a:schemeClr val="bg1"/>
                </a:solidFill>
              </a:rPr>
              <a:t>ЗАГОЛОВОК ОБЛОЖКИ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СРЕДНЕЙ ДЛИНЫ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317" y="306639"/>
            <a:ext cx="914400" cy="306468"/>
          </a:xfrm>
          <a:prstGeom prst="rect">
            <a:avLst/>
          </a:prstGeom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11489216" y="6254341"/>
            <a:ext cx="538995" cy="451363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63622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B53E72-2F00-45EC-9309-A7C1D5003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Номер слайда">
            <a:extLst>
              <a:ext uri="{FF2B5EF4-FFF2-40B4-BE49-F238E27FC236}">
                <a16:creationId xmlns:a16="http://schemas.microsoft.com/office/drawing/2014/main" id="{44569778-06E7-4138-A969-343F268C188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332317" y="6546509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4774309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B53E72-2F00-45EC-9309-A7C1D5003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7" y="131703"/>
            <a:ext cx="10302560" cy="70173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Номер слайда">
            <a:extLst>
              <a:ext uri="{FF2B5EF4-FFF2-40B4-BE49-F238E27FC236}">
                <a16:creationId xmlns:a16="http://schemas.microsoft.com/office/drawing/2014/main" id="{44569778-06E7-4138-A969-343F268C188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332317" y="6546509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34DD843-6A73-4261-857B-462AD697EB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17" y="303155"/>
            <a:ext cx="914400" cy="306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580735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7313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6A2D516-5DE7-4C4D-8D80-E795D2F719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17" y="303155"/>
            <a:ext cx="914400" cy="306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1804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13"/>
          </p:nvPr>
        </p:nvSpPr>
        <p:spPr>
          <a:xfrm>
            <a:off x="3756897" y="0"/>
            <a:ext cx="8435104" cy="6861717"/>
          </a:xfrm>
        </p:spPr>
        <p:txBody>
          <a:bodyPr/>
          <a:lstStyle/>
          <a:p>
            <a:endParaRPr lang="ru-RU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515363" y="2632488"/>
            <a:ext cx="3879944" cy="1597379"/>
          </a:xfrm>
        </p:spPr>
        <p:txBody>
          <a:bodyPr lIns="0" rIns="0" bIns="90000" anchor="ctr">
            <a:noAutofit/>
          </a:bodyPr>
          <a:lstStyle>
            <a:lvl1pPr marL="152396" indent="0" algn="l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</a:rPr>
              <a:t>ЗАГОЛОВОК ОБЛОЖКИ</a:t>
            </a:r>
            <a:br>
              <a:rPr lang="ru-RU">
                <a:solidFill>
                  <a:schemeClr val="bg1"/>
                </a:solidFill>
              </a:rPr>
            </a:br>
            <a:r>
              <a:rPr lang="ru-RU">
                <a:solidFill>
                  <a:schemeClr val="bg1"/>
                </a:solidFill>
              </a:rPr>
              <a:t>СРЕДНЕЙ ДЛИНЫ</a:t>
            </a:r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317" y="306639"/>
            <a:ext cx="914400" cy="306468"/>
          </a:xfrm>
          <a:prstGeom prst="rect">
            <a:avLst/>
          </a:prstGeom>
        </p:spPr>
      </p:pic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11489216" y="6254341"/>
            <a:ext cx="538995" cy="451363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3269218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517" y="6396138"/>
            <a:ext cx="914400" cy="306469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332318" y="302684"/>
            <a:ext cx="11531599" cy="302683"/>
          </a:xfrm>
        </p:spPr>
        <p:txBody>
          <a:bodyPr wrap="square" lIns="0" tIns="0" rIns="0" bIns="0">
            <a:noAutofit/>
          </a:bodyPr>
          <a:lstStyle>
            <a:lvl1pPr>
              <a:defRPr sz="2133">
                <a:solidFill>
                  <a:schemeClr val="accent1"/>
                </a:solidFill>
              </a:defRPr>
            </a:lvl1pPr>
          </a:lstStyle>
          <a:p>
            <a:r>
              <a:rPr lang="ru-RU"/>
              <a:t>ЗАГОЛОВОК СЛАЙДА</a:t>
            </a:r>
          </a:p>
        </p:txBody>
      </p:sp>
      <p:sp>
        <p:nvSpPr>
          <p:cNvPr id="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332317" y="6546507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520537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09EC01-D6FA-49F9-9003-97DF6B2D8C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E338B39-4909-4A6C-8A6E-065A542FC7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9A05551-FF58-4635-9BCA-B204CDF86C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FFD22DFC-55E2-4F27-92AB-79270B2FF176}" type="datetimeFigureOut">
              <a:rPr lang="ru-RU" smtClean="0"/>
              <a:pPr/>
              <a:t>05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05EEDA8-B74B-4C11-9B18-D8C4CD279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E862EE-0720-4AB3-9E87-C065729A4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730AA-0671-4F83-99EC-29256D92EE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2152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39286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17" y="6396138"/>
            <a:ext cx="914400" cy="306469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332318" y="306917"/>
            <a:ext cx="11531599" cy="349256"/>
          </a:xfrm>
        </p:spPr>
        <p:txBody>
          <a:bodyPr wrap="square" lIns="0" tIns="0" rIns="0" bIns="0">
            <a:noAutofit/>
          </a:bodyPr>
          <a:lstStyle>
            <a:lvl1pPr>
              <a:defRPr sz="2133">
                <a:solidFill>
                  <a:schemeClr val="accent1"/>
                </a:solidFill>
              </a:defRPr>
            </a:lvl1pPr>
          </a:lstStyle>
          <a:p>
            <a:r>
              <a:rPr lang="ru-RU"/>
              <a:t>ЗАГОЛОВОК СЛАЙДА</a:t>
            </a:r>
          </a:p>
        </p:txBody>
      </p:sp>
      <p:sp>
        <p:nvSpPr>
          <p:cNvPr id="7" name="Диаграмма 3"/>
          <p:cNvSpPr>
            <a:spLocks noGrp="1"/>
          </p:cNvSpPr>
          <p:nvPr>
            <p:ph type="chart" sz="quarter" idx="10"/>
          </p:nvPr>
        </p:nvSpPr>
        <p:spPr>
          <a:xfrm>
            <a:off x="332319" y="1546577"/>
            <a:ext cx="5289549" cy="410915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3"/>
          <p:cNvSpPr>
            <a:spLocks noGrp="1"/>
          </p:cNvSpPr>
          <p:nvPr>
            <p:ph type="chart" sz="quarter" idx="12"/>
          </p:nvPr>
        </p:nvSpPr>
        <p:spPr>
          <a:xfrm>
            <a:off x="6141863" y="1546577"/>
            <a:ext cx="5305072" cy="4109156"/>
          </a:xfr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332317" y="6546507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7343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E6BEBE3-6849-F33C-F779-B82566BEE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95F45056-2991-493A-893D-8687BEFC1784}" type="datetimeFigureOut">
              <a:rPr lang="ru-RU" smtClean="0"/>
              <a:pPr/>
              <a:t>05.03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C7783B1-79E0-9ACC-136D-3D83F8DC0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4EA4CFC-A1D9-2520-C432-462D13982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63D68-617A-4910-8129-099D83C145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70466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F1484A-EF2E-46E5-B7AB-172DAF55E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B11FF66-4897-402D-8616-6E4D4FCE4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7E671B07-A725-4F57-9ADF-0D5F4E966EC3}" type="datetimeFigureOut">
              <a:rPr lang="ru-RU" smtClean="0"/>
              <a:pPr/>
              <a:t>05.03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52C3DB4-A733-4989-86D1-A8B2AD366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C5434DA-C76E-4664-B6F6-E714E146EB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E18459-796A-4109-A2EE-36038EB854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7783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4CF63FA-96C5-4AD5-B2BE-3ADB1C10FD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3860" y="6380868"/>
            <a:ext cx="914400" cy="306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700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517" y="6396138"/>
            <a:ext cx="914400" cy="306469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332318" y="302684"/>
            <a:ext cx="11531599" cy="302683"/>
          </a:xfrm>
        </p:spPr>
        <p:txBody>
          <a:bodyPr wrap="square" lIns="0" tIns="0" rIns="0" bIns="0">
            <a:noAutofit/>
          </a:bodyPr>
          <a:lstStyle>
            <a:lvl1pPr>
              <a:defRPr sz="2133">
                <a:solidFill>
                  <a:schemeClr val="accent1"/>
                </a:solidFill>
              </a:defRPr>
            </a:lvl1pPr>
          </a:lstStyle>
          <a:p>
            <a:r>
              <a:rPr lang="ru-RU"/>
              <a:t>ЗАГОЛОВОК СЛАЙДА</a:t>
            </a:r>
          </a:p>
        </p:txBody>
      </p:sp>
      <p:sp>
        <p:nvSpPr>
          <p:cNvPr id="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332317" y="6546507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074112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09EC01-D6FA-49F9-9003-97DF6B2D8C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E338B39-4909-4A6C-8A6E-065A542FC7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9A05551-FF58-4635-9BCA-B204CDF86C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FFD22DFC-55E2-4F27-92AB-79270B2FF176}" type="datetimeFigureOut">
              <a:rPr lang="ru-RU" smtClean="0"/>
              <a:pPr/>
              <a:t>05.03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05EEDA8-B74B-4C11-9B18-D8C4CD279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E862EE-0720-4AB3-9E87-C065729A4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730AA-0671-4F83-99EC-29256D92EE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81632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17" y="6396138"/>
            <a:ext cx="914400" cy="306469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332318" y="306917"/>
            <a:ext cx="11531599" cy="349256"/>
          </a:xfrm>
        </p:spPr>
        <p:txBody>
          <a:bodyPr wrap="square" lIns="0" tIns="0" rIns="0" bIns="0">
            <a:noAutofit/>
          </a:bodyPr>
          <a:lstStyle>
            <a:lvl1pPr>
              <a:defRPr sz="2133">
                <a:solidFill>
                  <a:schemeClr val="accent1"/>
                </a:solidFill>
              </a:defRPr>
            </a:lvl1pPr>
          </a:lstStyle>
          <a:p>
            <a:r>
              <a:rPr lang="ru-RU"/>
              <a:t>ЗАГОЛОВОК СЛАЙДА</a:t>
            </a:r>
          </a:p>
        </p:txBody>
      </p:sp>
      <p:sp>
        <p:nvSpPr>
          <p:cNvPr id="7" name="Диаграмма 3"/>
          <p:cNvSpPr>
            <a:spLocks noGrp="1"/>
          </p:cNvSpPr>
          <p:nvPr>
            <p:ph type="chart" sz="quarter" idx="10"/>
          </p:nvPr>
        </p:nvSpPr>
        <p:spPr>
          <a:xfrm>
            <a:off x="332319" y="1546577"/>
            <a:ext cx="5289549" cy="410915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3"/>
          <p:cNvSpPr>
            <a:spLocks noGrp="1"/>
          </p:cNvSpPr>
          <p:nvPr>
            <p:ph type="chart" sz="quarter" idx="12"/>
          </p:nvPr>
        </p:nvSpPr>
        <p:spPr>
          <a:xfrm>
            <a:off x="6141863" y="1546577"/>
            <a:ext cx="5305072" cy="4109156"/>
          </a:xfr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332317" y="6546507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868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E6BEBE3-6849-F33C-F779-B82566BEE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95F45056-2991-493A-893D-8687BEFC1784}" type="datetimeFigureOut">
              <a:rPr lang="ru-RU" smtClean="0"/>
              <a:pPr/>
              <a:t>05.03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C7783B1-79E0-9ACC-136D-3D83F8DC0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4EA4CFC-A1D9-2520-C432-462D13982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63D68-617A-4910-8129-099D83C145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7192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F1484A-EF2E-46E5-B7AB-172DAF55E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B11FF66-4897-402D-8616-6E4D4FCE4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7E671B07-A725-4F57-9ADF-0D5F4E966EC3}" type="datetimeFigureOut">
              <a:rPr lang="ru-RU" smtClean="0"/>
              <a:pPr/>
              <a:t>05.03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52C3DB4-A733-4989-86D1-A8B2AD366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C5434DA-C76E-4664-B6F6-E714E146EB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E18459-796A-4109-A2EE-36038EB854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9062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Пусто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B53E72-2F00-45EC-9309-A7C1D5003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7" y="131703"/>
            <a:ext cx="10302560" cy="70173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Номер слайда">
            <a:extLst>
              <a:ext uri="{FF2B5EF4-FFF2-40B4-BE49-F238E27FC236}">
                <a16:creationId xmlns:a16="http://schemas.microsoft.com/office/drawing/2014/main" id="{44569778-06E7-4138-A969-343F268C188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332317" y="6546509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83838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34DD843-6A73-4261-857B-462AD697EB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17" y="303155"/>
            <a:ext cx="914400" cy="306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451781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B0A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6E61ED3-C6EA-43EF-899B-27576F6BFD2C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6E61ED3-C6EA-43EF-899B-27576F6BF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D5C89-1F31-4224-BCD6-E899F5C99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131703"/>
            <a:ext cx="11449051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C4529BA-73C7-4C26-93E1-F013CE0AB7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078016"/>
            <a:ext cx="11449051" cy="137370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Номер слайда">
            <a:extLst>
              <a:ext uri="{FF2B5EF4-FFF2-40B4-BE49-F238E27FC236}">
                <a16:creationId xmlns:a16="http://schemas.microsoft.com/office/drawing/2014/main" id="{9331F350-2F27-47D3-A92E-C32006B0F61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332317" y="6546509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196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82" r:id="rId11"/>
    <p:sldLayoutId id="2147483683" r:id="rId12"/>
  </p:sldLayoutIdLst>
  <p:hf sldNum="0"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3C3C3C"/>
        </a:buClr>
        <a:buFont typeface="Verdana" panose="020B0503030202060203" pitchFamily="34" charset="0"/>
        <a:buChar char="−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Verdana" panose="020B0503030202060203" pitchFamily="34" charset="0"/>
        <a:buChar char="−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3C3C3C"/>
        </a:buClr>
        <a:buFont typeface="Verdana" panose="020B0503030202060203" pitchFamily="34" charset="0"/>
        <a:buChar char="−"/>
        <a:defRPr sz="12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3C3C3C"/>
        </a:buClr>
        <a:buFont typeface="Verdana" panose="020B0503030202060203" pitchFamily="34" charset="0"/>
        <a:buChar char="−"/>
        <a:defRPr sz="11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234">
          <p15:clr>
            <a:srgbClr val="F26B43"/>
          </p15:clr>
        </p15:guide>
        <p15:guide id="9" orient="horz" pos="527">
          <p15:clr>
            <a:srgbClr val="F26B43"/>
          </p15:clr>
        </p15:guide>
        <p15:guide id="11" orient="horz" pos="3974">
          <p15:clr>
            <a:srgbClr val="F26B43"/>
          </p15:clr>
        </p15:guide>
        <p15:guide id="12" pos="74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B0A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6E61ED3-C6EA-43EF-899B-27576F6BFD2C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Слайд think-cell" r:id="rId14" imgW="359" imgH="360" progId="TCLayout.ActiveDocument.1">
                  <p:embed/>
                </p:oleObj>
              </mc:Choice>
              <mc:Fallback>
                <p:oleObj name="Слайд think-cell" r:id="rId14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6E61ED3-C6EA-43EF-899B-27576F6BF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D5C89-1F31-4224-BCD6-E899F5C99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131703"/>
            <a:ext cx="11449051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C4529BA-73C7-4C26-93E1-F013CE0AB7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078016"/>
            <a:ext cx="11449051" cy="137370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Номер слайда">
            <a:extLst>
              <a:ext uri="{FF2B5EF4-FFF2-40B4-BE49-F238E27FC236}">
                <a16:creationId xmlns:a16="http://schemas.microsoft.com/office/drawing/2014/main" id="{9331F350-2F27-47D3-A92E-C32006B0F61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332317" y="6546509"/>
            <a:ext cx="177400" cy="123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80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84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sldNum="0"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DIN PT Medium" panose="020B0604030203060204" pitchFamily="34" charset="0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3C3C3C"/>
        </a:buClr>
        <a:buFont typeface="Verdana" panose="020B0503030202060203" pitchFamily="34" charset="0"/>
        <a:buChar char="−"/>
        <a:defRPr sz="1600" kern="1200">
          <a:solidFill>
            <a:schemeClr val="bg1"/>
          </a:solidFill>
          <a:latin typeface="DIN PT Light" panose="020B0404030203060204" pitchFamily="34" charset="0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Verdana" panose="020B0503030202060203" pitchFamily="34" charset="0"/>
        <a:buChar char="−"/>
        <a:defRPr sz="1400" kern="1200">
          <a:solidFill>
            <a:schemeClr val="bg1"/>
          </a:solidFill>
          <a:latin typeface="DIN PT Light" panose="020B0404030203060204" pitchFamily="34" charset="0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3C3C3C"/>
        </a:buClr>
        <a:buFont typeface="Verdana" panose="020B0503030202060203" pitchFamily="34" charset="0"/>
        <a:buChar char="−"/>
        <a:defRPr sz="1200" kern="1200">
          <a:solidFill>
            <a:schemeClr val="bg1"/>
          </a:solidFill>
          <a:latin typeface="DIN PT Light" panose="020B0404030203060204" pitchFamily="34" charset="0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3C3C3C"/>
        </a:buClr>
        <a:buFont typeface="Verdana" panose="020B0503030202060203" pitchFamily="34" charset="0"/>
        <a:buChar char="−"/>
        <a:defRPr sz="1100" kern="1200">
          <a:solidFill>
            <a:schemeClr val="bg1"/>
          </a:solidFill>
          <a:latin typeface="DIN PT Light" panose="020B0404030203060204" pitchFamily="34" charset="0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234">
          <p15:clr>
            <a:srgbClr val="F26B43"/>
          </p15:clr>
        </p15:guide>
        <p15:guide id="9" orient="horz" pos="527">
          <p15:clr>
            <a:srgbClr val="F26B43"/>
          </p15:clr>
        </p15:guide>
        <p15:guide id="11" orient="horz" pos="3974">
          <p15:clr>
            <a:srgbClr val="F26B43"/>
          </p15:clr>
        </p15:guide>
        <p15:guide id="12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microsoft.com/office/2007/relationships/media" Target="../media/media2.mp4"/><Relationship Id="rId1" Type="http://schemas.openxmlformats.org/officeDocument/2006/relationships/video" Target="NULL" TargetMode="Externa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Текст 35"/>
          <p:cNvSpPr>
            <a:spLocks noGrp="1"/>
          </p:cNvSpPr>
          <p:nvPr>
            <p:ph type="body" sz="quarter" idx="10"/>
          </p:nvPr>
        </p:nvSpPr>
        <p:spPr>
          <a:xfrm>
            <a:off x="167023" y="3677517"/>
            <a:ext cx="3594442" cy="1597379"/>
          </a:xfrm>
        </p:spPr>
        <p:txBody>
          <a:bodyPr/>
          <a:lstStyle/>
          <a:p>
            <a:r>
              <a:rPr lang="ru-RU" dirty="0">
                <a:latin typeface="DIN PT" panose="020B0504030203060204" pitchFamily="34" charset="0"/>
              </a:rPr>
              <a:t>Марина Листопадова</a:t>
            </a:r>
          </a:p>
          <a:p>
            <a:r>
              <a:rPr lang="ru-RU" sz="1800" dirty="0">
                <a:latin typeface="DIN PT" panose="020B0504030203060204" pitchFamily="34" charset="0"/>
              </a:rPr>
              <a:t>Директор по развитию клиентского опыта ГК ФС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943823-7799-4597-A784-1072ADF1C61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" r="18"/>
          <a:stretch>
            <a:fillRect/>
          </a:stretch>
        </p:blipFill>
        <p:spPr>
          <a:xfrm>
            <a:off x="3761465" y="0"/>
            <a:ext cx="8430535" cy="6858000"/>
          </a:xfrm>
        </p:spPr>
      </p:pic>
      <p:sp>
        <p:nvSpPr>
          <p:cNvPr id="7" name="Текст 35">
            <a:extLst>
              <a:ext uri="{FF2B5EF4-FFF2-40B4-BE49-F238E27FC236}">
                <a16:creationId xmlns:a16="http://schemas.microsoft.com/office/drawing/2014/main" id="{BDD8AD78-F00D-4445-96AC-F86AFBE1C13D}"/>
              </a:ext>
            </a:extLst>
          </p:cNvPr>
          <p:cNvSpPr txBox="1">
            <a:spLocks/>
          </p:cNvSpPr>
          <p:nvPr/>
        </p:nvSpPr>
        <p:spPr>
          <a:xfrm>
            <a:off x="174281" y="2094413"/>
            <a:ext cx="6197490" cy="1597379"/>
          </a:xfrm>
          <a:prstGeom prst="rect">
            <a:avLst/>
          </a:prstGeom>
        </p:spPr>
        <p:txBody>
          <a:bodyPr vert="horz" wrap="square" lIns="0" tIns="45720" rIns="0" bIns="90000" rtlCol="0" anchor="ctr">
            <a:noAutofit/>
          </a:bodyPr>
          <a:lstStyle>
            <a:lvl1pPr marL="152396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defRPr sz="2667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C3C3C"/>
              </a:buClr>
              <a:buFont typeface="Verdana" panose="020B0503030202060203" pitchFamily="34" charset="0"/>
              <a:buChar char="−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Verdana" panose="020B0503030202060203" pitchFamily="34" charset="0"/>
              <a:buChar char="−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C3C3C"/>
              </a:buClr>
              <a:buFont typeface="Verdana" panose="020B0503030202060203" pitchFamily="34" charset="0"/>
              <a:buChar char="−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C3C3C"/>
              </a:buClr>
              <a:buFont typeface="Verdana" panose="020B0503030202060203" pitchFamily="34" charset="0"/>
              <a:buChar char="−"/>
              <a:defRPr sz="11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latin typeface="DIN PT" panose="020B0504030203060204" pitchFamily="34" charset="0"/>
              </a:rPr>
              <a:t>СНИЖЕНИЕ КОНФЛИКТНОСТИ И РОСТ ЛОЯЛЬНОСТИ КЛИЕНТОВ ЧЕРЕЗ КОММУНИКАЦИИ</a:t>
            </a:r>
            <a:endParaRPr lang="ru-RU" sz="1800" dirty="0">
              <a:latin typeface="DIN PT" panose="020B0504030203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68593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B33673-BE3C-3CD4-EFFF-4D1CADCA3A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3">
            <a:extLst>
              <a:ext uri="{FF2B5EF4-FFF2-40B4-BE49-F238E27FC236}">
                <a16:creationId xmlns:a16="http://schemas.microsoft.com/office/drawing/2014/main" id="{24E3554D-296A-46AF-87BA-6B47575E3B69}"/>
              </a:ext>
            </a:extLst>
          </p:cNvPr>
          <p:cNvSpPr/>
          <p:nvPr/>
        </p:nvSpPr>
        <p:spPr>
          <a:xfrm>
            <a:off x="496111" y="976313"/>
            <a:ext cx="11199778" cy="369331"/>
          </a:xfrm>
          <a:prstGeom prst="roundRect">
            <a:avLst/>
          </a:prstGeom>
          <a:gradFill flip="none" rotWithShape="1">
            <a:gsLst>
              <a:gs pos="100000">
                <a:schemeClr val="accent1">
                  <a:lumMod val="100000"/>
                </a:schemeClr>
              </a:gs>
              <a:gs pos="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203200" sx="99000" sy="99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5AA20A-DB82-427D-96CF-6D58248DE902}"/>
              </a:ext>
            </a:extLst>
          </p:cNvPr>
          <p:cNvSpPr txBox="1"/>
          <p:nvPr/>
        </p:nvSpPr>
        <p:spPr>
          <a:xfrm>
            <a:off x="496111" y="1002343"/>
            <a:ext cx="111997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DIN PT" panose="020B0504030203060204" pitchFamily="34" charset="0"/>
              </a:rPr>
              <a:t>Взаимодействие с Управляющей компанией (проживание в ЖК)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4890863-91A0-D775-4324-9E786A5755CC}"/>
              </a:ext>
            </a:extLst>
          </p:cNvPr>
          <p:cNvSpPr txBox="1">
            <a:spLocks/>
          </p:cNvSpPr>
          <p:nvPr/>
        </p:nvSpPr>
        <p:spPr>
          <a:xfrm>
            <a:off x="371475" y="311031"/>
            <a:ext cx="11449049" cy="2862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4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УДЕРЖАНИЕ ЛОЯЛЬНОСТИ ЧЕРЕЗ </a:t>
            </a:r>
            <a:r>
              <a:rPr lang="ru-RU" sz="1400" dirty="0">
                <a:solidFill>
                  <a:srgbClr val="F15A22"/>
                </a:solidFill>
                <a:latin typeface="+mn-lt"/>
                <a:ea typeface="+mn-ea"/>
                <a:cs typeface="+mn-cs"/>
              </a:rPr>
              <a:t>СЕРВИСНЫЕ КОММУНИКАЦИ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С КЛИЕНТОМ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77E852B6-1188-9DA9-5180-ABBCF9DD3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 bwMode="auto">
          <a:xfrm>
            <a:off x="371475" y="1703582"/>
            <a:ext cx="4604400" cy="4604400"/>
          </a:xfrm>
          <a:prstGeom prst="roundRect">
            <a:avLst>
              <a:gd name="adj" fmla="val 591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33">
            <a:extLst>
              <a:ext uri="{FF2B5EF4-FFF2-40B4-BE49-F238E27FC236}">
                <a16:creationId xmlns:a16="http://schemas.microsoft.com/office/drawing/2014/main" id="{470CA634-FC4C-48C2-BE5D-6BFD6D0A90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63244"/>
              </p:ext>
            </p:extLst>
          </p:nvPr>
        </p:nvGraphicFramePr>
        <p:xfrm>
          <a:off x="5194300" y="1711963"/>
          <a:ext cx="6626224" cy="2697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26224">
                  <a:extLst>
                    <a:ext uri="{9D8B030D-6E8A-4147-A177-3AD203B41FA5}">
                      <a16:colId xmlns:a16="http://schemas.microsoft.com/office/drawing/2014/main" val="3900400295"/>
                    </a:ext>
                  </a:extLst>
                </a:gridCol>
              </a:tblGrid>
              <a:tr h="182784"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+mn-lt"/>
                        </a:rPr>
                        <a:t>Создаем карту новосела </a:t>
                      </a:r>
                      <a:br>
                        <a:rPr lang="ru-RU" sz="12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Даем полезную информацию о ЖК, услугах и сервисах, комьюнити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ru-RU" sz="12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Бережно передаем клиента от Застройщика в УК</a:t>
                      </a:r>
                      <a:b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Удобный переход в ЛК, проведение встреч с инициативными группа, </a:t>
                      </a:r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online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 и </a:t>
                      </a:r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offline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 встречи </a:t>
                      </a:r>
                      <a:b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с жителями по ключевым моментам и событиям ЖК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ru-RU" sz="12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Совместно с УК мониторим:</a:t>
                      </a:r>
                    </a:p>
                    <a:p>
                      <a:pPr marL="742928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Скорость отработки заявки жителя</a:t>
                      </a:r>
                    </a:p>
                    <a:p>
                      <a:pPr marL="742928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Справедливость закрытия заявки</a:t>
                      </a:r>
                    </a:p>
                    <a:p>
                      <a:pPr marL="742928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Удовлетворенность жителем качеством оказанных услуг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ru-RU" sz="11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marR="0" lvl="0" indent="-28575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Выстраиваем бесшовные процессы во взаимодействии с УК </a:t>
                      </a:r>
                      <a:b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при работе с клиентом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358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22279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7A3DA8-8B79-E359-1540-F934A439D2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E0B5AC24-4D36-88F2-06B8-38DE729ED538}"/>
              </a:ext>
            </a:extLst>
          </p:cNvPr>
          <p:cNvSpPr/>
          <p:nvPr/>
        </p:nvSpPr>
        <p:spPr>
          <a:xfrm>
            <a:off x="2127380" y="1640671"/>
            <a:ext cx="9693144" cy="2062389"/>
          </a:xfrm>
          <a:custGeom>
            <a:avLst/>
            <a:gdLst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96785 w 6056802"/>
              <a:gd name="connsiteY8" fmla="*/ 1079741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701531 w 6056802"/>
              <a:gd name="connsiteY8" fmla="*/ 1051507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701531 w 6056802"/>
              <a:gd name="connsiteY8" fmla="*/ 1051507 h 1173980"/>
              <a:gd name="connsiteX9" fmla="*/ 1195724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56802" h="1173980">
                <a:moveTo>
                  <a:pt x="3093228" y="748"/>
                </a:moveTo>
                <a:cubicBezTo>
                  <a:pt x="3336095" y="22980"/>
                  <a:pt x="3466860" y="533172"/>
                  <a:pt x="3669194" y="610992"/>
                </a:cubicBezTo>
                <a:cubicBezTo>
                  <a:pt x="3885016" y="693999"/>
                  <a:pt x="3939784" y="407134"/>
                  <a:pt x="4338041" y="501128"/>
                </a:cubicBezTo>
                <a:cubicBezTo>
                  <a:pt x="4711406" y="589248"/>
                  <a:pt x="5688810" y="993868"/>
                  <a:pt x="6004744" y="1147702"/>
                </a:cubicBezTo>
                <a:lnTo>
                  <a:pt x="6056802" y="1173980"/>
                </a:lnTo>
                <a:lnTo>
                  <a:pt x="792" y="1173980"/>
                </a:lnTo>
                <a:lnTo>
                  <a:pt x="0" y="1166803"/>
                </a:lnTo>
                <a:cubicBezTo>
                  <a:pt x="66554" y="1111633"/>
                  <a:pt x="204547" y="1066012"/>
                  <a:pt x="321469" y="1046796"/>
                </a:cubicBezTo>
                <a:cubicBezTo>
                  <a:pt x="438391" y="1027580"/>
                  <a:pt x="555822" y="1086299"/>
                  <a:pt x="701531" y="1051507"/>
                </a:cubicBezTo>
                <a:cubicBezTo>
                  <a:pt x="847240" y="1016715"/>
                  <a:pt x="968792" y="870575"/>
                  <a:pt x="1195724" y="838043"/>
                </a:cubicBezTo>
                <a:cubicBezTo>
                  <a:pt x="1422656" y="805511"/>
                  <a:pt x="1801848" y="995476"/>
                  <a:pt x="2063123" y="856315"/>
                </a:cubicBezTo>
                <a:cubicBezTo>
                  <a:pt x="2324398" y="717155"/>
                  <a:pt x="2767234" y="53130"/>
                  <a:pt x="3043106" y="3081"/>
                </a:cubicBezTo>
                <a:cubicBezTo>
                  <a:pt x="3060348" y="-47"/>
                  <a:pt x="3077037" y="-734"/>
                  <a:pt x="3093228" y="748"/>
                </a:cubicBezTo>
                <a:close/>
              </a:path>
            </a:pathLst>
          </a:custGeom>
          <a:noFill/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id="{40B67509-1AFF-E8D9-32D3-FBAEDD050262}"/>
              </a:ext>
            </a:extLst>
          </p:cNvPr>
          <p:cNvSpPr/>
          <p:nvPr/>
        </p:nvSpPr>
        <p:spPr>
          <a:xfrm>
            <a:off x="3185455" y="1596627"/>
            <a:ext cx="9693144" cy="2126752"/>
          </a:xfrm>
          <a:custGeom>
            <a:avLst/>
            <a:gdLst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96785 w 6056802"/>
              <a:gd name="connsiteY8" fmla="*/ 1079741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1260630 w 6056802"/>
              <a:gd name="connsiteY8" fmla="*/ 1061024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1260630 w 6056802"/>
              <a:gd name="connsiteY8" fmla="*/ 1061024 h 1173980"/>
              <a:gd name="connsiteX9" fmla="*/ 1784460 w 6056802"/>
              <a:gd name="connsiteY9" fmla="*/ 848666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1260630 w 6056802"/>
              <a:gd name="connsiteY8" fmla="*/ 1061024 h 1173980"/>
              <a:gd name="connsiteX9" fmla="*/ 1784460 w 6056802"/>
              <a:gd name="connsiteY9" fmla="*/ 848666 h 1173980"/>
              <a:gd name="connsiteX10" fmla="*/ 2593678 w 6056802"/>
              <a:gd name="connsiteY10" fmla="*/ 792580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507177 w 6056802"/>
              <a:gd name="connsiteY0" fmla="*/ 4042 h 1171963"/>
              <a:gd name="connsiteX1" fmla="*/ 3669194 w 6056802"/>
              <a:gd name="connsiteY1" fmla="*/ 608975 h 1171963"/>
              <a:gd name="connsiteX2" fmla="*/ 4338041 w 6056802"/>
              <a:gd name="connsiteY2" fmla="*/ 499111 h 1171963"/>
              <a:gd name="connsiteX3" fmla="*/ 6004744 w 6056802"/>
              <a:gd name="connsiteY3" fmla="*/ 1145685 h 1171963"/>
              <a:gd name="connsiteX4" fmla="*/ 6056802 w 6056802"/>
              <a:gd name="connsiteY4" fmla="*/ 1171963 h 1171963"/>
              <a:gd name="connsiteX5" fmla="*/ 792 w 6056802"/>
              <a:gd name="connsiteY5" fmla="*/ 1171963 h 1171963"/>
              <a:gd name="connsiteX6" fmla="*/ 0 w 6056802"/>
              <a:gd name="connsiteY6" fmla="*/ 1164786 h 1171963"/>
              <a:gd name="connsiteX7" fmla="*/ 502207 w 6056802"/>
              <a:gd name="connsiteY7" fmla="*/ 1108515 h 1171963"/>
              <a:gd name="connsiteX8" fmla="*/ 1260630 w 6056802"/>
              <a:gd name="connsiteY8" fmla="*/ 1059007 h 1171963"/>
              <a:gd name="connsiteX9" fmla="*/ 1784460 w 6056802"/>
              <a:gd name="connsiteY9" fmla="*/ 846649 h 1171963"/>
              <a:gd name="connsiteX10" fmla="*/ 2593678 w 6056802"/>
              <a:gd name="connsiteY10" fmla="*/ 790563 h 1171963"/>
              <a:gd name="connsiteX11" fmla="*/ 3043106 w 6056802"/>
              <a:gd name="connsiteY11" fmla="*/ 1064 h 1171963"/>
              <a:gd name="connsiteX12" fmla="*/ 3507177 w 6056802"/>
              <a:gd name="connsiteY12" fmla="*/ 4042 h 1171963"/>
              <a:gd name="connsiteX0" fmla="*/ 3507177 w 6056802"/>
              <a:gd name="connsiteY0" fmla="*/ 4042 h 1171963"/>
              <a:gd name="connsiteX1" fmla="*/ 4042331 w 6056802"/>
              <a:gd name="connsiteY1" fmla="*/ 630221 h 1171963"/>
              <a:gd name="connsiteX2" fmla="*/ 4338041 w 6056802"/>
              <a:gd name="connsiteY2" fmla="*/ 499111 h 1171963"/>
              <a:gd name="connsiteX3" fmla="*/ 6004744 w 6056802"/>
              <a:gd name="connsiteY3" fmla="*/ 1145685 h 1171963"/>
              <a:gd name="connsiteX4" fmla="*/ 6056802 w 6056802"/>
              <a:gd name="connsiteY4" fmla="*/ 1171963 h 1171963"/>
              <a:gd name="connsiteX5" fmla="*/ 792 w 6056802"/>
              <a:gd name="connsiteY5" fmla="*/ 1171963 h 1171963"/>
              <a:gd name="connsiteX6" fmla="*/ 0 w 6056802"/>
              <a:gd name="connsiteY6" fmla="*/ 1164786 h 1171963"/>
              <a:gd name="connsiteX7" fmla="*/ 502207 w 6056802"/>
              <a:gd name="connsiteY7" fmla="*/ 1108515 h 1171963"/>
              <a:gd name="connsiteX8" fmla="*/ 1260630 w 6056802"/>
              <a:gd name="connsiteY8" fmla="*/ 1059007 h 1171963"/>
              <a:gd name="connsiteX9" fmla="*/ 1784460 w 6056802"/>
              <a:gd name="connsiteY9" fmla="*/ 846649 h 1171963"/>
              <a:gd name="connsiteX10" fmla="*/ 2593678 w 6056802"/>
              <a:gd name="connsiteY10" fmla="*/ 790563 h 1171963"/>
              <a:gd name="connsiteX11" fmla="*/ 3043106 w 6056802"/>
              <a:gd name="connsiteY11" fmla="*/ 1064 h 1171963"/>
              <a:gd name="connsiteX12" fmla="*/ 3507177 w 6056802"/>
              <a:gd name="connsiteY12" fmla="*/ 4042 h 1171963"/>
              <a:gd name="connsiteX0" fmla="*/ 3507177 w 6056802"/>
              <a:gd name="connsiteY0" fmla="*/ 4042 h 1171963"/>
              <a:gd name="connsiteX1" fmla="*/ 4042331 w 6056802"/>
              <a:gd name="connsiteY1" fmla="*/ 630221 h 1171963"/>
              <a:gd name="connsiteX2" fmla="*/ 4856936 w 6056802"/>
              <a:gd name="connsiteY2" fmla="*/ 685006 h 1171963"/>
              <a:gd name="connsiteX3" fmla="*/ 6004744 w 6056802"/>
              <a:gd name="connsiteY3" fmla="*/ 1145685 h 1171963"/>
              <a:gd name="connsiteX4" fmla="*/ 6056802 w 6056802"/>
              <a:gd name="connsiteY4" fmla="*/ 1171963 h 1171963"/>
              <a:gd name="connsiteX5" fmla="*/ 792 w 6056802"/>
              <a:gd name="connsiteY5" fmla="*/ 1171963 h 1171963"/>
              <a:gd name="connsiteX6" fmla="*/ 0 w 6056802"/>
              <a:gd name="connsiteY6" fmla="*/ 1164786 h 1171963"/>
              <a:gd name="connsiteX7" fmla="*/ 502207 w 6056802"/>
              <a:gd name="connsiteY7" fmla="*/ 1108515 h 1171963"/>
              <a:gd name="connsiteX8" fmla="*/ 1260630 w 6056802"/>
              <a:gd name="connsiteY8" fmla="*/ 1059007 h 1171963"/>
              <a:gd name="connsiteX9" fmla="*/ 1784460 w 6056802"/>
              <a:gd name="connsiteY9" fmla="*/ 846649 h 1171963"/>
              <a:gd name="connsiteX10" fmla="*/ 2593678 w 6056802"/>
              <a:gd name="connsiteY10" fmla="*/ 790563 h 1171963"/>
              <a:gd name="connsiteX11" fmla="*/ 3043106 w 6056802"/>
              <a:gd name="connsiteY11" fmla="*/ 1064 h 1171963"/>
              <a:gd name="connsiteX12" fmla="*/ 3507177 w 6056802"/>
              <a:gd name="connsiteY12" fmla="*/ 4042 h 1171963"/>
              <a:gd name="connsiteX0" fmla="*/ 3507177 w 6056802"/>
              <a:gd name="connsiteY0" fmla="*/ 19235 h 1187156"/>
              <a:gd name="connsiteX1" fmla="*/ 4042331 w 6056802"/>
              <a:gd name="connsiteY1" fmla="*/ 645414 h 1187156"/>
              <a:gd name="connsiteX2" fmla="*/ 4856936 w 6056802"/>
              <a:gd name="connsiteY2" fmla="*/ 700199 h 1187156"/>
              <a:gd name="connsiteX3" fmla="*/ 6004744 w 6056802"/>
              <a:gd name="connsiteY3" fmla="*/ 1160878 h 1187156"/>
              <a:gd name="connsiteX4" fmla="*/ 6056802 w 6056802"/>
              <a:gd name="connsiteY4" fmla="*/ 1187156 h 1187156"/>
              <a:gd name="connsiteX5" fmla="*/ 792 w 6056802"/>
              <a:gd name="connsiteY5" fmla="*/ 1187156 h 1187156"/>
              <a:gd name="connsiteX6" fmla="*/ 0 w 6056802"/>
              <a:gd name="connsiteY6" fmla="*/ 1179979 h 1187156"/>
              <a:gd name="connsiteX7" fmla="*/ 502207 w 6056802"/>
              <a:gd name="connsiteY7" fmla="*/ 1123708 h 1187156"/>
              <a:gd name="connsiteX8" fmla="*/ 1260630 w 6056802"/>
              <a:gd name="connsiteY8" fmla="*/ 1074200 h 1187156"/>
              <a:gd name="connsiteX9" fmla="*/ 1784460 w 6056802"/>
              <a:gd name="connsiteY9" fmla="*/ 861842 h 1187156"/>
              <a:gd name="connsiteX10" fmla="*/ 2593678 w 6056802"/>
              <a:gd name="connsiteY10" fmla="*/ 805756 h 1187156"/>
              <a:gd name="connsiteX11" fmla="*/ 3474546 w 6056802"/>
              <a:gd name="connsiteY11" fmla="*/ 323 h 1187156"/>
              <a:gd name="connsiteX12" fmla="*/ 3507177 w 6056802"/>
              <a:gd name="connsiteY12" fmla="*/ 19235 h 1187156"/>
              <a:gd name="connsiteX0" fmla="*/ 3499738 w 6056802"/>
              <a:gd name="connsiteY0" fmla="*/ 439 h 1191403"/>
              <a:gd name="connsiteX1" fmla="*/ 4042331 w 6056802"/>
              <a:gd name="connsiteY1" fmla="*/ 649661 h 1191403"/>
              <a:gd name="connsiteX2" fmla="*/ 4856936 w 6056802"/>
              <a:gd name="connsiteY2" fmla="*/ 704446 h 1191403"/>
              <a:gd name="connsiteX3" fmla="*/ 6004744 w 6056802"/>
              <a:gd name="connsiteY3" fmla="*/ 1165125 h 1191403"/>
              <a:gd name="connsiteX4" fmla="*/ 6056802 w 6056802"/>
              <a:gd name="connsiteY4" fmla="*/ 1191403 h 1191403"/>
              <a:gd name="connsiteX5" fmla="*/ 792 w 6056802"/>
              <a:gd name="connsiteY5" fmla="*/ 1191403 h 1191403"/>
              <a:gd name="connsiteX6" fmla="*/ 0 w 6056802"/>
              <a:gd name="connsiteY6" fmla="*/ 1184226 h 1191403"/>
              <a:gd name="connsiteX7" fmla="*/ 502207 w 6056802"/>
              <a:gd name="connsiteY7" fmla="*/ 1127955 h 1191403"/>
              <a:gd name="connsiteX8" fmla="*/ 1260630 w 6056802"/>
              <a:gd name="connsiteY8" fmla="*/ 1078447 h 1191403"/>
              <a:gd name="connsiteX9" fmla="*/ 1784460 w 6056802"/>
              <a:gd name="connsiteY9" fmla="*/ 866089 h 1191403"/>
              <a:gd name="connsiteX10" fmla="*/ 2593678 w 6056802"/>
              <a:gd name="connsiteY10" fmla="*/ 810003 h 1191403"/>
              <a:gd name="connsiteX11" fmla="*/ 3474546 w 6056802"/>
              <a:gd name="connsiteY11" fmla="*/ 4570 h 1191403"/>
              <a:gd name="connsiteX12" fmla="*/ 3499738 w 6056802"/>
              <a:gd name="connsiteY12" fmla="*/ 439 h 1191403"/>
              <a:gd name="connsiteX0" fmla="*/ 3862794 w 6056802"/>
              <a:gd name="connsiteY0" fmla="*/ 109795 h 1186898"/>
              <a:gd name="connsiteX1" fmla="*/ 4042331 w 6056802"/>
              <a:gd name="connsiteY1" fmla="*/ 645156 h 1186898"/>
              <a:gd name="connsiteX2" fmla="*/ 4856936 w 6056802"/>
              <a:gd name="connsiteY2" fmla="*/ 699941 h 1186898"/>
              <a:gd name="connsiteX3" fmla="*/ 6004744 w 6056802"/>
              <a:gd name="connsiteY3" fmla="*/ 1160620 h 1186898"/>
              <a:gd name="connsiteX4" fmla="*/ 6056802 w 6056802"/>
              <a:gd name="connsiteY4" fmla="*/ 1186898 h 1186898"/>
              <a:gd name="connsiteX5" fmla="*/ 792 w 6056802"/>
              <a:gd name="connsiteY5" fmla="*/ 1186898 h 1186898"/>
              <a:gd name="connsiteX6" fmla="*/ 0 w 6056802"/>
              <a:gd name="connsiteY6" fmla="*/ 1179721 h 1186898"/>
              <a:gd name="connsiteX7" fmla="*/ 502207 w 6056802"/>
              <a:gd name="connsiteY7" fmla="*/ 1123450 h 1186898"/>
              <a:gd name="connsiteX8" fmla="*/ 1260630 w 6056802"/>
              <a:gd name="connsiteY8" fmla="*/ 1073942 h 1186898"/>
              <a:gd name="connsiteX9" fmla="*/ 1784460 w 6056802"/>
              <a:gd name="connsiteY9" fmla="*/ 861584 h 1186898"/>
              <a:gd name="connsiteX10" fmla="*/ 2593678 w 6056802"/>
              <a:gd name="connsiteY10" fmla="*/ 805498 h 1186898"/>
              <a:gd name="connsiteX11" fmla="*/ 3474546 w 6056802"/>
              <a:gd name="connsiteY11" fmla="*/ 65 h 1186898"/>
              <a:gd name="connsiteX12" fmla="*/ 3862794 w 6056802"/>
              <a:gd name="connsiteY12" fmla="*/ 109795 h 1186898"/>
              <a:gd name="connsiteX0" fmla="*/ 3862794 w 6056802"/>
              <a:gd name="connsiteY0" fmla="*/ 69167 h 1146270"/>
              <a:gd name="connsiteX1" fmla="*/ 4042331 w 6056802"/>
              <a:gd name="connsiteY1" fmla="*/ 604528 h 1146270"/>
              <a:gd name="connsiteX2" fmla="*/ 4856936 w 6056802"/>
              <a:gd name="connsiteY2" fmla="*/ 659313 h 1146270"/>
              <a:gd name="connsiteX3" fmla="*/ 6004744 w 6056802"/>
              <a:gd name="connsiteY3" fmla="*/ 1119992 h 1146270"/>
              <a:gd name="connsiteX4" fmla="*/ 6056802 w 6056802"/>
              <a:gd name="connsiteY4" fmla="*/ 1146270 h 1146270"/>
              <a:gd name="connsiteX5" fmla="*/ 792 w 6056802"/>
              <a:gd name="connsiteY5" fmla="*/ 1146270 h 1146270"/>
              <a:gd name="connsiteX6" fmla="*/ 0 w 6056802"/>
              <a:gd name="connsiteY6" fmla="*/ 1139093 h 1146270"/>
              <a:gd name="connsiteX7" fmla="*/ 502207 w 6056802"/>
              <a:gd name="connsiteY7" fmla="*/ 1082822 h 1146270"/>
              <a:gd name="connsiteX8" fmla="*/ 1260630 w 6056802"/>
              <a:gd name="connsiteY8" fmla="*/ 1033314 h 1146270"/>
              <a:gd name="connsiteX9" fmla="*/ 1784460 w 6056802"/>
              <a:gd name="connsiteY9" fmla="*/ 820956 h 1146270"/>
              <a:gd name="connsiteX10" fmla="*/ 2593678 w 6056802"/>
              <a:gd name="connsiteY10" fmla="*/ 764870 h 1146270"/>
              <a:gd name="connsiteX11" fmla="*/ 3554894 w 6056802"/>
              <a:gd name="connsiteY11" fmla="*/ 101 h 1146270"/>
              <a:gd name="connsiteX12" fmla="*/ 3862794 w 6056802"/>
              <a:gd name="connsiteY12" fmla="*/ 69167 h 1146270"/>
              <a:gd name="connsiteX0" fmla="*/ 3734832 w 6056802"/>
              <a:gd name="connsiteY0" fmla="*/ 37 h 1191001"/>
              <a:gd name="connsiteX1" fmla="*/ 4042331 w 6056802"/>
              <a:gd name="connsiteY1" fmla="*/ 649259 h 1191001"/>
              <a:gd name="connsiteX2" fmla="*/ 4856936 w 6056802"/>
              <a:gd name="connsiteY2" fmla="*/ 704044 h 1191001"/>
              <a:gd name="connsiteX3" fmla="*/ 6004744 w 6056802"/>
              <a:gd name="connsiteY3" fmla="*/ 1164723 h 1191001"/>
              <a:gd name="connsiteX4" fmla="*/ 6056802 w 6056802"/>
              <a:gd name="connsiteY4" fmla="*/ 1191001 h 1191001"/>
              <a:gd name="connsiteX5" fmla="*/ 792 w 6056802"/>
              <a:gd name="connsiteY5" fmla="*/ 1191001 h 1191001"/>
              <a:gd name="connsiteX6" fmla="*/ 0 w 6056802"/>
              <a:gd name="connsiteY6" fmla="*/ 1183824 h 1191001"/>
              <a:gd name="connsiteX7" fmla="*/ 502207 w 6056802"/>
              <a:gd name="connsiteY7" fmla="*/ 1127553 h 1191001"/>
              <a:gd name="connsiteX8" fmla="*/ 1260630 w 6056802"/>
              <a:gd name="connsiteY8" fmla="*/ 1078045 h 1191001"/>
              <a:gd name="connsiteX9" fmla="*/ 1784460 w 6056802"/>
              <a:gd name="connsiteY9" fmla="*/ 865687 h 1191001"/>
              <a:gd name="connsiteX10" fmla="*/ 2593678 w 6056802"/>
              <a:gd name="connsiteY10" fmla="*/ 809601 h 1191001"/>
              <a:gd name="connsiteX11" fmla="*/ 3554894 w 6056802"/>
              <a:gd name="connsiteY11" fmla="*/ 44832 h 1191001"/>
              <a:gd name="connsiteX12" fmla="*/ 3734832 w 6056802"/>
              <a:gd name="connsiteY12" fmla="*/ 37 h 1191001"/>
              <a:gd name="connsiteX0" fmla="*/ 3734832 w 6056802"/>
              <a:gd name="connsiteY0" fmla="*/ 37 h 1191001"/>
              <a:gd name="connsiteX1" fmla="*/ 4244690 w 6056802"/>
              <a:gd name="connsiteY1" fmla="*/ 646548 h 1191001"/>
              <a:gd name="connsiteX2" fmla="*/ 4856936 w 6056802"/>
              <a:gd name="connsiteY2" fmla="*/ 704044 h 1191001"/>
              <a:gd name="connsiteX3" fmla="*/ 6004744 w 6056802"/>
              <a:gd name="connsiteY3" fmla="*/ 1164723 h 1191001"/>
              <a:gd name="connsiteX4" fmla="*/ 6056802 w 6056802"/>
              <a:gd name="connsiteY4" fmla="*/ 1191001 h 1191001"/>
              <a:gd name="connsiteX5" fmla="*/ 792 w 6056802"/>
              <a:gd name="connsiteY5" fmla="*/ 1191001 h 1191001"/>
              <a:gd name="connsiteX6" fmla="*/ 0 w 6056802"/>
              <a:gd name="connsiteY6" fmla="*/ 1183824 h 1191001"/>
              <a:gd name="connsiteX7" fmla="*/ 502207 w 6056802"/>
              <a:gd name="connsiteY7" fmla="*/ 1127553 h 1191001"/>
              <a:gd name="connsiteX8" fmla="*/ 1260630 w 6056802"/>
              <a:gd name="connsiteY8" fmla="*/ 1078045 h 1191001"/>
              <a:gd name="connsiteX9" fmla="*/ 1784460 w 6056802"/>
              <a:gd name="connsiteY9" fmla="*/ 865687 h 1191001"/>
              <a:gd name="connsiteX10" fmla="*/ 2593678 w 6056802"/>
              <a:gd name="connsiteY10" fmla="*/ 809601 h 1191001"/>
              <a:gd name="connsiteX11" fmla="*/ 3554894 w 6056802"/>
              <a:gd name="connsiteY11" fmla="*/ 44832 h 1191001"/>
              <a:gd name="connsiteX12" fmla="*/ 3734832 w 6056802"/>
              <a:gd name="connsiteY12" fmla="*/ 37 h 1191001"/>
              <a:gd name="connsiteX0" fmla="*/ 3734832 w 6056802"/>
              <a:gd name="connsiteY0" fmla="*/ 440 h 1191404"/>
              <a:gd name="connsiteX1" fmla="*/ 4244690 w 6056802"/>
              <a:gd name="connsiteY1" fmla="*/ 646951 h 1191404"/>
              <a:gd name="connsiteX2" fmla="*/ 4856936 w 6056802"/>
              <a:gd name="connsiteY2" fmla="*/ 704447 h 1191404"/>
              <a:gd name="connsiteX3" fmla="*/ 6004744 w 6056802"/>
              <a:gd name="connsiteY3" fmla="*/ 1165126 h 1191404"/>
              <a:gd name="connsiteX4" fmla="*/ 6056802 w 6056802"/>
              <a:gd name="connsiteY4" fmla="*/ 1191404 h 1191404"/>
              <a:gd name="connsiteX5" fmla="*/ 792 w 6056802"/>
              <a:gd name="connsiteY5" fmla="*/ 1191404 h 1191404"/>
              <a:gd name="connsiteX6" fmla="*/ 0 w 6056802"/>
              <a:gd name="connsiteY6" fmla="*/ 1184227 h 1191404"/>
              <a:gd name="connsiteX7" fmla="*/ 502207 w 6056802"/>
              <a:gd name="connsiteY7" fmla="*/ 1127956 h 1191404"/>
              <a:gd name="connsiteX8" fmla="*/ 1260630 w 6056802"/>
              <a:gd name="connsiteY8" fmla="*/ 1078448 h 1191404"/>
              <a:gd name="connsiteX9" fmla="*/ 1784460 w 6056802"/>
              <a:gd name="connsiteY9" fmla="*/ 866090 h 1191404"/>
              <a:gd name="connsiteX10" fmla="*/ 2593678 w 6056802"/>
              <a:gd name="connsiteY10" fmla="*/ 810004 h 1191404"/>
              <a:gd name="connsiteX11" fmla="*/ 3617388 w 6056802"/>
              <a:gd name="connsiteY11" fmla="*/ 4570 h 1191404"/>
              <a:gd name="connsiteX12" fmla="*/ 3734832 w 6056802"/>
              <a:gd name="connsiteY12" fmla="*/ 440 h 1191404"/>
              <a:gd name="connsiteX0" fmla="*/ 3758639 w 6056802"/>
              <a:gd name="connsiteY0" fmla="*/ 114 h 1201922"/>
              <a:gd name="connsiteX1" fmla="*/ 4244690 w 6056802"/>
              <a:gd name="connsiteY1" fmla="*/ 657469 h 1201922"/>
              <a:gd name="connsiteX2" fmla="*/ 4856936 w 6056802"/>
              <a:gd name="connsiteY2" fmla="*/ 714965 h 1201922"/>
              <a:gd name="connsiteX3" fmla="*/ 6004744 w 6056802"/>
              <a:gd name="connsiteY3" fmla="*/ 1175644 h 1201922"/>
              <a:gd name="connsiteX4" fmla="*/ 6056802 w 6056802"/>
              <a:gd name="connsiteY4" fmla="*/ 1201922 h 1201922"/>
              <a:gd name="connsiteX5" fmla="*/ 792 w 6056802"/>
              <a:gd name="connsiteY5" fmla="*/ 1201922 h 1201922"/>
              <a:gd name="connsiteX6" fmla="*/ 0 w 6056802"/>
              <a:gd name="connsiteY6" fmla="*/ 1194745 h 1201922"/>
              <a:gd name="connsiteX7" fmla="*/ 502207 w 6056802"/>
              <a:gd name="connsiteY7" fmla="*/ 1138474 h 1201922"/>
              <a:gd name="connsiteX8" fmla="*/ 1260630 w 6056802"/>
              <a:gd name="connsiteY8" fmla="*/ 1088966 h 1201922"/>
              <a:gd name="connsiteX9" fmla="*/ 1784460 w 6056802"/>
              <a:gd name="connsiteY9" fmla="*/ 876608 h 1201922"/>
              <a:gd name="connsiteX10" fmla="*/ 2593678 w 6056802"/>
              <a:gd name="connsiteY10" fmla="*/ 820522 h 1201922"/>
              <a:gd name="connsiteX11" fmla="*/ 3617388 w 6056802"/>
              <a:gd name="connsiteY11" fmla="*/ 15088 h 1201922"/>
              <a:gd name="connsiteX12" fmla="*/ 3758639 w 6056802"/>
              <a:gd name="connsiteY12" fmla="*/ 114 h 1201922"/>
              <a:gd name="connsiteX0" fmla="*/ 3758639 w 6056802"/>
              <a:gd name="connsiteY0" fmla="*/ 114 h 1201922"/>
              <a:gd name="connsiteX1" fmla="*/ 4244690 w 6056802"/>
              <a:gd name="connsiteY1" fmla="*/ 657469 h 1201922"/>
              <a:gd name="connsiteX2" fmla="*/ 5368786 w 6056802"/>
              <a:gd name="connsiteY2" fmla="*/ 714965 h 1201922"/>
              <a:gd name="connsiteX3" fmla="*/ 6004744 w 6056802"/>
              <a:gd name="connsiteY3" fmla="*/ 1175644 h 1201922"/>
              <a:gd name="connsiteX4" fmla="*/ 6056802 w 6056802"/>
              <a:gd name="connsiteY4" fmla="*/ 1201922 h 1201922"/>
              <a:gd name="connsiteX5" fmla="*/ 792 w 6056802"/>
              <a:gd name="connsiteY5" fmla="*/ 1201922 h 1201922"/>
              <a:gd name="connsiteX6" fmla="*/ 0 w 6056802"/>
              <a:gd name="connsiteY6" fmla="*/ 1194745 h 1201922"/>
              <a:gd name="connsiteX7" fmla="*/ 502207 w 6056802"/>
              <a:gd name="connsiteY7" fmla="*/ 1138474 h 1201922"/>
              <a:gd name="connsiteX8" fmla="*/ 1260630 w 6056802"/>
              <a:gd name="connsiteY8" fmla="*/ 1088966 h 1201922"/>
              <a:gd name="connsiteX9" fmla="*/ 1784460 w 6056802"/>
              <a:gd name="connsiteY9" fmla="*/ 876608 h 1201922"/>
              <a:gd name="connsiteX10" fmla="*/ 2593678 w 6056802"/>
              <a:gd name="connsiteY10" fmla="*/ 820522 h 1201922"/>
              <a:gd name="connsiteX11" fmla="*/ 3617388 w 6056802"/>
              <a:gd name="connsiteY11" fmla="*/ 15088 h 1201922"/>
              <a:gd name="connsiteX12" fmla="*/ 3758639 w 6056802"/>
              <a:gd name="connsiteY12" fmla="*/ 114 h 1201922"/>
              <a:gd name="connsiteX0" fmla="*/ 3758639 w 6056802"/>
              <a:gd name="connsiteY0" fmla="*/ 114 h 1201922"/>
              <a:gd name="connsiteX1" fmla="*/ 4823993 w 6056802"/>
              <a:gd name="connsiteY1" fmla="*/ 718917 h 1201922"/>
              <a:gd name="connsiteX2" fmla="*/ 5368786 w 6056802"/>
              <a:gd name="connsiteY2" fmla="*/ 714965 h 1201922"/>
              <a:gd name="connsiteX3" fmla="*/ 6004744 w 6056802"/>
              <a:gd name="connsiteY3" fmla="*/ 1175644 h 1201922"/>
              <a:gd name="connsiteX4" fmla="*/ 6056802 w 6056802"/>
              <a:gd name="connsiteY4" fmla="*/ 1201922 h 1201922"/>
              <a:gd name="connsiteX5" fmla="*/ 792 w 6056802"/>
              <a:gd name="connsiteY5" fmla="*/ 1201922 h 1201922"/>
              <a:gd name="connsiteX6" fmla="*/ 0 w 6056802"/>
              <a:gd name="connsiteY6" fmla="*/ 1194745 h 1201922"/>
              <a:gd name="connsiteX7" fmla="*/ 502207 w 6056802"/>
              <a:gd name="connsiteY7" fmla="*/ 1138474 h 1201922"/>
              <a:gd name="connsiteX8" fmla="*/ 1260630 w 6056802"/>
              <a:gd name="connsiteY8" fmla="*/ 1088966 h 1201922"/>
              <a:gd name="connsiteX9" fmla="*/ 1784460 w 6056802"/>
              <a:gd name="connsiteY9" fmla="*/ 876608 h 1201922"/>
              <a:gd name="connsiteX10" fmla="*/ 2593678 w 6056802"/>
              <a:gd name="connsiteY10" fmla="*/ 820522 h 1201922"/>
              <a:gd name="connsiteX11" fmla="*/ 3617388 w 6056802"/>
              <a:gd name="connsiteY11" fmla="*/ 15088 h 1201922"/>
              <a:gd name="connsiteX12" fmla="*/ 3758639 w 6056802"/>
              <a:gd name="connsiteY12" fmla="*/ 114 h 1201922"/>
              <a:gd name="connsiteX0" fmla="*/ 4087969 w 6056802"/>
              <a:gd name="connsiteY0" fmla="*/ 229 h 1194808"/>
              <a:gd name="connsiteX1" fmla="*/ 4823993 w 6056802"/>
              <a:gd name="connsiteY1" fmla="*/ 711803 h 1194808"/>
              <a:gd name="connsiteX2" fmla="*/ 5368786 w 6056802"/>
              <a:gd name="connsiteY2" fmla="*/ 707851 h 1194808"/>
              <a:gd name="connsiteX3" fmla="*/ 6004744 w 6056802"/>
              <a:gd name="connsiteY3" fmla="*/ 1168530 h 1194808"/>
              <a:gd name="connsiteX4" fmla="*/ 6056802 w 6056802"/>
              <a:gd name="connsiteY4" fmla="*/ 1194808 h 1194808"/>
              <a:gd name="connsiteX5" fmla="*/ 792 w 6056802"/>
              <a:gd name="connsiteY5" fmla="*/ 1194808 h 1194808"/>
              <a:gd name="connsiteX6" fmla="*/ 0 w 6056802"/>
              <a:gd name="connsiteY6" fmla="*/ 1187631 h 1194808"/>
              <a:gd name="connsiteX7" fmla="*/ 502207 w 6056802"/>
              <a:gd name="connsiteY7" fmla="*/ 1131360 h 1194808"/>
              <a:gd name="connsiteX8" fmla="*/ 1260630 w 6056802"/>
              <a:gd name="connsiteY8" fmla="*/ 1081852 h 1194808"/>
              <a:gd name="connsiteX9" fmla="*/ 1784460 w 6056802"/>
              <a:gd name="connsiteY9" fmla="*/ 869494 h 1194808"/>
              <a:gd name="connsiteX10" fmla="*/ 2593678 w 6056802"/>
              <a:gd name="connsiteY10" fmla="*/ 813408 h 1194808"/>
              <a:gd name="connsiteX11" fmla="*/ 3617388 w 6056802"/>
              <a:gd name="connsiteY11" fmla="*/ 7974 h 1194808"/>
              <a:gd name="connsiteX12" fmla="*/ 4087969 w 6056802"/>
              <a:gd name="connsiteY12" fmla="*/ 229 h 1194808"/>
              <a:gd name="connsiteX0" fmla="*/ 4087969 w 6056802"/>
              <a:gd name="connsiteY0" fmla="*/ 25043 h 1219622"/>
              <a:gd name="connsiteX1" fmla="*/ 4823993 w 6056802"/>
              <a:gd name="connsiteY1" fmla="*/ 736617 h 1219622"/>
              <a:gd name="connsiteX2" fmla="*/ 5368786 w 6056802"/>
              <a:gd name="connsiteY2" fmla="*/ 732665 h 1219622"/>
              <a:gd name="connsiteX3" fmla="*/ 6004744 w 6056802"/>
              <a:gd name="connsiteY3" fmla="*/ 1193344 h 1219622"/>
              <a:gd name="connsiteX4" fmla="*/ 6056802 w 6056802"/>
              <a:gd name="connsiteY4" fmla="*/ 1219622 h 1219622"/>
              <a:gd name="connsiteX5" fmla="*/ 792 w 6056802"/>
              <a:gd name="connsiteY5" fmla="*/ 1219622 h 1219622"/>
              <a:gd name="connsiteX6" fmla="*/ 0 w 6056802"/>
              <a:gd name="connsiteY6" fmla="*/ 1212445 h 1219622"/>
              <a:gd name="connsiteX7" fmla="*/ 502207 w 6056802"/>
              <a:gd name="connsiteY7" fmla="*/ 1156174 h 1219622"/>
              <a:gd name="connsiteX8" fmla="*/ 1260630 w 6056802"/>
              <a:gd name="connsiteY8" fmla="*/ 1106666 h 1219622"/>
              <a:gd name="connsiteX9" fmla="*/ 1784460 w 6056802"/>
              <a:gd name="connsiteY9" fmla="*/ 894308 h 1219622"/>
              <a:gd name="connsiteX10" fmla="*/ 2593678 w 6056802"/>
              <a:gd name="connsiteY10" fmla="*/ 838222 h 1219622"/>
              <a:gd name="connsiteX11" fmla="*/ 3875297 w 6056802"/>
              <a:gd name="connsiteY11" fmla="*/ 256 h 1219622"/>
              <a:gd name="connsiteX12" fmla="*/ 4087969 w 6056802"/>
              <a:gd name="connsiteY12" fmla="*/ 25043 h 1219622"/>
              <a:gd name="connsiteX0" fmla="*/ 4040356 w 6056802"/>
              <a:gd name="connsiteY0" fmla="*/ 32 h 1270518"/>
              <a:gd name="connsiteX1" fmla="*/ 4823993 w 6056802"/>
              <a:gd name="connsiteY1" fmla="*/ 787513 h 1270518"/>
              <a:gd name="connsiteX2" fmla="*/ 5368786 w 6056802"/>
              <a:gd name="connsiteY2" fmla="*/ 783561 h 1270518"/>
              <a:gd name="connsiteX3" fmla="*/ 6004744 w 6056802"/>
              <a:gd name="connsiteY3" fmla="*/ 1244240 h 1270518"/>
              <a:gd name="connsiteX4" fmla="*/ 6056802 w 6056802"/>
              <a:gd name="connsiteY4" fmla="*/ 1270518 h 1270518"/>
              <a:gd name="connsiteX5" fmla="*/ 792 w 6056802"/>
              <a:gd name="connsiteY5" fmla="*/ 1270518 h 1270518"/>
              <a:gd name="connsiteX6" fmla="*/ 0 w 6056802"/>
              <a:gd name="connsiteY6" fmla="*/ 1263341 h 1270518"/>
              <a:gd name="connsiteX7" fmla="*/ 502207 w 6056802"/>
              <a:gd name="connsiteY7" fmla="*/ 1207070 h 1270518"/>
              <a:gd name="connsiteX8" fmla="*/ 1260630 w 6056802"/>
              <a:gd name="connsiteY8" fmla="*/ 1157562 h 1270518"/>
              <a:gd name="connsiteX9" fmla="*/ 1784460 w 6056802"/>
              <a:gd name="connsiteY9" fmla="*/ 945204 h 1270518"/>
              <a:gd name="connsiteX10" fmla="*/ 2593678 w 6056802"/>
              <a:gd name="connsiteY10" fmla="*/ 889118 h 1270518"/>
              <a:gd name="connsiteX11" fmla="*/ 3875297 w 6056802"/>
              <a:gd name="connsiteY11" fmla="*/ 51152 h 1270518"/>
              <a:gd name="connsiteX12" fmla="*/ 4040356 w 6056802"/>
              <a:gd name="connsiteY12" fmla="*/ 32 h 1270518"/>
              <a:gd name="connsiteX0" fmla="*/ 4040356 w 6056802"/>
              <a:gd name="connsiteY0" fmla="*/ 279 h 1270765"/>
              <a:gd name="connsiteX1" fmla="*/ 4823993 w 6056802"/>
              <a:gd name="connsiteY1" fmla="*/ 787760 h 1270765"/>
              <a:gd name="connsiteX2" fmla="*/ 5368786 w 6056802"/>
              <a:gd name="connsiteY2" fmla="*/ 783808 h 1270765"/>
              <a:gd name="connsiteX3" fmla="*/ 6004744 w 6056802"/>
              <a:gd name="connsiteY3" fmla="*/ 1244487 h 1270765"/>
              <a:gd name="connsiteX4" fmla="*/ 6056802 w 6056802"/>
              <a:gd name="connsiteY4" fmla="*/ 1270765 h 1270765"/>
              <a:gd name="connsiteX5" fmla="*/ 792 w 6056802"/>
              <a:gd name="connsiteY5" fmla="*/ 1270765 h 1270765"/>
              <a:gd name="connsiteX6" fmla="*/ 0 w 6056802"/>
              <a:gd name="connsiteY6" fmla="*/ 1263588 h 1270765"/>
              <a:gd name="connsiteX7" fmla="*/ 502207 w 6056802"/>
              <a:gd name="connsiteY7" fmla="*/ 1207317 h 1270765"/>
              <a:gd name="connsiteX8" fmla="*/ 1260630 w 6056802"/>
              <a:gd name="connsiteY8" fmla="*/ 1157809 h 1270765"/>
              <a:gd name="connsiteX9" fmla="*/ 1784460 w 6056802"/>
              <a:gd name="connsiteY9" fmla="*/ 945451 h 1270765"/>
              <a:gd name="connsiteX10" fmla="*/ 2593678 w 6056802"/>
              <a:gd name="connsiteY10" fmla="*/ 889365 h 1270765"/>
              <a:gd name="connsiteX11" fmla="*/ 3969037 w 6056802"/>
              <a:gd name="connsiteY11" fmla="*/ 6668 h 1270765"/>
              <a:gd name="connsiteX12" fmla="*/ 4040356 w 6056802"/>
              <a:gd name="connsiteY12" fmla="*/ 279 h 1270765"/>
              <a:gd name="connsiteX0" fmla="*/ 4040356 w 6056802"/>
              <a:gd name="connsiteY0" fmla="*/ 279 h 1270765"/>
              <a:gd name="connsiteX1" fmla="*/ 4823993 w 6056802"/>
              <a:gd name="connsiteY1" fmla="*/ 787760 h 1270765"/>
              <a:gd name="connsiteX2" fmla="*/ 5987767 w 6056802"/>
              <a:gd name="connsiteY2" fmla="*/ 919357 h 1270765"/>
              <a:gd name="connsiteX3" fmla="*/ 6004744 w 6056802"/>
              <a:gd name="connsiteY3" fmla="*/ 1244487 h 1270765"/>
              <a:gd name="connsiteX4" fmla="*/ 6056802 w 6056802"/>
              <a:gd name="connsiteY4" fmla="*/ 1270765 h 1270765"/>
              <a:gd name="connsiteX5" fmla="*/ 792 w 6056802"/>
              <a:gd name="connsiteY5" fmla="*/ 1270765 h 1270765"/>
              <a:gd name="connsiteX6" fmla="*/ 0 w 6056802"/>
              <a:gd name="connsiteY6" fmla="*/ 1263588 h 1270765"/>
              <a:gd name="connsiteX7" fmla="*/ 502207 w 6056802"/>
              <a:gd name="connsiteY7" fmla="*/ 1207317 h 1270765"/>
              <a:gd name="connsiteX8" fmla="*/ 1260630 w 6056802"/>
              <a:gd name="connsiteY8" fmla="*/ 1157809 h 1270765"/>
              <a:gd name="connsiteX9" fmla="*/ 1784460 w 6056802"/>
              <a:gd name="connsiteY9" fmla="*/ 945451 h 1270765"/>
              <a:gd name="connsiteX10" fmla="*/ 2593678 w 6056802"/>
              <a:gd name="connsiteY10" fmla="*/ 889365 h 1270765"/>
              <a:gd name="connsiteX11" fmla="*/ 3969037 w 6056802"/>
              <a:gd name="connsiteY11" fmla="*/ 6668 h 1270765"/>
              <a:gd name="connsiteX12" fmla="*/ 4040356 w 6056802"/>
              <a:gd name="connsiteY12" fmla="*/ 279 h 1270765"/>
              <a:gd name="connsiteX0" fmla="*/ 4040356 w 6056802"/>
              <a:gd name="connsiteY0" fmla="*/ 279 h 1270765"/>
              <a:gd name="connsiteX1" fmla="*/ 5317987 w 6056802"/>
              <a:gd name="connsiteY1" fmla="*/ 733540 h 1270765"/>
              <a:gd name="connsiteX2" fmla="*/ 5987767 w 6056802"/>
              <a:gd name="connsiteY2" fmla="*/ 919357 h 1270765"/>
              <a:gd name="connsiteX3" fmla="*/ 6004744 w 6056802"/>
              <a:gd name="connsiteY3" fmla="*/ 1244487 h 1270765"/>
              <a:gd name="connsiteX4" fmla="*/ 6056802 w 6056802"/>
              <a:gd name="connsiteY4" fmla="*/ 1270765 h 1270765"/>
              <a:gd name="connsiteX5" fmla="*/ 792 w 6056802"/>
              <a:gd name="connsiteY5" fmla="*/ 1270765 h 1270765"/>
              <a:gd name="connsiteX6" fmla="*/ 0 w 6056802"/>
              <a:gd name="connsiteY6" fmla="*/ 1263588 h 1270765"/>
              <a:gd name="connsiteX7" fmla="*/ 502207 w 6056802"/>
              <a:gd name="connsiteY7" fmla="*/ 1207317 h 1270765"/>
              <a:gd name="connsiteX8" fmla="*/ 1260630 w 6056802"/>
              <a:gd name="connsiteY8" fmla="*/ 1157809 h 1270765"/>
              <a:gd name="connsiteX9" fmla="*/ 1784460 w 6056802"/>
              <a:gd name="connsiteY9" fmla="*/ 945451 h 1270765"/>
              <a:gd name="connsiteX10" fmla="*/ 2593678 w 6056802"/>
              <a:gd name="connsiteY10" fmla="*/ 889365 h 1270765"/>
              <a:gd name="connsiteX11" fmla="*/ 3969037 w 6056802"/>
              <a:gd name="connsiteY11" fmla="*/ 6668 h 1270765"/>
              <a:gd name="connsiteX12" fmla="*/ 4040356 w 6056802"/>
              <a:gd name="connsiteY12" fmla="*/ 279 h 1270765"/>
              <a:gd name="connsiteX0" fmla="*/ 4236763 w 6056802"/>
              <a:gd name="connsiteY0" fmla="*/ 15684 h 1264482"/>
              <a:gd name="connsiteX1" fmla="*/ 5317987 w 6056802"/>
              <a:gd name="connsiteY1" fmla="*/ 727257 h 1264482"/>
              <a:gd name="connsiteX2" fmla="*/ 5987767 w 6056802"/>
              <a:gd name="connsiteY2" fmla="*/ 913074 h 1264482"/>
              <a:gd name="connsiteX3" fmla="*/ 6004744 w 6056802"/>
              <a:gd name="connsiteY3" fmla="*/ 1238204 h 1264482"/>
              <a:gd name="connsiteX4" fmla="*/ 6056802 w 6056802"/>
              <a:gd name="connsiteY4" fmla="*/ 1264482 h 1264482"/>
              <a:gd name="connsiteX5" fmla="*/ 792 w 6056802"/>
              <a:gd name="connsiteY5" fmla="*/ 1264482 h 1264482"/>
              <a:gd name="connsiteX6" fmla="*/ 0 w 6056802"/>
              <a:gd name="connsiteY6" fmla="*/ 1257305 h 1264482"/>
              <a:gd name="connsiteX7" fmla="*/ 502207 w 6056802"/>
              <a:gd name="connsiteY7" fmla="*/ 1201034 h 1264482"/>
              <a:gd name="connsiteX8" fmla="*/ 1260630 w 6056802"/>
              <a:gd name="connsiteY8" fmla="*/ 1151526 h 1264482"/>
              <a:gd name="connsiteX9" fmla="*/ 1784460 w 6056802"/>
              <a:gd name="connsiteY9" fmla="*/ 939168 h 1264482"/>
              <a:gd name="connsiteX10" fmla="*/ 2593678 w 6056802"/>
              <a:gd name="connsiteY10" fmla="*/ 883082 h 1264482"/>
              <a:gd name="connsiteX11" fmla="*/ 3969037 w 6056802"/>
              <a:gd name="connsiteY11" fmla="*/ 385 h 1264482"/>
              <a:gd name="connsiteX12" fmla="*/ 4236763 w 6056802"/>
              <a:gd name="connsiteY12" fmla="*/ 15684 h 1264482"/>
              <a:gd name="connsiteX0" fmla="*/ 4236763 w 6056802"/>
              <a:gd name="connsiteY0" fmla="*/ 280 h 1249078"/>
              <a:gd name="connsiteX1" fmla="*/ 5317987 w 6056802"/>
              <a:gd name="connsiteY1" fmla="*/ 711853 h 1249078"/>
              <a:gd name="connsiteX2" fmla="*/ 5987767 w 6056802"/>
              <a:gd name="connsiteY2" fmla="*/ 897670 h 1249078"/>
              <a:gd name="connsiteX3" fmla="*/ 6004744 w 6056802"/>
              <a:gd name="connsiteY3" fmla="*/ 1222800 h 1249078"/>
              <a:gd name="connsiteX4" fmla="*/ 6056802 w 6056802"/>
              <a:gd name="connsiteY4" fmla="*/ 1249078 h 1249078"/>
              <a:gd name="connsiteX5" fmla="*/ 792 w 6056802"/>
              <a:gd name="connsiteY5" fmla="*/ 1249078 h 1249078"/>
              <a:gd name="connsiteX6" fmla="*/ 0 w 6056802"/>
              <a:gd name="connsiteY6" fmla="*/ 1241901 h 1249078"/>
              <a:gd name="connsiteX7" fmla="*/ 502207 w 6056802"/>
              <a:gd name="connsiteY7" fmla="*/ 1185630 h 1249078"/>
              <a:gd name="connsiteX8" fmla="*/ 1260630 w 6056802"/>
              <a:gd name="connsiteY8" fmla="*/ 1136122 h 1249078"/>
              <a:gd name="connsiteX9" fmla="*/ 1784460 w 6056802"/>
              <a:gd name="connsiteY9" fmla="*/ 923764 h 1249078"/>
              <a:gd name="connsiteX10" fmla="*/ 2593678 w 6056802"/>
              <a:gd name="connsiteY10" fmla="*/ 867678 h 1249078"/>
              <a:gd name="connsiteX11" fmla="*/ 4099975 w 6056802"/>
              <a:gd name="connsiteY11" fmla="*/ 6669 h 1249078"/>
              <a:gd name="connsiteX12" fmla="*/ 4236763 w 6056802"/>
              <a:gd name="connsiteY12" fmla="*/ 280 h 1249078"/>
              <a:gd name="connsiteX0" fmla="*/ 4236763 w 6056802"/>
              <a:gd name="connsiteY0" fmla="*/ 12157 h 1260955"/>
              <a:gd name="connsiteX1" fmla="*/ 5317987 w 6056802"/>
              <a:gd name="connsiteY1" fmla="*/ 723730 h 1260955"/>
              <a:gd name="connsiteX2" fmla="*/ 5987767 w 6056802"/>
              <a:gd name="connsiteY2" fmla="*/ 909547 h 1260955"/>
              <a:gd name="connsiteX3" fmla="*/ 6004744 w 6056802"/>
              <a:gd name="connsiteY3" fmla="*/ 1234677 h 1260955"/>
              <a:gd name="connsiteX4" fmla="*/ 6056802 w 6056802"/>
              <a:gd name="connsiteY4" fmla="*/ 1260955 h 1260955"/>
              <a:gd name="connsiteX5" fmla="*/ 792 w 6056802"/>
              <a:gd name="connsiteY5" fmla="*/ 1260955 h 1260955"/>
              <a:gd name="connsiteX6" fmla="*/ 0 w 6056802"/>
              <a:gd name="connsiteY6" fmla="*/ 1253778 h 1260955"/>
              <a:gd name="connsiteX7" fmla="*/ 502207 w 6056802"/>
              <a:gd name="connsiteY7" fmla="*/ 1197507 h 1260955"/>
              <a:gd name="connsiteX8" fmla="*/ 1260630 w 6056802"/>
              <a:gd name="connsiteY8" fmla="*/ 1147999 h 1260955"/>
              <a:gd name="connsiteX9" fmla="*/ 1784460 w 6056802"/>
              <a:gd name="connsiteY9" fmla="*/ 935641 h 1260955"/>
              <a:gd name="connsiteX10" fmla="*/ 2593678 w 6056802"/>
              <a:gd name="connsiteY10" fmla="*/ 879555 h 1260955"/>
              <a:gd name="connsiteX11" fmla="*/ 4139654 w 6056802"/>
              <a:gd name="connsiteY11" fmla="*/ 473 h 1260955"/>
              <a:gd name="connsiteX12" fmla="*/ 4236763 w 6056802"/>
              <a:gd name="connsiteY12" fmla="*/ 12157 h 1260955"/>
              <a:gd name="connsiteX0" fmla="*/ 4256602 w 6056802"/>
              <a:gd name="connsiteY0" fmla="*/ 99 h 1277814"/>
              <a:gd name="connsiteX1" fmla="*/ 5317987 w 6056802"/>
              <a:gd name="connsiteY1" fmla="*/ 740589 h 1277814"/>
              <a:gd name="connsiteX2" fmla="*/ 5987767 w 6056802"/>
              <a:gd name="connsiteY2" fmla="*/ 926406 h 1277814"/>
              <a:gd name="connsiteX3" fmla="*/ 6004744 w 6056802"/>
              <a:gd name="connsiteY3" fmla="*/ 1251536 h 1277814"/>
              <a:gd name="connsiteX4" fmla="*/ 6056802 w 6056802"/>
              <a:gd name="connsiteY4" fmla="*/ 1277814 h 1277814"/>
              <a:gd name="connsiteX5" fmla="*/ 792 w 6056802"/>
              <a:gd name="connsiteY5" fmla="*/ 1277814 h 1277814"/>
              <a:gd name="connsiteX6" fmla="*/ 0 w 6056802"/>
              <a:gd name="connsiteY6" fmla="*/ 1270637 h 1277814"/>
              <a:gd name="connsiteX7" fmla="*/ 502207 w 6056802"/>
              <a:gd name="connsiteY7" fmla="*/ 1214366 h 1277814"/>
              <a:gd name="connsiteX8" fmla="*/ 1260630 w 6056802"/>
              <a:gd name="connsiteY8" fmla="*/ 1164858 h 1277814"/>
              <a:gd name="connsiteX9" fmla="*/ 1784460 w 6056802"/>
              <a:gd name="connsiteY9" fmla="*/ 952500 h 1277814"/>
              <a:gd name="connsiteX10" fmla="*/ 2593678 w 6056802"/>
              <a:gd name="connsiteY10" fmla="*/ 896414 h 1277814"/>
              <a:gd name="connsiteX11" fmla="*/ 4139654 w 6056802"/>
              <a:gd name="connsiteY11" fmla="*/ 17332 h 1277814"/>
              <a:gd name="connsiteX12" fmla="*/ 4256602 w 6056802"/>
              <a:gd name="connsiteY12" fmla="*/ 99 h 1277814"/>
              <a:gd name="connsiteX0" fmla="*/ 4256602 w 6056802"/>
              <a:gd name="connsiteY0" fmla="*/ 802 h 1278517"/>
              <a:gd name="connsiteX1" fmla="*/ 5317987 w 6056802"/>
              <a:gd name="connsiteY1" fmla="*/ 741292 h 1278517"/>
              <a:gd name="connsiteX2" fmla="*/ 5987767 w 6056802"/>
              <a:gd name="connsiteY2" fmla="*/ 927109 h 1278517"/>
              <a:gd name="connsiteX3" fmla="*/ 6004744 w 6056802"/>
              <a:gd name="connsiteY3" fmla="*/ 1252239 h 1278517"/>
              <a:gd name="connsiteX4" fmla="*/ 6056802 w 6056802"/>
              <a:gd name="connsiteY4" fmla="*/ 1278517 h 1278517"/>
              <a:gd name="connsiteX5" fmla="*/ 792 w 6056802"/>
              <a:gd name="connsiteY5" fmla="*/ 1278517 h 1278517"/>
              <a:gd name="connsiteX6" fmla="*/ 0 w 6056802"/>
              <a:gd name="connsiteY6" fmla="*/ 1271340 h 1278517"/>
              <a:gd name="connsiteX7" fmla="*/ 502207 w 6056802"/>
              <a:gd name="connsiteY7" fmla="*/ 1215069 h 1278517"/>
              <a:gd name="connsiteX8" fmla="*/ 1260630 w 6056802"/>
              <a:gd name="connsiteY8" fmla="*/ 1165561 h 1278517"/>
              <a:gd name="connsiteX9" fmla="*/ 1784460 w 6056802"/>
              <a:gd name="connsiteY9" fmla="*/ 953203 h 1278517"/>
              <a:gd name="connsiteX10" fmla="*/ 2593678 w 6056802"/>
              <a:gd name="connsiteY10" fmla="*/ 897117 h 1278517"/>
              <a:gd name="connsiteX11" fmla="*/ 4256602 w 6056802"/>
              <a:gd name="connsiteY11" fmla="*/ 802 h 1278517"/>
              <a:gd name="connsiteX0" fmla="*/ 4256602 w 6056802"/>
              <a:gd name="connsiteY0" fmla="*/ 802 h 1278517"/>
              <a:gd name="connsiteX1" fmla="*/ 5317987 w 6056802"/>
              <a:gd name="connsiteY1" fmla="*/ 741292 h 1278517"/>
              <a:gd name="connsiteX2" fmla="*/ 5987767 w 6056802"/>
              <a:gd name="connsiteY2" fmla="*/ 927109 h 1278517"/>
              <a:gd name="connsiteX3" fmla="*/ 6004744 w 6056802"/>
              <a:gd name="connsiteY3" fmla="*/ 1252239 h 1278517"/>
              <a:gd name="connsiteX4" fmla="*/ 6056802 w 6056802"/>
              <a:gd name="connsiteY4" fmla="*/ 1278517 h 1278517"/>
              <a:gd name="connsiteX5" fmla="*/ 792 w 6056802"/>
              <a:gd name="connsiteY5" fmla="*/ 1278517 h 1278517"/>
              <a:gd name="connsiteX6" fmla="*/ 0 w 6056802"/>
              <a:gd name="connsiteY6" fmla="*/ 1271340 h 1278517"/>
              <a:gd name="connsiteX7" fmla="*/ 502207 w 6056802"/>
              <a:gd name="connsiteY7" fmla="*/ 1215069 h 1278517"/>
              <a:gd name="connsiteX8" fmla="*/ 1260630 w 6056802"/>
              <a:gd name="connsiteY8" fmla="*/ 1165561 h 1278517"/>
              <a:gd name="connsiteX9" fmla="*/ 1784460 w 6056802"/>
              <a:gd name="connsiteY9" fmla="*/ 953203 h 1278517"/>
              <a:gd name="connsiteX10" fmla="*/ 2593678 w 6056802"/>
              <a:gd name="connsiteY10" fmla="*/ 897117 h 1278517"/>
              <a:gd name="connsiteX11" fmla="*/ 4256602 w 6056802"/>
              <a:gd name="connsiteY11" fmla="*/ 802 h 127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56802" h="1278517">
                <a:moveTo>
                  <a:pt x="4256602" y="802"/>
                </a:moveTo>
                <a:cubicBezTo>
                  <a:pt x="4710653" y="-25169"/>
                  <a:pt x="5029460" y="586908"/>
                  <a:pt x="5317987" y="741292"/>
                </a:cubicBezTo>
                <a:cubicBezTo>
                  <a:pt x="5606514" y="895676"/>
                  <a:pt x="5873307" y="841951"/>
                  <a:pt x="5987767" y="927109"/>
                </a:cubicBezTo>
                <a:cubicBezTo>
                  <a:pt x="6102227" y="1012267"/>
                  <a:pt x="5688810" y="1098405"/>
                  <a:pt x="6004744" y="1252239"/>
                </a:cubicBezTo>
                <a:lnTo>
                  <a:pt x="6056802" y="1278517"/>
                </a:lnTo>
                <a:lnTo>
                  <a:pt x="792" y="1278517"/>
                </a:lnTo>
                <a:lnTo>
                  <a:pt x="0" y="1271340"/>
                </a:lnTo>
                <a:cubicBezTo>
                  <a:pt x="66554" y="1216170"/>
                  <a:pt x="292102" y="1232699"/>
                  <a:pt x="502207" y="1215069"/>
                </a:cubicBezTo>
                <a:cubicBezTo>
                  <a:pt x="712312" y="1197439"/>
                  <a:pt x="1046921" y="1209205"/>
                  <a:pt x="1260630" y="1165561"/>
                </a:cubicBezTo>
                <a:cubicBezTo>
                  <a:pt x="1474339" y="1121917"/>
                  <a:pt x="1562285" y="997944"/>
                  <a:pt x="1784460" y="953203"/>
                </a:cubicBezTo>
                <a:cubicBezTo>
                  <a:pt x="2006635" y="908462"/>
                  <a:pt x="2332403" y="1036278"/>
                  <a:pt x="2593678" y="897117"/>
                </a:cubicBezTo>
                <a:cubicBezTo>
                  <a:pt x="3005702" y="738383"/>
                  <a:pt x="3802551" y="26773"/>
                  <a:pt x="4256602" y="802"/>
                </a:cubicBezTo>
                <a:close/>
              </a:path>
            </a:pathLst>
          </a:cu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4F4D2600-1386-3C55-754F-D79AE6FAD646}"/>
              </a:ext>
            </a:extLst>
          </p:cNvPr>
          <p:cNvSpPr/>
          <p:nvPr/>
        </p:nvSpPr>
        <p:spPr>
          <a:xfrm>
            <a:off x="1418" y="2771699"/>
            <a:ext cx="12192000" cy="403834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23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31D168DB-6480-56DA-4F73-0333888A7259}"/>
              </a:ext>
            </a:extLst>
          </p:cNvPr>
          <p:cNvSpPr/>
          <p:nvPr/>
        </p:nvSpPr>
        <p:spPr>
          <a:xfrm rot="16200000">
            <a:off x="9463083" y="2829931"/>
            <a:ext cx="4752715" cy="705123"/>
          </a:xfrm>
          <a:prstGeom prst="rect">
            <a:avLst/>
          </a:prstGeom>
          <a:gradFill>
            <a:gsLst>
              <a:gs pos="20000">
                <a:srgbClr val="121212">
                  <a:alpha val="70000"/>
                </a:srgbClr>
              </a:gs>
              <a:gs pos="13000">
                <a:srgbClr val="121212">
                  <a:alpha val="60000"/>
                </a:srgbClr>
              </a:gs>
              <a:gs pos="0">
                <a:schemeClr val="tx1">
                  <a:alpha val="0"/>
                </a:schemeClr>
              </a:gs>
              <a:gs pos="76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3" name="Прямая со стрелкой 2">
            <a:extLst>
              <a:ext uri="{FF2B5EF4-FFF2-40B4-BE49-F238E27FC236}">
                <a16:creationId xmlns:a16="http://schemas.microsoft.com/office/drawing/2014/main" id="{065B81B7-02DA-D637-0A89-1CF21BFE1F08}"/>
              </a:ext>
            </a:extLst>
          </p:cNvPr>
          <p:cNvCxnSpPr>
            <a:cxnSpLocks/>
          </p:cNvCxnSpPr>
          <p:nvPr/>
        </p:nvCxnSpPr>
        <p:spPr>
          <a:xfrm>
            <a:off x="1069304" y="3679515"/>
            <a:ext cx="10989346" cy="0"/>
          </a:xfrm>
          <a:prstGeom prst="straightConnector1">
            <a:avLst/>
          </a:prstGeom>
          <a:noFill/>
          <a:ln w="3175" cap="flat">
            <a:solidFill>
              <a:schemeClr val="tx1">
                <a:lumMod val="10000"/>
                <a:lumOff val="90000"/>
              </a:schemeClr>
            </a:solidFill>
            <a:prstDash val="dashDot"/>
            <a:round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E3FDB13A-59A8-842A-3F9E-C97B8A48C7D3}"/>
              </a:ext>
            </a:extLst>
          </p:cNvPr>
          <p:cNvCxnSpPr>
            <a:cxnSpLocks/>
          </p:cNvCxnSpPr>
          <p:nvPr/>
        </p:nvCxnSpPr>
        <p:spPr>
          <a:xfrm flipV="1">
            <a:off x="1069304" y="1159600"/>
            <a:ext cx="0" cy="5081381"/>
          </a:xfrm>
          <a:prstGeom prst="straightConnector1">
            <a:avLst/>
          </a:prstGeom>
          <a:noFill/>
          <a:ln w="3175" cap="flat">
            <a:solidFill>
              <a:schemeClr val="tx1">
                <a:lumMod val="10000"/>
                <a:lumOff val="90000"/>
              </a:schemeClr>
            </a:solidFill>
            <a:prstDash val="dashDot"/>
            <a:round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C76D1F2-5003-E315-D86B-8F1EC81B1BCA}"/>
              </a:ext>
            </a:extLst>
          </p:cNvPr>
          <p:cNvSpPr txBox="1"/>
          <p:nvPr/>
        </p:nvSpPr>
        <p:spPr>
          <a:xfrm rot="16200000">
            <a:off x="-1151548" y="3607957"/>
            <a:ext cx="2868215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Индекс потребительской лояльност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559E33-5154-C075-1145-4056EAAA32C0}"/>
              </a:ext>
            </a:extLst>
          </p:cNvPr>
          <p:cNvSpPr txBox="1"/>
          <p:nvPr/>
        </p:nvSpPr>
        <p:spPr>
          <a:xfrm>
            <a:off x="-169953" y="1159600"/>
            <a:ext cx="1376371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+ 100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A20A5D-631A-2F06-257B-340D6B489228}"/>
              </a:ext>
            </a:extLst>
          </p:cNvPr>
          <p:cNvSpPr txBox="1"/>
          <p:nvPr/>
        </p:nvSpPr>
        <p:spPr>
          <a:xfrm>
            <a:off x="-218132" y="6076233"/>
            <a:ext cx="1376371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- 100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2992A9-7172-B763-BBD0-B77E8423CF58}"/>
              </a:ext>
            </a:extLst>
          </p:cNvPr>
          <p:cNvSpPr txBox="1"/>
          <p:nvPr/>
        </p:nvSpPr>
        <p:spPr>
          <a:xfrm>
            <a:off x="508839" y="3587182"/>
            <a:ext cx="451402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933E32-9D55-C9B5-7A76-CDB1A891CB68}"/>
              </a:ext>
            </a:extLst>
          </p:cNvPr>
          <p:cNvSpPr txBox="1"/>
          <p:nvPr/>
        </p:nvSpPr>
        <p:spPr>
          <a:xfrm>
            <a:off x="1199820" y="3823722"/>
            <a:ext cx="119191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Выбор и покупк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DE8EED-DA56-5E12-972F-E0AB3EAFCC45}"/>
              </a:ext>
            </a:extLst>
          </p:cNvPr>
          <p:cNvSpPr txBox="1"/>
          <p:nvPr/>
        </p:nvSpPr>
        <p:spPr>
          <a:xfrm>
            <a:off x="2743969" y="3823722"/>
            <a:ext cx="1761233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Ожидание строительств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D0D982-53B1-D8CD-88F0-09831F9600CA}"/>
              </a:ext>
            </a:extLst>
          </p:cNvPr>
          <p:cNvSpPr txBox="1"/>
          <p:nvPr/>
        </p:nvSpPr>
        <p:spPr>
          <a:xfrm>
            <a:off x="5387909" y="3823722"/>
            <a:ext cx="1328208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Получение ключей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794CB9-FA60-515B-7284-DB0AB912BA6C}"/>
              </a:ext>
            </a:extLst>
          </p:cNvPr>
          <p:cNvSpPr txBox="1"/>
          <p:nvPr/>
        </p:nvSpPr>
        <p:spPr>
          <a:xfrm>
            <a:off x="8686890" y="3823722"/>
            <a:ext cx="1522281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Проживание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6DAEE67C-C9AD-FCFD-FDEA-4FA318915B2F}"/>
              </a:ext>
            </a:extLst>
          </p:cNvPr>
          <p:cNvSpPr/>
          <p:nvPr/>
        </p:nvSpPr>
        <p:spPr>
          <a:xfrm>
            <a:off x="1759778" y="3643515"/>
            <a:ext cx="72000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AC984806-CAC3-D408-0334-A7EF84DAFC04}"/>
              </a:ext>
            </a:extLst>
          </p:cNvPr>
          <p:cNvSpPr/>
          <p:nvPr/>
        </p:nvSpPr>
        <p:spPr>
          <a:xfrm>
            <a:off x="6016013" y="3643515"/>
            <a:ext cx="72000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B12EB619-D601-27B1-D3EF-E0B27FA74D14}"/>
              </a:ext>
            </a:extLst>
          </p:cNvPr>
          <p:cNvSpPr/>
          <p:nvPr/>
        </p:nvSpPr>
        <p:spPr>
          <a:xfrm>
            <a:off x="674336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CE6A867C-8FC8-0E66-689E-1E788B24ABB3}"/>
              </a:ext>
            </a:extLst>
          </p:cNvPr>
          <p:cNvSpPr/>
          <p:nvPr/>
        </p:nvSpPr>
        <p:spPr>
          <a:xfrm>
            <a:off x="753335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790826E6-52B1-9D21-4140-B61094E59E77}"/>
              </a:ext>
            </a:extLst>
          </p:cNvPr>
          <p:cNvSpPr/>
          <p:nvPr/>
        </p:nvSpPr>
        <p:spPr>
          <a:xfrm>
            <a:off x="832334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A4510619-27EB-0FBA-0FA4-6CD9106D3C4E}"/>
              </a:ext>
            </a:extLst>
          </p:cNvPr>
          <p:cNvSpPr/>
          <p:nvPr/>
        </p:nvSpPr>
        <p:spPr>
          <a:xfrm>
            <a:off x="911333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3F1BD30C-C2CD-B9F5-7CDE-42B6B1851D7D}"/>
              </a:ext>
            </a:extLst>
          </p:cNvPr>
          <p:cNvSpPr/>
          <p:nvPr/>
        </p:nvSpPr>
        <p:spPr>
          <a:xfrm>
            <a:off x="990332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3BAE7E59-5440-70EA-B3B2-2519F39085BA}"/>
              </a:ext>
            </a:extLst>
          </p:cNvPr>
          <p:cNvSpPr/>
          <p:nvPr/>
        </p:nvSpPr>
        <p:spPr>
          <a:xfrm>
            <a:off x="1069331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98890D46-FA7D-968B-7FF5-28AEF39D0C0B}"/>
              </a:ext>
            </a:extLst>
          </p:cNvPr>
          <p:cNvSpPr/>
          <p:nvPr/>
        </p:nvSpPr>
        <p:spPr>
          <a:xfrm>
            <a:off x="11483303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44D46533-8CD9-6A5A-6173-EB23B36757EE}"/>
              </a:ext>
            </a:extLst>
          </p:cNvPr>
          <p:cNvSpPr/>
          <p:nvPr/>
        </p:nvSpPr>
        <p:spPr>
          <a:xfrm>
            <a:off x="1138139" y="2043301"/>
            <a:ext cx="10660064" cy="3328651"/>
          </a:xfrm>
          <a:custGeom>
            <a:avLst/>
            <a:gdLst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0 h 3605414"/>
              <a:gd name="connsiteX1" fmla="*/ 4743450 w 11420475"/>
              <a:gd name="connsiteY1" fmla="*/ 295275 h 3605414"/>
              <a:gd name="connsiteX2" fmla="*/ 6010275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605414"/>
              <a:gd name="connsiteX1" fmla="*/ 4667250 w 11420475"/>
              <a:gd name="connsiteY1" fmla="*/ 219075 h 3605414"/>
              <a:gd name="connsiteX2" fmla="*/ 6010275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605414"/>
              <a:gd name="connsiteX1" fmla="*/ 4667250 w 11420475"/>
              <a:gd name="connsiteY1" fmla="*/ 219075 h 3605414"/>
              <a:gd name="connsiteX2" fmla="*/ 5905500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377929"/>
              <a:gd name="connsiteX1" fmla="*/ 4667250 w 11420475"/>
              <a:gd name="connsiteY1" fmla="*/ 219075 h 3377929"/>
              <a:gd name="connsiteX2" fmla="*/ 5905500 w 11420475"/>
              <a:gd name="connsiteY2" fmla="*/ 2095500 h 3377929"/>
              <a:gd name="connsiteX3" fmla="*/ 7448550 w 11420475"/>
              <a:gd name="connsiteY3" fmla="*/ 3257550 h 3377929"/>
              <a:gd name="connsiteX4" fmla="*/ 11420475 w 11420475"/>
              <a:gd name="connsiteY4" fmla="*/ 3143250 h 3377929"/>
              <a:gd name="connsiteX0" fmla="*/ 0 w 11420475"/>
              <a:gd name="connsiteY0" fmla="*/ 75713 h 3453642"/>
              <a:gd name="connsiteX1" fmla="*/ 4667250 w 11420475"/>
              <a:gd name="connsiteY1" fmla="*/ 294788 h 3453642"/>
              <a:gd name="connsiteX2" fmla="*/ 7448550 w 11420475"/>
              <a:gd name="connsiteY2" fmla="*/ 3333263 h 3453642"/>
              <a:gd name="connsiteX3" fmla="*/ 11420475 w 11420475"/>
              <a:gd name="connsiteY3" fmla="*/ 3218963 h 3453642"/>
              <a:gd name="connsiteX0" fmla="*/ 0 w 11420475"/>
              <a:gd name="connsiteY0" fmla="*/ 46475 h 3289373"/>
              <a:gd name="connsiteX1" fmla="*/ 4667250 w 11420475"/>
              <a:gd name="connsiteY1" fmla="*/ 265550 h 3289373"/>
              <a:gd name="connsiteX2" fmla="*/ 7364281 w 11420475"/>
              <a:gd name="connsiteY2" fmla="*/ 2881238 h 3289373"/>
              <a:gd name="connsiteX3" fmla="*/ 11420475 w 11420475"/>
              <a:gd name="connsiteY3" fmla="*/ 3189725 h 3289373"/>
              <a:gd name="connsiteX0" fmla="*/ 0 w 11420475"/>
              <a:gd name="connsiteY0" fmla="*/ 46475 h 3289373"/>
              <a:gd name="connsiteX1" fmla="*/ 4667250 w 11420475"/>
              <a:gd name="connsiteY1" fmla="*/ 265550 h 3289373"/>
              <a:gd name="connsiteX2" fmla="*/ 7364281 w 11420475"/>
              <a:gd name="connsiteY2" fmla="*/ 2881238 h 3289373"/>
              <a:gd name="connsiteX3" fmla="*/ 11420475 w 11420475"/>
              <a:gd name="connsiteY3" fmla="*/ 3189725 h 3289373"/>
              <a:gd name="connsiteX0" fmla="*/ 0 w 11420475"/>
              <a:gd name="connsiteY0" fmla="*/ 46475 h 3328651"/>
              <a:gd name="connsiteX1" fmla="*/ 4667250 w 11420475"/>
              <a:gd name="connsiteY1" fmla="*/ 265550 h 3328651"/>
              <a:gd name="connsiteX2" fmla="*/ 7364281 w 11420475"/>
              <a:gd name="connsiteY2" fmla="*/ 2881238 h 3328651"/>
              <a:gd name="connsiteX3" fmla="*/ 11420475 w 11420475"/>
              <a:gd name="connsiteY3" fmla="*/ 3189725 h 3328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0475" h="3328651">
                <a:moveTo>
                  <a:pt x="0" y="46475"/>
                </a:moveTo>
                <a:cubicBezTo>
                  <a:pt x="988219" y="107991"/>
                  <a:pt x="3439870" y="-206911"/>
                  <a:pt x="4667250" y="265550"/>
                </a:cubicBezTo>
                <a:cubicBezTo>
                  <a:pt x="5894630" y="738011"/>
                  <a:pt x="6757522" y="2480471"/>
                  <a:pt x="7364281" y="2881238"/>
                </a:cubicBezTo>
                <a:cubicBezTo>
                  <a:pt x="7971040" y="3282005"/>
                  <a:pt x="9675812" y="3481825"/>
                  <a:pt x="11420475" y="3189725"/>
                </a:cubicBezTo>
              </a:path>
            </a:pathLst>
          </a:custGeom>
          <a:noFill/>
          <a:ln w="28575">
            <a:gradFill>
              <a:gsLst>
                <a:gs pos="0">
                  <a:srgbClr val="00B050"/>
                </a:gs>
                <a:gs pos="100000">
                  <a:srgbClr val="FF0000"/>
                </a:gs>
                <a:gs pos="23000">
                  <a:srgbClr val="FFC00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3B7D3F-9107-C81C-7CD9-8C443BFA09F9}"/>
              </a:ext>
            </a:extLst>
          </p:cNvPr>
          <p:cNvSpPr txBox="1"/>
          <p:nvPr/>
        </p:nvSpPr>
        <p:spPr>
          <a:xfrm>
            <a:off x="6544973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1 год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10757D-66F5-4E67-EAD6-65AC0373AD8F}"/>
              </a:ext>
            </a:extLst>
          </p:cNvPr>
          <p:cNvSpPr txBox="1"/>
          <p:nvPr/>
        </p:nvSpPr>
        <p:spPr>
          <a:xfrm>
            <a:off x="7334963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2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3106877-FDAC-BBC0-C39A-EBC819651D81}"/>
              </a:ext>
            </a:extLst>
          </p:cNvPr>
          <p:cNvSpPr txBox="1"/>
          <p:nvPr/>
        </p:nvSpPr>
        <p:spPr>
          <a:xfrm>
            <a:off x="8129242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3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FBB7288-7E4E-305D-7105-03032AAAABB2}"/>
              </a:ext>
            </a:extLst>
          </p:cNvPr>
          <p:cNvSpPr txBox="1"/>
          <p:nvPr/>
        </p:nvSpPr>
        <p:spPr>
          <a:xfrm>
            <a:off x="8914943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4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FDBE02C-4BF5-666C-818C-88E4C6B7BB47}"/>
              </a:ext>
            </a:extLst>
          </p:cNvPr>
          <p:cNvSpPr txBox="1"/>
          <p:nvPr/>
        </p:nvSpPr>
        <p:spPr>
          <a:xfrm>
            <a:off x="9700644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5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21CAB81-59FE-D6B3-C7F7-26FB7358BE1B}"/>
              </a:ext>
            </a:extLst>
          </p:cNvPr>
          <p:cNvSpPr txBox="1"/>
          <p:nvPr/>
        </p:nvSpPr>
        <p:spPr>
          <a:xfrm>
            <a:off x="10496709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6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1F4A02A-6ED3-090A-51BD-9184F93F7A07}"/>
              </a:ext>
            </a:extLst>
          </p:cNvPr>
          <p:cNvSpPr txBox="1"/>
          <p:nvPr/>
        </p:nvSpPr>
        <p:spPr>
          <a:xfrm>
            <a:off x="11284910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7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37068724-829D-0A1D-4E4E-709D29AE51E1}"/>
              </a:ext>
            </a:extLst>
          </p:cNvPr>
          <p:cNvGrpSpPr/>
          <p:nvPr/>
        </p:nvGrpSpPr>
        <p:grpSpPr>
          <a:xfrm>
            <a:off x="1551535" y="6250226"/>
            <a:ext cx="4898816" cy="261610"/>
            <a:chOff x="1551535" y="6341250"/>
            <a:chExt cx="4898816" cy="261610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6A9B297-5A85-838F-43AD-852C8A758C89}"/>
                </a:ext>
              </a:extLst>
            </p:cNvPr>
            <p:cNvSpPr txBox="1"/>
            <p:nvPr/>
          </p:nvSpPr>
          <p:spPr>
            <a:xfrm>
              <a:off x="1689409" y="6341250"/>
              <a:ext cx="4760942" cy="26161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Распределение покупок от этапа покупателя по первой сделке</a:t>
              </a:r>
            </a:p>
          </p:txBody>
        </p: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92413061-2A5B-D167-3C13-79299CC936CF}"/>
                </a:ext>
              </a:extLst>
            </p:cNvPr>
            <p:cNvCxnSpPr>
              <a:cxnSpLocks/>
            </p:cNvCxnSpPr>
            <p:nvPr/>
          </p:nvCxnSpPr>
          <p:spPr>
            <a:xfrm>
              <a:off x="1551535" y="6480766"/>
              <a:ext cx="112165" cy="0"/>
            </a:xfrm>
            <a:prstGeom prst="line">
              <a:avLst/>
            </a:prstGeom>
            <a:ln w="19050" cap="rnd">
              <a:solidFill>
                <a:srgbClr val="00B0F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E5B4CCC1-D2FB-F976-5042-C0A4169CCD61}"/>
              </a:ext>
            </a:extLst>
          </p:cNvPr>
          <p:cNvGrpSpPr/>
          <p:nvPr/>
        </p:nvGrpSpPr>
        <p:grpSpPr>
          <a:xfrm>
            <a:off x="1551535" y="6022950"/>
            <a:ext cx="5055791" cy="261610"/>
            <a:chOff x="1551535" y="6537761"/>
            <a:chExt cx="5055791" cy="261610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8189C52-F277-B54C-6CBE-83716C9DB186}"/>
                </a:ext>
              </a:extLst>
            </p:cNvPr>
            <p:cNvSpPr txBox="1"/>
            <p:nvPr/>
          </p:nvSpPr>
          <p:spPr>
            <a:xfrm>
              <a:off x="1689409" y="6537761"/>
              <a:ext cx="4917917" cy="26161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Р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аспределение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 продаж по каналу рекомендация от этапа 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рекомендателя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21212">
                    <a:lumMod val="25000"/>
                    <a:lumOff val="75000"/>
                  </a:srgbClr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endParaRPr>
            </a:p>
          </p:txBody>
        </p:sp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06A1A4EC-6B1D-C2B8-73DA-8E9D47AF2BED}"/>
                </a:ext>
              </a:extLst>
            </p:cNvPr>
            <p:cNvCxnSpPr>
              <a:cxnSpLocks/>
            </p:cNvCxnSpPr>
            <p:nvPr/>
          </p:nvCxnSpPr>
          <p:spPr>
            <a:xfrm>
              <a:off x="1551535" y="6680791"/>
              <a:ext cx="112165" cy="0"/>
            </a:xfrm>
            <a:prstGeom prst="line">
              <a:avLst/>
            </a:prstGeom>
            <a:ln w="19050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589F4966-DF6D-1B9F-C742-9B582C13DA7D}"/>
              </a:ext>
            </a:extLst>
          </p:cNvPr>
          <p:cNvGrpSpPr/>
          <p:nvPr/>
        </p:nvGrpSpPr>
        <p:grpSpPr>
          <a:xfrm>
            <a:off x="1551535" y="5795675"/>
            <a:ext cx="4898816" cy="261610"/>
            <a:chOff x="1551535" y="6130218"/>
            <a:chExt cx="4898816" cy="261610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A33062D-AE83-B6E7-1AE0-BF1ADFC6FDF4}"/>
                </a:ext>
              </a:extLst>
            </p:cNvPr>
            <p:cNvSpPr txBox="1"/>
            <p:nvPr/>
          </p:nvSpPr>
          <p:spPr>
            <a:xfrm>
              <a:off x="1689409" y="6130218"/>
              <a:ext cx="4760942" cy="26161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00B050"/>
                      </a:gs>
                      <a:gs pos="50000">
                        <a:srgbClr val="FFC0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NPS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B050"/>
                    </a:gs>
                    <a:gs pos="50000">
                      <a:srgbClr val="FFC000"/>
                    </a:gs>
                    <a:gs pos="100000">
                      <a:srgbClr val="FF00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endParaRPr>
            </a:p>
          </p:txBody>
        </p:sp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88BAF186-404F-736F-3901-DC8C9DE6FA11}"/>
                </a:ext>
              </a:extLst>
            </p:cNvPr>
            <p:cNvCxnSpPr>
              <a:cxnSpLocks/>
            </p:cNvCxnSpPr>
            <p:nvPr/>
          </p:nvCxnSpPr>
          <p:spPr>
            <a:xfrm>
              <a:off x="1551535" y="6280741"/>
              <a:ext cx="112165" cy="0"/>
            </a:xfrm>
            <a:prstGeom prst="line">
              <a:avLst/>
            </a:prstGeom>
            <a:ln w="19050" cap="rnd">
              <a:gradFill flip="none" rotWithShape="1">
                <a:gsLst>
                  <a:gs pos="50000">
                    <a:srgbClr val="FFC000"/>
                  </a:gs>
                  <a:gs pos="0">
                    <a:srgbClr val="FF0000"/>
                  </a:gs>
                  <a:gs pos="100000">
                    <a:srgbClr val="00B050"/>
                  </a:gs>
                </a:gsLst>
                <a:lin ang="1080000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A40289E6-F381-7315-2DF1-5B5DF7450560}"/>
              </a:ext>
            </a:extLst>
          </p:cNvPr>
          <p:cNvSpPr/>
          <p:nvPr/>
        </p:nvSpPr>
        <p:spPr>
          <a:xfrm>
            <a:off x="1160460" y="1747172"/>
            <a:ext cx="10463676" cy="2687515"/>
          </a:xfrm>
          <a:custGeom>
            <a:avLst/>
            <a:gdLst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0 h 3605414"/>
              <a:gd name="connsiteX1" fmla="*/ 4743450 w 11420475"/>
              <a:gd name="connsiteY1" fmla="*/ 295275 h 3605414"/>
              <a:gd name="connsiteX2" fmla="*/ 6010275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605414"/>
              <a:gd name="connsiteX1" fmla="*/ 4667250 w 11420475"/>
              <a:gd name="connsiteY1" fmla="*/ 219075 h 3605414"/>
              <a:gd name="connsiteX2" fmla="*/ 6010275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605414"/>
              <a:gd name="connsiteX1" fmla="*/ 4667250 w 11420475"/>
              <a:gd name="connsiteY1" fmla="*/ 219075 h 3605414"/>
              <a:gd name="connsiteX2" fmla="*/ 5905500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377929"/>
              <a:gd name="connsiteX1" fmla="*/ 4667250 w 11420475"/>
              <a:gd name="connsiteY1" fmla="*/ 219075 h 3377929"/>
              <a:gd name="connsiteX2" fmla="*/ 5905500 w 11420475"/>
              <a:gd name="connsiteY2" fmla="*/ 2095500 h 3377929"/>
              <a:gd name="connsiteX3" fmla="*/ 7448550 w 11420475"/>
              <a:gd name="connsiteY3" fmla="*/ 3257550 h 3377929"/>
              <a:gd name="connsiteX4" fmla="*/ 11420475 w 11420475"/>
              <a:gd name="connsiteY4" fmla="*/ 3143250 h 3377929"/>
              <a:gd name="connsiteX0" fmla="*/ 0 w 11420475"/>
              <a:gd name="connsiteY0" fmla="*/ 75713 h 3453642"/>
              <a:gd name="connsiteX1" fmla="*/ 4667250 w 11420475"/>
              <a:gd name="connsiteY1" fmla="*/ 294788 h 3453642"/>
              <a:gd name="connsiteX2" fmla="*/ 7448550 w 11420475"/>
              <a:gd name="connsiteY2" fmla="*/ 3333263 h 3453642"/>
              <a:gd name="connsiteX3" fmla="*/ 11420475 w 11420475"/>
              <a:gd name="connsiteY3" fmla="*/ 3218963 h 3453642"/>
              <a:gd name="connsiteX0" fmla="*/ 0 w 11420475"/>
              <a:gd name="connsiteY0" fmla="*/ 46475 h 3289373"/>
              <a:gd name="connsiteX1" fmla="*/ 4667250 w 11420475"/>
              <a:gd name="connsiteY1" fmla="*/ 265550 h 3289373"/>
              <a:gd name="connsiteX2" fmla="*/ 7364281 w 11420475"/>
              <a:gd name="connsiteY2" fmla="*/ 2881238 h 3289373"/>
              <a:gd name="connsiteX3" fmla="*/ 11420475 w 11420475"/>
              <a:gd name="connsiteY3" fmla="*/ 3189725 h 3289373"/>
              <a:gd name="connsiteX0" fmla="*/ 0 w 11420475"/>
              <a:gd name="connsiteY0" fmla="*/ 46475 h 3289373"/>
              <a:gd name="connsiteX1" fmla="*/ 4667250 w 11420475"/>
              <a:gd name="connsiteY1" fmla="*/ 265550 h 3289373"/>
              <a:gd name="connsiteX2" fmla="*/ 7364281 w 11420475"/>
              <a:gd name="connsiteY2" fmla="*/ 2881238 h 3289373"/>
              <a:gd name="connsiteX3" fmla="*/ 11420475 w 11420475"/>
              <a:gd name="connsiteY3" fmla="*/ 3189725 h 3289373"/>
              <a:gd name="connsiteX0" fmla="*/ 0 w 11420475"/>
              <a:gd name="connsiteY0" fmla="*/ 46475 h 3328651"/>
              <a:gd name="connsiteX1" fmla="*/ 4667250 w 11420475"/>
              <a:gd name="connsiteY1" fmla="*/ 265550 h 3328651"/>
              <a:gd name="connsiteX2" fmla="*/ 7364281 w 11420475"/>
              <a:gd name="connsiteY2" fmla="*/ 2881238 h 3328651"/>
              <a:gd name="connsiteX3" fmla="*/ 11420475 w 11420475"/>
              <a:gd name="connsiteY3" fmla="*/ 3189725 h 3328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0475" h="3328651">
                <a:moveTo>
                  <a:pt x="0" y="46475"/>
                </a:moveTo>
                <a:cubicBezTo>
                  <a:pt x="988219" y="107991"/>
                  <a:pt x="3439870" y="-206911"/>
                  <a:pt x="4667250" y="265550"/>
                </a:cubicBezTo>
                <a:cubicBezTo>
                  <a:pt x="5894630" y="738011"/>
                  <a:pt x="6757522" y="2480471"/>
                  <a:pt x="7364281" y="2881238"/>
                </a:cubicBezTo>
                <a:cubicBezTo>
                  <a:pt x="7971040" y="3282005"/>
                  <a:pt x="9675812" y="3481825"/>
                  <a:pt x="11420475" y="3189725"/>
                </a:cubicBezTo>
              </a:path>
            </a:pathLst>
          </a:custGeom>
          <a:noFill/>
          <a:ln w="28575">
            <a:gradFill>
              <a:gsLst>
                <a:gs pos="0">
                  <a:srgbClr val="00B050"/>
                </a:gs>
                <a:gs pos="100000">
                  <a:srgbClr val="FF0000"/>
                </a:gs>
                <a:gs pos="23000">
                  <a:srgbClr val="FFC00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63DAD0E5-C8CD-F703-827B-87D57C201347}"/>
              </a:ext>
            </a:extLst>
          </p:cNvPr>
          <p:cNvCxnSpPr>
            <a:cxnSpLocks/>
          </p:cNvCxnSpPr>
          <p:nvPr/>
        </p:nvCxnSpPr>
        <p:spPr>
          <a:xfrm flipV="1">
            <a:off x="6238032" y="2513639"/>
            <a:ext cx="0" cy="1916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A90D73B3-8A34-D40B-442C-1C58B11432D2}"/>
              </a:ext>
            </a:extLst>
          </p:cNvPr>
          <p:cNvCxnSpPr>
            <a:cxnSpLocks/>
          </p:cNvCxnSpPr>
          <p:nvPr/>
        </p:nvCxnSpPr>
        <p:spPr>
          <a:xfrm flipV="1">
            <a:off x="7455190" y="3824734"/>
            <a:ext cx="0" cy="333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11D27D65-2822-3DF7-999A-AD01B96D43C6}"/>
              </a:ext>
            </a:extLst>
          </p:cNvPr>
          <p:cNvCxnSpPr>
            <a:cxnSpLocks/>
          </p:cNvCxnSpPr>
          <p:nvPr/>
        </p:nvCxnSpPr>
        <p:spPr>
          <a:xfrm flipV="1">
            <a:off x="3513542" y="1812131"/>
            <a:ext cx="0" cy="1499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83933AC7-4B66-4B89-7B14-91E56C87BC2E}"/>
              </a:ext>
            </a:extLst>
          </p:cNvPr>
          <p:cNvCxnSpPr>
            <a:cxnSpLocks/>
          </p:cNvCxnSpPr>
          <p:nvPr/>
        </p:nvCxnSpPr>
        <p:spPr>
          <a:xfrm flipV="1">
            <a:off x="9343433" y="4562741"/>
            <a:ext cx="0" cy="6674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F1212423-2F50-4E30-A2E0-CCB3C2AF2CF9}"/>
              </a:ext>
            </a:extLst>
          </p:cNvPr>
          <p:cNvSpPr txBox="1">
            <a:spLocks/>
          </p:cNvSpPr>
          <p:nvPr/>
        </p:nvSpPr>
        <p:spPr>
          <a:xfrm>
            <a:off x="371475" y="214082"/>
            <a:ext cx="10006239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4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С ПОМОЩЬЮ СВОЕВРЕМЕННЫХ КОММУНИКАЦИИ С КЛИЕНТОМ ДЕВЕЛОПЕРЫ МОГУТ ПОВЫШАТЬ NPS И ВЫРУЧКУ, </a:t>
            </a:r>
            <a:r>
              <a:rPr lang="ru-RU" sz="14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А ТАКЖЕ СНИЖАТЬ СУДЕБНЫЕ ИЗДЕРЖКИ</a:t>
            </a:r>
          </a:p>
        </p:txBody>
      </p:sp>
    </p:spTree>
    <p:extLst>
      <p:ext uri="{BB962C8B-B14F-4D97-AF65-F5344CB8AC3E}">
        <p14:creationId xmlns:p14="http://schemas.microsoft.com/office/powerpoint/2010/main" val="3779918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5998953_House_Home_1920x1080">
            <a:hlinkClick r:id="" action="ppaction://media"/>
            <a:extLst>
              <a:ext uri="{FF2B5EF4-FFF2-40B4-BE49-F238E27FC236}">
                <a16:creationId xmlns:a16="http://schemas.microsoft.com/office/drawing/2014/main" id="{7EDEA105-11C1-407C-8FDD-A38854D3621D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2122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6E31984-82F1-4EBA-831B-BEB2F9CFD861}"/>
              </a:ext>
            </a:extLst>
          </p:cNvPr>
          <p:cNvSpPr/>
          <p:nvPr/>
        </p:nvSpPr>
        <p:spPr>
          <a:xfrm>
            <a:off x="0" y="2743200"/>
            <a:ext cx="12192000" cy="4114800"/>
          </a:xfrm>
          <a:prstGeom prst="rect">
            <a:avLst/>
          </a:prstGeom>
          <a:gradFill>
            <a:gsLst>
              <a:gs pos="36000">
                <a:srgbClr val="121212">
                  <a:alpha val="70000"/>
                </a:srgbClr>
              </a:gs>
              <a:gs pos="26000">
                <a:srgbClr val="121212">
                  <a:alpha val="60000"/>
                </a:srgbClr>
              </a:gs>
              <a:gs pos="0">
                <a:schemeClr val="tx1">
                  <a:alpha val="0"/>
                </a:schemeClr>
              </a:gs>
              <a:gs pos="76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23D6C7-60E3-49EB-B57D-17C4F59727C1}"/>
              </a:ext>
            </a:extLst>
          </p:cNvPr>
          <p:cNvSpPr txBox="1"/>
          <p:nvPr/>
        </p:nvSpPr>
        <p:spPr>
          <a:xfrm>
            <a:off x="1037616" y="4642539"/>
            <a:ext cx="103113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DIN PT" panose="020B0504030203060204" pitchFamily="34" charset="0"/>
              </a:rPr>
              <a:t>Ближайшие годы рынок будет определять не только цена квадратного метра.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DIN PT" panose="020B050403020306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PT" panose="020B0504030203060204" pitchFamily="34" charset="0"/>
              </a:rPr>
              <a:t>Сегодня клиент платит не за обещания, а за спокойствие, которое можно потрогать руками — в своей квартире и в общении с застройщиком.</a:t>
            </a:r>
          </a:p>
        </p:txBody>
      </p:sp>
    </p:spTree>
    <p:extLst>
      <p:ext uri="{BB962C8B-B14F-4D97-AF65-F5344CB8AC3E}">
        <p14:creationId xmlns:p14="http://schemas.microsoft.com/office/powerpoint/2010/main" val="75901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15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16A207FE-7014-09FA-B689-A3AE26EA1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К ФСК</a:t>
            </a:r>
            <a:endParaRPr lang="ru-RU" dirty="0">
              <a:latin typeface="+mj-lt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14159F6-45A8-28F2-2FDB-2FEE10A8D4B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46" r="2146"/>
          <a:stretch>
            <a:fillRect/>
          </a:stretch>
        </p:blipFill>
        <p:spPr>
          <a:xfrm>
            <a:off x="6096000" y="306917"/>
            <a:ext cx="6096000" cy="5952067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241302" y="3144498"/>
            <a:ext cx="3388783" cy="1336034"/>
            <a:chOff x="187326" y="2358373"/>
            <a:chExt cx="2541587" cy="100202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631FAF2-7470-9823-8B07-0AAD84DFFE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9238" y="3083400"/>
              <a:ext cx="2354262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lang="ru-RU" altLang="ru-RU" sz="1200" dirty="0">
                  <a:solidFill>
                    <a:schemeClr val="bg1"/>
                  </a:solidFill>
                  <a:ea typeface="Verdana" panose="020B0604030504040204" pitchFamily="34" charset="0"/>
                </a:rPr>
                <a:t>объем текущего строительства </a:t>
              </a:r>
            </a:p>
            <a:p>
              <a:pPr eaLnBrk="1" hangingPunct="1"/>
              <a:r>
                <a:rPr lang="ru-RU" altLang="ru-RU" sz="1200" dirty="0">
                  <a:solidFill>
                    <a:schemeClr val="bg1"/>
                  </a:solidFill>
                  <a:highlight>
                    <a:srgbClr val="121015"/>
                  </a:highlight>
                  <a:ea typeface="Verdana" panose="020B0604030504040204" pitchFamily="34" charset="0"/>
                </a:rPr>
                <a:t>на 01.0</a:t>
              </a:r>
              <a:r>
                <a:rPr lang="en-US" altLang="ru-RU" sz="1200" dirty="0">
                  <a:solidFill>
                    <a:schemeClr val="bg1"/>
                  </a:solidFill>
                  <a:highlight>
                    <a:srgbClr val="121015"/>
                  </a:highlight>
                  <a:ea typeface="Verdana" panose="020B0604030504040204" pitchFamily="34" charset="0"/>
                </a:rPr>
                <a:t>3</a:t>
              </a:r>
              <a:r>
                <a:rPr lang="ru-RU" altLang="ru-RU" sz="1200" dirty="0">
                  <a:solidFill>
                    <a:schemeClr val="bg1"/>
                  </a:solidFill>
                  <a:highlight>
                    <a:srgbClr val="121015"/>
                  </a:highlight>
                  <a:ea typeface="Verdana" panose="020B0604030504040204" pitchFamily="34" charset="0"/>
                </a:rPr>
                <a:t>.2026 г. </a:t>
              </a:r>
              <a:endParaRPr lang="en-US" altLang="ru-RU" sz="1200" dirty="0">
                <a:solidFill>
                  <a:schemeClr val="bg1"/>
                </a:solidFill>
                <a:highlight>
                  <a:srgbClr val="121015"/>
                </a:highlight>
                <a:ea typeface="Verdana" panose="020B060403050404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838ED5A-E8EC-79C6-5EC6-7933F99EFE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7326" y="2358373"/>
              <a:ext cx="2541587" cy="677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lang="en-US" altLang="ru-RU" sz="5867" dirty="0">
                  <a:solidFill>
                    <a:srgbClr val="F15A22"/>
                  </a:solidFill>
                  <a:ea typeface="Verdana" panose="020B0604030504040204" pitchFamily="34" charset="0"/>
                </a:rPr>
                <a:t>2 </a:t>
              </a:r>
              <a:r>
                <a:rPr lang="ru-RU" altLang="ru-RU" sz="1467" dirty="0">
                  <a:solidFill>
                    <a:srgbClr val="F15A22"/>
                  </a:solidFill>
                  <a:ea typeface="Verdana" panose="020B0604030504040204" pitchFamily="34" charset="0"/>
                </a:rPr>
                <a:t>МЛН М²</a:t>
              </a:r>
              <a:endParaRPr lang="ru-RU" altLang="ru-RU" sz="1467" baseline="30000" dirty="0">
                <a:solidFill>
                  <a:srgbClr val="F15A22"/>
                </a:solidFill>
                <a:ea typeface="Verdana" panose="020B0604030504040204" pitchFamily="34" charset="0"/>
              </a:endParaRPr>
            </a:p>
          </p:txBody>
        </p:sp>
      </p:grpSp>
      <p:sp>
        <p:nvSpPr>
          <p:cNvPr id="35" name="Номер слайда 3"/>
          <p:cNvSpPr>
            <a:spLocks noGrp="1"/>
          </p:cNvSpPr>
          <p:nvPr>
            <p:ph type="sldNum" sz="quarter" idx="2"/>
          </p:nvPr>
        </p:nvSpPr>
        <p:spPr>
          <a:xfrm>
            <a:off x="332317" y="6546507"/>
            <a:ext cx="177400" cy="123111"/>
          </a:xfrm>
        </p:spPr>
        <p:txBody>
          <a:bodyPr/>
          <a:lstStyle/>
          <a:p>
            <a:fld id="{86CB4B4D-7CA3-9044-876B-883B54F8677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5DB808-6070-FE9A-9A91-3955BDB5A5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2479" y="4962358"/>
            <a:ext cx="1854200" cy="902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ru-RU" sz="5867" dirty="0">
                <a:solidFill>
                  <a:srgbClr val="F15A22"/>
                </a:solidFill>
                <a:ea typeface="Verdana" panose="020B0604030504040204" pitchFamily="34" charset="0"/>
              </a:rPr>
              <a:t>20</a:t>
            </a:r>
            <a:r>
              <a:rPr lang="ru-RU" altLang="ru-RU" sz="1600" dirty="0">
                <a:solidFill>
                  <a:srgbClr val="F15A22"/>
                </a:solidFill>
                <a:ea typeface="Verdana" panose="020B0604030504040204" pitchFamily="34" charset="0"/>
              </a:rPr>
              <a:t> </a:t>
            </a:r>
            <a:r>
              <a:rPr lang="ru-RU" altLang="ru-RU" sz="1467" dirty="0">
                <a:solidFill>
                  <a:srgbClr val="F15A22"/>
                </a:solidFill>
                <a:ea typeface="Verdana" panose="020B0604030504040204" pitchFamily="34" charset="0"/>
              </a:rPr>
              <a:t>ЛЕ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22BD86C-2266-EAC5-0E3B-0AE50451E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961" y="5865314"/>
            <a:ext cx="322368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ru-RU" altLang="ru-RU" sz="1200" dirty="0">
                <a:solidFill>
                  <a:schemeClr val="bg1"/>
                </a:solidFill>
                <a:ea typeface="Verdana" panose="020B0604030504040204" pitchFamily="34" charset="0"/>
              </a:rPr>
              <a:t>стабильного роста </a:t>
            </a:r>
            <a:br>
              <a:rPr lang="ru-RU" altLang="ru-RU" sz="1200" dirty="0">
                <a:solidFill>
                  <a:schemeClr val="bg1"/>
                </a:solidFill>
                <a:ea typeface="Verdana" panose="020B0604030504040204" pitchFamily="34" charset="0"/>
              </a:rPr>
            </a:br>
            <a:r>
              <a:rPr lang="ru-RU" altLang="ru-RU" sz="1200" dirty="0">
                <a:solidFill>
                  <a:schemeClr val="bg1"/>
                </a:solidFill>
                <a:ea typeface="Verdana" panose="020B0604030504040204" pitchFamily="34" charset="0"/>
              </a:rPr>
              <a:t>бизнеса</a:t>
            </a:r>
            <a:endParaRPr lang="en-US" altLang="ru-RU" sz="1200" dirty="0">
              <a:solidFill>
                <a:schemeClr val="bg1"/>
              </a:solidFill>
              <a:ea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5257E80-F930-3E0E-5A90-76DCA18A86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845" y="2296896"/>
            <a:ext cx="28375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ru-RU" altLang="ru-RU" sz="1200" dirty="0">
                <a:solidFill>
                  <a:schemeClr val="bg1"/>
                </a:solidFill>
                <a:ea typeface="Verdana" panose="020B0604030504040204" pitchFamily="34" charset="0"/>
              </a:rPr>
              <a:t>включая текущие </a:t>
            </a:r>
            <a:br>
              <a:rPr lang="en-US" altLang="ru-RU" sz="1200" dirty="0">
                <a:solidFill>
                  <a:schemeClr val="bg1"/>
                </a:solidFill>
                <a:ea typeface="Verdana" panose="020B0604030504040204" pitchFamily="34" charset="0"/>
              </a:rPr>
            </a:br>
            <a:r>
              <a:rPr lang="ru-RU" altLang="ru-RU" sz="1200" dirty="0">
                <a:solidFill>
                  <a:schemeClr val="bg1"/>
                </a:solidFill>
                <a:ea typeface="Verdana" panose="020B0604030504040204" pitchFamily="34" charset="0"/>
              </a:rPr>
              <a:t>и перспективные </a:t>
            </a:r>
          </a:p>
        </p:txBody>
      </p:sp>
      <p:sp>
        <p:nvSpPr>
          <p:cNvPr id="37" name="Текст 1">
            <a:extLst>
              <a:ext uri="{FF2B5EF4-FFF2-40B4-BE49-F238E27FC236}">
                <a16:creationId xmlns:a16="http://schemas.microsoft.com/office/drawing/2014/main" id="{E8468DC7-73CD-4644-8FE9-58E7DA56F6E3}"/>
              </a:ext>
            </a:extLst>
          </p:cNvPr>
          <p:cNvSpPr txBox="1">
            <a:spLocks/>
          </p:cNvSpPr>
          <p:nvPr/>
        </p:nvSpPr>
        <p:spPr>
          <a:xfrm>
            <a:off x="323851" y="1218129"/>
            <a:ext cx="1886800" cy="3227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48000" rIns="0" bIns="48000">
            <a:sp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None/>
              <a:tabLst/>
              <a:defRPr sz="1100" b="0" i="0" u="none" strike="noStrike" cap="none" spc="0" baseline="0">
                <a:solidFill>
                  <a:schemeClr val="bg1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596900" marR="0" indent="0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None/>
              <a:tabLst/>
              <a:defRPr sz="1100" b="0" i="0" u="none" strike="noStrike" cap="none" spc="0" baseline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054100" marR="0" indent="0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None/>
              <a:tabLst/>
              <a:defRPr sz="1100" b="0" i="0" u="none" strike="noStrike" cap="none" spc="0" baseline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11300" marR="0" indent="0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None/>
              <a:tabLst/>
              <a:defRPr sz="1100" b="0" i="0" u="none" strike="noStrike" cap="none" spc="0" baseline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68500" marR="0" indent="0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None/>
              <a:tabLst/>
              <a:defRPr sz="1100" b="0" i="0" u="none" strike="noStrike" cap="none" spc="0" baseline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833914" marR="0" indent="-408214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Char char="■"/>
              <a:tabLst/>
              <a:defRPr sz="1800" b="0" i="0" u="none" strike="noStrike" cap="none" spc="0" baseline="0">
                <a:solidFill>
                  <a:schemeClr val="accent2">
                    <a:lumOff val="21764"/>
                  </a:schemeClr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3291114" marR="0" indent="-408214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Char char="●"/>
              <a:tabLst/>
              <a:defRPr sz="1800" b="0" i="0" u="none" strike="noStrike" cap="none" spc="0" baseline="0">
                <a:solidFill>
                  <a:schemeClr val="accent2">
                    <a:lumOff val="21764"/>
                  </a:schemeClr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748314" marR="0" indent="-408214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Char char="○"/>
              <a:tabLst/>
              <a:defRPr sz="1800" b="0" i="0" u="none" strike="noStrike" cap="none" spc="0" baseline="0">
                <a:solidFill>
                  <a:schemeClr val="accent2">
                    <a:lumOff val="21764"/>
                  </a:schemeClr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4205514" marR="0" indent="-408214" algn="l" defTabSz="914400" rtl="0" latinLnBrk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Off val="21764"/>
                </a:schemeClr>
              </a:buClr>
              <a:buSzPts val="1800"/>
              <a:buFont typeface="Arial"/>
              <a:buChar char="■"/>
              <a:tabLst/>
              <a:defRPr sz="1800" b="0" i="0" u="none" strike="noStrike" cap="none" spc="0" baseline="0">
                <a:solidFill>
                  <a:schemeClr val="accent2">
                    <a:lumOff val="21764"/>
                  </a:schemeClr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hangingPunct="1"/>
            <a:r>
              <a:rPr lang="ru-RU" sz="1467" dirty="0">
                <a:solidFill>
                  <a:srgbClr val="F15A22"/>
                </a:solidFill>
                <a:cs typeface="Times New Roman" panose="02020603050405020304" pitchFamily="18" charset="0"/>
              </a:rPr>
              <a:t>более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ACC98D8-A311-2B56-2B1D-89827FB441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8817" y="1392467"/>
            <a:ext cx="1718735" cy="902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ru-RU" altLang="ru-RU" sz="5867" dirty="0">
                <a:solidFill>
                  <a:srgbClr val="F15A22"/>
                </a:solidFill>
                <a:ea typeface="Verdana" panose="020B0604030504040204" pitchFamily="34" charset="0"/>
              </a:rPr>
              <a:t>70</a:t>
            </a:r>
            <a:endParaRPr lang="ru-RU" altLang="ru-RU" sz="5867" dirty="0">
              <a:solidFill>
                <a:schemeClr val="bg1"/>
              </a:solidFill>
              <a:ea typeface="Verdana" panose="020B0604030504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7BA5DE-DB05-1A23-5BE5-15820C2A05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3443" y="1709784"/>
            <a:ext cx="1966383" cy="451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ru-RU" altLang="ru-RU" sz="1467" dirty="0">
                <a:solidFill>
                  <a:srgbClr val="F15A22"/>
                </a:solidFill>
                <a:ea typeface="Verdana" panose="020B0604030504040204" pitchFamily="34" charset="0"/>
              </a:rPr>
              <a:t>ДЕВЕЛОПЕРСКИХ </a:t>
            </a:r>
          </a:p>
          <a:p>
            <a:pPr eaLnBrk="1" hangingPunct="1"/>
            <a:r>
              <a:rPr lang="ru-RU" altLang="ru-RU" sz="1467" dirty="0">
                <a:solidFill>
                  <a:srgbClr val="F15A22"/>
                </a:solidFill>
                <a:ea typeface="Verdana" panose="020B0604030504040204" pitchFamily="34" charset="0"/>
              </a:rPr>
              <a:t>ПРОЕКТОВ,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2D17BF-BC25-4D35-83A5-0E4B342DC032}"/>
              </a:ext>
            </a:extLst>
          </p:cNvPr>
          <p:cNvSpPr txBox="1"/>
          <p:nvPr/>
        </p:nvSpPr>
        <p:spPr>
          <a:xfrm>
            <a:off x="206886" y="4781936"/>
            <a:ext cx="6201832" cy="318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hangingPunct="1"/>
            <a:r>
              <a:rPr lang="ru-RU" sz="1467" dirty="0">
                <a:solidFill>
                  <a:srgbClr val="F15A22"/>
                </a:solidFill>
                <a:cs typeface="Times New Roman" panose="02020603050405020304" pitchFamily="18" charset="0"/>
              </a:rPr>
              <a:t>более</a:t>
            </a:r>
          </a:p>
        </p:txBody>
      </p:sp>
    </p:spTree>
    <p:extLst>
      <p:ext uri="{BB962C8B-B14F-4D97-AF65-F5344CB8AC3E}">
        <p14:creationId xmlns:p14="http://schemas.microsoft.com/office/powerpoint/2010/main" val="13762264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Видео 8" title="Ночной (плеск свободный стиль) здания">
            <a:hlinkClick r:id="" action="ppaction://media"/>
            <a:extLst>
              <a:ext uri="{FF2B5EF4-FFF2-40B4-BE49-F238E27FC236}">
                <a16:creationId xmlns:a16="http://schemas.microsoft.com/office/drawing/2014/main" id="{2C3BBD55-CD58-5165-4DB8-9D1C87D1C3A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B3D215A-9B7F-6329-1888-404338515129}"/>
              </a:ext>
            </a:extLst>
          </p:cNvPr>
          <p:cNvSpPr/>
          <p:nvPr/>
        </p:nvSpPr>
        <p:spPr>
          <a:xfrm>
            <a:off x="0" y="1743075"/>
            <a:ext cx="12192000" cy="5248275"/>
          </a:xfrm>
          <a:prstGeom prst="rect">
            <a:avLst/>
          </a:prstGeom>
          <a:gradFill>
            <a:gsLst>
              <a:gs pos="34000">
                <a:srgbClr val="121212">
                  <a:alpha val="70000"/>
                </a:srgbClr>
              </a:gs>
              <a:gs pos="23000">
                <a:srgbClr val="121212">
                  <a:alpha val="60000"/>
                </a:srgbClr>
              </a:gs>
              <a:gs pos="0">
                <a:schemeClr val="tx1">
                  <a:alpha val="0"/>
                </a:schemeClr>
              </a:gs>
              <a:gs pos="69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8" name="Рисунок 7" descr="Изображение выглядит как Шрифт, Графика, текст, графический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1A1B839A-570B-4BC5-A60C-7636718F48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853"/>
          <a:stretch/>
        </p:blipFill>
        <p:spPr>
          <a:xfrm>
            <a:off x="464090" y="5433296"/>
            <a:ext cx="2175466" cy="9867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E55121C-A223-4157-9E76-5EE04DE1F72F}"/>
              </a:ext>
            </a:extLst>
          </p:cNvPr>
          <p:cNvSpPr txBox="1"/>
          <p:nvPr/>
        </p:nvSpPr>
        <p:spPr>
          <a:xfrm>
            <a:off x="3053682" y="5457306"/>
            <a:ext cx="8766844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DIN PT" panose="020B0504030203060204" pitchFamily="34" charset="0"/>
              </a:rPr>
              <a:t>Снижение конфликтности клиентов </a:t>
            </a:r>
            <a:br>
              <a:rPr kumimoji="0" lang="ru-RU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</a:rPr>
            </a:br>
            <a:r>
              <a:rPr kumimoji="0" lang="ru-RU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</a:rPr>
              <a:t>и рост лояльности через коммуникации 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DC0C522F-9EDF-2444-6C2D-384ECB27CB20}"/>
              </a:ext>
            </a:extLst>
          </p:cNvPr>
          <p:cNvCxnSpPr>
            <a:cxnSpLocks/>
          </p:cNvCxnSpPr>
          <p:nvPr/>
        </p:nvCxnSpPr>
        <p:spPr>
          <a:xfrm>
            <a:off x="2846618" y="5243223"/>
            <a:ext cx="0" cy="1366887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80000">
                  <a:srgbClr val="FFFBFA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5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93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547FDCC8-2351-4D4C-99C4-46BBBC6A20FC}"/>
              </a:ext>
            </a:extLst>
          </p:cNvPr>
          <p:cNvSpPr/>
          <p:nvPr/>
        </p:nvSpPr>
        <p:spPr>
          <a:xfrm>
            <a:off x="2127380" y="1640671"/>
            <a:ext cx="9693144" cy="2062389"/>
          </a:xfrm>
          <a:custGeom>
            <a:avLst/>
            <a:gdLst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96785 w 6056802"/>
              <a:gd name="connsiteY8" fmla="*/ 1079741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701531 w 6056802"/>
              <a:gd name="connsiteY8" fmla="*/ 1051507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701531 w 6056802"/>
              <a:gd name="connsiteY8" fmla="*/ 1051507 h 1173980"/>
              <a:gd name="connsiteX9" fmla="*/ 1195724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56802" h="1173980">
                <a:moveTo>
                  <a:pt x="3093228" y="748"/>
                </a:moveTo>
                <a:cubicBezTo>
                  <a:pt x="3336095" y="22980"/>
                  <a:pt x="3466860" y="533172"/>
                  <a:pt x="3669194" y="610992"/>
                </a:cubicBezTo>
                <a:cubicBezTo>
                  <a:pt x="3885016" y="693999"/>
                  <a:pt x="3939784" y="407134"/>
                  <a:pt x="4338041" y="501128"/>
                </a:cubicBezTo>
                <a:cubicBezTo>
                  <a:pt x="4711406" y="589248"/>
                  <a:pt x="5688810" y="993868"/>
                  <a:pt x="6004744" y="1147702"/>
                </a:cubicBezTo>
                <a:lnTo>
                  <a:pt x="6056802" y="1173980"/>
                </a:lnTo>
                <a:lnTo>
                  <a:pt x="792" y="1173980"/>
                </a:lnTo>
                <a:lnTo>
                  <a:pt x="0" y="1166803"/>
                </a:lnTo>
                <a:cubicBezTo>
                  <a:pt x="66554" y="1111633"/>
                  <a:pt x="204547" y="1066012"/>
                  <a:pt x="321469" y="1046796"/>
                </a:cubicBezTo>
                <a:cubicBezTo>
                  <a:pt x="438391" y="1027580"/>
                  <a:pt x="555822" y="1086299"/>
                  <a:pt x="701531" y="1051507"/>
                </a:cubicBezTo>
                <a:cubicBezTo>
                  <a:pt x="847240" y="1016715"/>
                  <a:pt x="968792" y="870575"/>
                  <a:pt x="1195724" y="838043"/>
                </a:cubicBezTo>
                <a:cubicBezTo>
                  <a:pt x="1422656" y="805511"/>
                  <a:pt x="1801848" y="995476"/>
                  <a:pt x="2063123" y="856315"/>
                </a:cubicBezTo>
                <a:cubicBezTo>
                  <a:pt x="2324398" y="717155"/>
                  <a:pt x="2767234" y="53130"/>
                  <a:pt x="3043106" y="3081"/>
                </a:cubicBezTo>
                <a:cubicBezTo>
                  <a:pt x="3060348" y="-47"/>
                  <a:pt x="3077037" y="-734"/>
                  <a:pt x="3093228" y="748"/>
                </a:cubicBezTo>
                <a:close/>
              </a:path>
            </a:pathLst>
          </a:custGeom>
          <a:noFill/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id="{FF921C66-F4B1-4635-97BE-0D9D9795E346}"/>
              </a:ext>
            </a:extLst>
          </p:cNvPr>
          <p:cNvSpPr/>
          <p:nvPr/>
        </p:nvSpPr>
        <p:spPr>
          <a:xfrm>
            <a:off x="3185455" y="1596627"/>
            <a:ext cx="9693144" cy="2126752"/>
          </a:xfrm>
          <a:custGeom>
            <a:avLst/>
            <a:gdLst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96785 w 6056802"/>
              <a:gd name="connsiteY8" fmla="*/ 1079741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18114 w 6056802"/>
              <a:gd name="connsiteY7" fmla="*/ 1028472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77121 w 6056802"/>
              <a:gd name="connsiteY8" fmla="*/ 1033934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13962 w 6056802"/>
              <a:gd name="connsiteY10" fmla="*/ 911284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321469 w 6056802"/>
              <a:gd name="connsiteY7" fmla="*/ 1046796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957456 w 6056802"/>
              <a:gd name="connsiteY8" fmla="*/ 997288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1260630 w 6056802"/>
              <a:gd name="connsiteY8" fmla="*/ 1061024 h 1173980"/>
              <a:gd name="connsiteX9" fmla="*/ 1475456 w 6056802"/>
              <a:gd name="connsiteY9" fmla="*/ 838043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1260630 w 6056802"/>
              <a:gd name="connsiteY8" fmla="*/ 1061024 h 1173980"/>
              <a:gd name="connsiteX9" fmla="*/ 1784460 w 6056802"/>
              <a:gd name="connsiteY9" fmla="*/ 848666 h 1173980"/>
              <a:gd name="connsiteX10" fmla="*/ 2063123 w 6056802"/>
              <a:gd name="connsiteY10" fmla="*/ 856315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093228 w 6056802"/>
              <a:gd name="connsiteY0" fmla="*/ 748 h 1173980"/>
              <a:gd name="connsiteX1" fmla="*/ 3669194 w 6056802"/>
              <a:gd name="connsiteY1" fmla="*/ 610992 h 1173980"/>
              <a:gd name="connsiteX2" fmla="*/ 4338041 w 6056802"/>
              <a:gd name="connsiteY2" fmla="*/ 501128 h 1173980"/>
              <a:gd name="connsiteX3" fmla="*/ 6004744 w 6056802"/>
              <a:gd name="connsiteY3" fmla="*/ 1147702 h 1173980"/>
              <a:gd name="connsiteX4" fmla="*/ 6056802 w 6056802"/>
              <a:gd name="connsiteY4" fmla="*/ 1173980 h 1173980"/>
              <a:gd name="connsiteX5" fmla="*/ 792 w 6056802"/>
              <a:gd name="connsiteY5" fmla="*/ 1173980 h 1173980"/>
              <a:gd name="connsiteX6" fmla="*/ 0 w 6056802"/>
              <a:gd name="connsiteY6" fmla="*/ 1166803 h 1173980"/>
              <a:gd name="connsiteX7" fmla="*/ 502207 w 6056802"/>
              <a:gd name="connsiteY7" fmla="*/ 1110532 h 1173980"/>
              <a:gd name="connsiteX8" fmla="*/ 1260630 w 6056802"/>
              <a:gd name="connsiteY8" fmla="*/ 1061024 h 1173980"/>
              <a:gd name="connsiteX9" fmla="*/ 1784460 w 6056802"/>
              <a:gd name="connsiteY9" fmla="*/ 848666 h 1173980"/>
              <a:gd name="connsiteX10" fmla="*/ 2593678 w 6056802"/>
              <a:gd name="connsiteY10" fmla="*/ 792580 h 1173980"/>
              <a:gd name="connsiteX11" fmla="*/ 3043106 w 6056802"/>
              <a:gd name="connsiteY11" fmla="*/ 3081 h 1173980"/>
              <a:gd name="connsiteX12" fmla="*/ 3093228 w 6056802"/>
              <a:gd name="connsiteY12" fmla="*/ 748 h 1173980"/>
              <a:gd name="connsiteX0" fmla="*/ 3507177 w 6056802"/>
              <a:gd name="connsiteY0" fmla="*/ 4042 h 1171963"/>
              <a:gd name="connsiteX1" fmla="*/ 3669194 w 6056802"/>
              <a:gd name="connsiteY1" fmla="*/ 608975 h 1171963"/>
              <a:gd name="connsiteX2" fmla="*/ 4338041 w 6056802"/>
              <a:gd name="connsiteY2" fmla="*/ 499111 h 1171963"/>
              <a:gd name="connsiteX3" fmla="*/ 6004744 w 6056802"/>
              <a:gd name="connsiteY3" fmla="*/ 1145685 h 1171963"/>
              <a:gd name="connsiteX4" fmla="*/ 6056802 w 6056802"/>
              <a:gd name="connsiteY4" fmla="*/ 1171963 h 1171963"/>
              <a:gd name="connsiteX5" fmla="*/ 792 w 6056802"/>
              <a:gd name="connsiteY5" fmla="*/ 1171963 h 1171963"/>
              <a:gd name="connsiteX6" fmla="*/ 0 w 6056802"/>
              <a:gd name="connsiteY6" fmla="*/ 1164786 h 1171963"/>
              <a:gd name="connsiteX7" fmla="*/ 502207 w 6056802"/>
              <a:gd name="connsiteY7" fmla="*/ 1108515 h 1171963"/>
              <a:gd name="connsiteX8" fmla="*/ 1260630 w 6056802"/>
              <a:gd name="connsiteY8" fmla="*/ 1059007 h 1171963"/>
              <a:gd name="connsiteX9" fmla="*/ 1784460 w 6056802"/>
              <a:gd name="connsiteY9" fmla="*/ 846649 h 1171963"/>
              <a:gd name="connsiteX10" fmla="*/ 2593678 w 6056802"/>
              <a:gd name="connsiteY10" fmla="*/ 790563 h 1171963"/>
              <a:gd name="connsiteX11" fmla="*/ 3043106 w 6056802"/>
              <a:gd name="connsiteY11" fmla="*/ 1064 h 1171963"/>
              <a:gd name="connsiteX12" fmla="*/ 3507177 w 6056802"/>
              <a:gd name="connsiteY12" fmla="*/ 4042 h 1171963"/>
              <a:gd name="connsiteX0" fmla="*/ 3507177 w 6056802"/>
              <a:gd name="connsiteY0" fmla="*/ 4042 h 1171963"/>
              <a:gd name="connsiteX1" fmla="*/ 4042331 w 6056802"/>
              <a:gd name="connsiteY1" fmla="*/ 630221 h 1171963"/>
              <a:gd name="connsiteX2" fmla="*/ 4338041 w 6056802"/>
              <a:gd name="connsiteY2" fmla="*/ 499111 h 1171963"/>
              <a:gd name="connsiteX3" fmla="*/ 6004744 w 6056802"/>
              <a:gd name="connsiteY3" fmla="*/ 1145685 h 1171963"/>
              <a:gd name="connsiteX4" fmla="*/ 6056802 w 6056802"/>
              <a:gd name="connsiteY4" fmla="*/ 1171963 h 1171963"/>
              <a:gd name="connsiteX5" fmla="*/ 792 w 6056802"/>
              <a:gd name="connsiteY5" fmla="*/ 1171963 h 1171963"/>
              <a:gd name="connsiteX6" fmla="*/ 0 w 6056802"/>
              <a:gd name="connsiteY6" fmla="*/ 1164786 h 1171963"/>
              <a:gd name="connsiteX7" fmla="*/ 502207 w 6056802"/>
              <a:gd name="connsiteY7" fmla="*/ 1108515 h 1171963"/>
              <a:gd name="connsiteX8" fmla="*/ 1260630 w 6056802"/>
              <a:gd name="connsiteY8" fmla="*/ 1059007 h 1171963"/>
              <a:gd name="connsiteX9" fmla="*/ 1784460 w 6056802"/>
              <a:gd name="connsiteY9" fmla="*/ 846649 h 1171963"/>
              <a:gd name="connsiteX10" fmla="*/ 2593678 w 6056802"/>
              <a:gd name="connsiteY10" fmla="*/ 790563 h 1171963"/>
              <a:gd name="connsiteX11" fmla="*/ 3043106 w 6056802"/>
              <a:gd name="connsiteY11" fmla="*/ 1064 h 1171963"/>
              <a:gd name="connsiteX12" fmla="*/ 3507177 w 6056802"/>
              <a:gd name="connsiteY12" fmla="*/ 4042 h 1171963"/>
              <a:gd name="connsiteX0" fmla="*/ 3507177 w 6056802"/>
              <a:gd name="connsiteY0" fmla="*/ 4042 h 1171963"/>
              <a:gd name="connsiteX1" fmla="*/ 4042331 w 6056802"/>
              <a:gd name="connsiteY1" fmla="*/ 630221 h 1171963"/>
              <a:gd name="connsiteX2" fmla="*/ 4856936 w 6056802"/>
              <a:gd name="connsiteY2" fmla="*/ 685006 h 1171963"/>
              <a:gd name="connsiteX3" fmla="*/ 6004744 w 6056802"/>
              <a:gd name="connsiteY3" fmla="*/ 1145685 h 1171963"/>
              <a:gd name="connsiteX4" fmla="*/ 6056802 w 6056802"/>
              <a:gd name="connsiteY4" fmla="*/ 1171963 h 1171963"/>
              <a:gd name="connsiteX5" fmla="*/ 792 w 6056802"/>
              <a:gd name="connsiteY5" fmla="*/ 1171963 h 1171963"/>
              <a:gd name="connsiteX6" fmla="*/ 0 w 6056802"/>
              <a:gd name="connsiteY6" fmla="*/ 1164786 h 1171963"/>
              <a:gd name="connsiteX7" fmla="*/ 502207 w 6056802"/>
              <a:gd name="connsiteY7" fmla="*/ 1108515 h 1171963"/>
              <a:gd name="connsiteX8" fmla="*/ 1260630 w 6056802"/>
              <a:gd name="connsiteY8" fmla="*/ 1059007 h 1171963"/>
              <a:gd name="connsiteX9" fmla="*/ 1784460 w 6056802"/>
              <a:gd name="connsiteY9" fmla="*/ 846649 h 1171963"/>
              <a:gd name="connsiteX10" fmla="*/ 2593678 w 6056802"/>
              <a:gd name="connsiteY10" fmla="*/ 790563 h 1171963"/>
              <a:gd name="connsiteX11" fmla="*/ 3043106 w 6056802"/>
              <a:gd name="connsiteY11" fmla="*/ 1064 h 1171963"/>
              <a:gd name="connsiteX12" fmla="*/ 3507177 w 6056802"/>
              <a:gd name="connsiteY12" fmla="*/ 4042 h 1171963"/>
              <a:gd name="connsiteX0" fmla="*/ 3507177 w 6056802"/>
              <a:gd name="connsiteY0" fmla="*/ 19235 h 1187156"/>
              <a:gd name="connsiteX1" fmla="*/ 4042331 w 6056802"/>
              <a:gd name="connsiteY1" fmla="*/ 645414 h 1187156"/>
              <a:gd name="connsiteX2" fmla="*/ 4856936 w 6056802"/>
              <a:gd name="connsiteY2" fmla="*/ 700199 h 1187156"/>
              <a:gd name="connsiteX3" fmla="*/ 6004744 w 6056802"/>
              <a:gd name="connsiteY3" fmla="*/ 1160878 h 1187156"/>
              <a:gd name="connsiteX4" fmla="*/ 6056802 w 6056802"/>
              <a:gd name="connsiteY4" fmla="*/ 1187156 h 1187156"/>
              <a:gd name="connsiteX5" fmla="*/ 792 w 6056802"/>
              <a:gd name="connsiteY5" fmla="*/ 1187156 h 1187156"/>
              <a:gd name="connsiteX6" fmla="*/ 0 w 6056802"/>
              <a:gd name="connsiteY6" fmla="*/ 1179979 h 1187156"/>
              <a:gd name="connsiteX7" fmla="*/ 502207 w 6056802"/>
              <a:gd name="connsiteY7" fmla="*/ 1123708 h 1187156"/>
              <a:gd name="connsiteX8" fmla="*/ 1260630 w 6056802"/>
              <a:gd name="connsiteY8" fmla="*/ 1074200 h 1187156"/>
              <a:gd name="connsiteX9" fmla="*/ 1784460 w 6056802"/>
              <a:gd name="connsiteY9" fmla="*/ 861842 h 1187156"/>
              <a:gd name="connsiteX10" fmla="*/ 2593678 w 6056802"/>
              <a:gd name="connsiteY10" fmla="*/ 805756 h 1187156"/>
              <a:gd name="connsiteX11" fmla="*/ 3474546 w 6056802"/>
              <a:gd name="connsiteY11" fmla="*/ 323 h 1187156"/>
              <a:gd name="connsiteX12" fmla="*/ 3507177 w 6056802"/>
              <a:gd name="connsiteY12" fmla="*/ 19235 h 1187156"/>
              <a:gd name="connsiteX0" fmla="*/ 3499738 w 6056802"/>
              <a:gd name="connsiteY0" fmla="*/ 439 h 1191403"/>
              <a:gd name="connsiteX1" fmla="*/ 4042331 w 6056802"/>
              <a:gd name="connsiteY1" fmla="*/ 649661 h 1191403"/>
              <a:gd name="connsiteX2" fmla="*/ 4856936 w 6056802"/>
              <a:gd name="connsiteY2" fmla="*/ 704446 h 1191403"/>
              <a:gd name="connsiteX3" fmla="*/ 6004744 w 6056802"/>
              <a:gd name="connsiteY3" fmla="*/ 1165125 h 1191403"/>
              <a:gd name="connsiteX4" fmla="*/ 6056802 w 6056802"/>
              <a:gd name="connsiteY4" fmla="*/ 1191403 h 1191403"/>
              <a:gd name="connsiteX5" fmla="*/ 792 w 6056802"/>
              <a:gd name="connsiteY5" fmla="*/ 1191403 h 1191403"/>
              <a:gd name="connsiteX6" fmla="*/ 0 w 6056802"/>
              <a:gd name="connsiteY6" fmla="*/ 1184226 h 1191403"/>
              <a:gd name="connsiteX7" fmla="*/ 502207 w 6056802"/>
              <a:gd name="connsiteY7" fmla="*/ 1127955 h 1191403"/>
              <a:gd name="connsiteX8" fmla="*/ 1260630 w 6056802"/>
              <a:gd name="connsiteY8" fmla="*/ 1078447 h 1191403"/>
              <a:gd name="connsiteX9" fmla="*/ 1784460 w 6056802"/>
              <a:gd name="connsiteY9" fmla="*/ 866089 h 1191403"/>
              <a:gd name="connsiteX10" fmla="*/ 2593678 w 6056802"/>
              <a:gd name="connsiteY10" fmla="*/ 810003 h 1191403"/>
              <a:gd name="connsiteX11" fmla="*/ 3474546 w 6056802"/>
              <a:gd name="connsiteY11" fmla="*/ 4570 h 1191403"/>
              <a:gd name="connsiteX12" fmla="*/ 3499738 w 6056802"/>
              <a:gd name="connsiteY12" fmla="*/ 439 h 1191403"/>
              <a:gd name="connsiteX0" fmla="*/ 3862794 w 6056802"/>
              <a:gd name="connsiteY0" fmla="*/ 109795 h 1186898"/>
              <a:gd name="connsiteX1" fmla="*/ 4042331 w 6056802"/>
              <a:gd name="connsiteY1" fmla="*/ 645156 h 1186898"/>
              <a:gd name="connsiteX2" fmla="*/ 4856936 w 6056802"/>
              <a:gd name="connsiteY2" fmla="*/ 699941 h 1186898"/>
              <a:gd name="connsiteX3" fmla="*/ 6004744 w 6056802"/>
              <a:gd name="connsiteY3" fmla="*/ 1160620 h 1186898"/>
              <a:gd name="connsiteX4" fmla="*/ 6056802 w 6056802"/>
              <a:gd name="connsiteY4" fmla="*/ 1186898 h 1186898"/>
              <a:gd name="connsiteX5" fmla="*/ 792 w 6056802"/>
              <a:gd name="connsiteY5" fmla="*/ 1186898 h 1186898"/>
              <a:gd name="connsiteX6" fmla="*/ 0 w 6056802"/>
              <a:gd name="connsiteY6" fmla="*/ 1179721 h 1186898"/>
              <a:gd name="connsiteX7" fmla="*/ 502207 w 6056802"/>
              <a:gd name="connsiteY7" fmla="*/ 1123450 h 1186898"/>
              <a:gd name="connsiteX8" fmla="*/ 1260630 w 6056802"/>
              <a:gd name="connsiteY8" fmla="*/ 1073942 h 1186898"/>
              <a:gd name="connsiteX9" fmla="*/ 1784460 w 6056802"/>
              <a:gd name="connsiteY9" fmla="*/ 861584 h 1186898"/>
              <a:gd name="connsiteX10" fmla="*/ 2593678 w 6056802"/>
              <a:gd name="connsiteY10" fmla="*/ 805498 h 1186898"/>
              <a:gd name="connsiteX11" fmla="*/ 3474546 w 6056802"/>
              <a:gd name="connsiteY11" fmla="*/ 65 h 1186898"/>
              <a:gd name="connsiteX12" fmla="*/ 3862794 w 6056802"/>
              <a:gd name="connsiteY12" fmla="*/ 109795 h 1186898"/>
              <a:gd name="connsiteX0" fmla="*/ 3862794 w 6056802"/>
              <a:gd name="connsiteY0" fmla="*/ 69167 h 1146270"/>
              <a:gd name="connsiteX1" fmla="*/ 4042331 w 6056802"/>
              <a:gd name="connsiteY1" fmla="*/ 604528 h 1146270"/>
              <a:gd name="connsiteX2" fmla="*/ 4856936 w 6056802"/>
              <a:gd name="connsiteY2" fmla="*/ 659313 h 1146270"/>
              <a:gd name="connsiteX3" fmla="*/ 6004744 w 6056802"/>
              <a:gd name="connsiteY3" fmla="*/ 1119992 h 1146270"/>
              <a:gd name="connsiteX4" fmla="*/ 6056802 w 6056802"/>
              <a:gd name="connsiteY4" fmla="*/ 1146270 h 1146270"/>
              <a:gd name="connsiteX5" fmla="*/ 792 w 6056802"/>
              <a:gd name="connsiteY5" fmla="*/ 1146270 h 1146270"/>
              <a:gd name="connsiteX6" fmla="*/ 0 w 6056802"/>
              <a:gd name="connsiteY6" fmla="*/ 1139093 h 1146270"/>
              <a:gd name="connsiteX7" fmla="*/ 502207 w 6056802"/>
              <a:gd name="connsiteY7" fmla="*/ 1082822 h 1146270"/>
              <a:gd name="connsiteX8" fmla="*/ 1260630 w 6056802"/>
              <a:gd name="connsiteY8" fmla="*/ 1033314 h 1146270"/>
              <a:gd name="connsiteX9" fmla="*/ 1784460 w 6056802"/>
              <a:gd name="connsiteY9" fmla="*/ 820956 h 1146270"/>
              <a:gd name="connsiteX10" fmla="*/ 2593678 w 6056802"/>
              <a:gd name="connsiteY10" fmla="*/ 764870 h 1146270"/>
              <a:gd name="connsiteX11" fmla="*/ 3554894 w 6056802"/>
              <a:gd name="connsiteY11" fmla="*/ 101 h 1146270"/>
              <a:gd name="connsiteX12" fmla="*/ 3862794 w 6056802"/>
              <a:gd name="connsiteY12" fmla="*/ 69167 h 1146270"/>
              <a:gd name="connsiteX0" fmla="*/ 3734832 w 6056802"/>
              <a:gd name="connsiteY0" fmla="*/ 37 h 1191001"/>
              <a:gd name="connsiteX1" fmla="*/ 4042331 w 6056802"/>
              <a:gd name="connsiteY1" fmla="*/ 649259 h 1191001"/>
              <a:gd name="connsiteX2" fmla="*/ 4856936 w 6056802"/>
              <a:gd name="connsiteY2" fmla="*/ 704044 h 1191001"/>
              <a:gd name="connsiteX3" fmla="*/ 6004744 w 6056802"/>
              <a:gd name="connsiteY3" fmla="*/ 1164723 h 1191001"/>
              <a:gd name="connsiteX4" fmla="*/ 6056802 w 6056802"/>
              <a:gd name="connsiteY4" fmla="*/ 1191001 h 1191001"/>
              <a:gd name="connsiteX5" fmla="*/ 792 w 6056802"/>
              <a:gd name="connsiteY5" fmla="*/ 1191001 h 1191001"/>
              <a:gd name="connsiteX6" fmla="*/ 0 w 6056802"/>
              <a:gd name="connsiteY6" fmla="*/ 1183824 h 1191001"/>
              <a:gd name="connsiteX7" fmla="*/ 502207 w 6056802"/>
              <a:gd name="connsiteY7" fmla="*/ 1127553 h 1191001"/>
              <a:gd name="connsiteX8" fmla="*/ 1260630 w 6056802"/>
              <a:gd name="connsiteY8" fmla="*/ 1078045 h 1191001"/>
              <a:gd name="connsiteX9" fmla="*/ 1784460 w 6056802"/>
              <a:gd name="connsiteY9" fmla="*/ 865687 h 1191001"/>
              <a:gd name="connsiteX10" fmla="*/ 2593678 w 6056802"/>
              <a:gd name="connsiteY10" fmla="*/ 809601 h 1191001"/>
              <a:gd name="connsiteX11" fmla="*/ 3554894 w 6056802"/>
              <a:gd name="connsiteY11" fmla="*/ 44832 h 1191001"/>
              <a:gd name="connsiteX12" fmla="*/ 3734832 w 6056802"/>
              <a:gd name="connsiteY12" fmla="*/ 37 h 1191001"/>
              <a:gd name="connsiteX0" fmla="*/ 3734832 w 6056802"/>
              <a:gd name="connsiteY0" fmla="*/ 37 h 1191001"/>
              <a:gd name="connsiteX1" fmla="*/ 4244690 w 6056802"/>
              <a:gd name="connsiteY1" fmla="*/ 646548 h 1191001"/>
              <a:gd name="connsiteX2" fmla="*/ 4856936 w 6056802"/>
              <a:gd name="connsiteY2" fmla="*/ 704044 h 1191001"/>
              <a:gd name="connsiteX3" fmla="*/ 6004744 w 6056802"/>
              <a:gd name="connsiteY3" fmla="*/ 1164723 h 1191001"/>
              <a:gd name="connsiteX4" fmla="*/ 6056802 w 6056802"/>
              <a:gd name="connsiteY4" fmla="*/ 1191001 h 1191001"/>
              <a:gd name="connsiteX5" fmla="*/ 792 w 6056802"/>
              <a:gd name="connsiteY5" fmla="*/ 1191001 h 1191001"/>
              <a:gd name="connsiteX6" fmla="*/ 0 w 6056802"/>
              <a:gd name="connsiteY6" fmla="*/ 1183824 h 1191001"/>
              <a:gd name="connsiteX7" fmla="*/ 502207 w 6056802"/>
              <a:gd name="connsiteY7" fmla="*/ 1127553 h 1191001"/>
              <a:gd name="connsiteX8" fmla="*/ 1260630 w 6056802"/>
              <a:gd name="connsiteY8" fmla="*/ 1078045 h 1191001"/>
              <a:gd name="connsiteX9" fmla="*/ 1784460 w 6056802"/>
              <a:gd name="connsiteY9" fmla="*/ 865687 h 1191001"/>
              <a:gd name="connsiteX10" fmla="*/ 2593678 w 6056802"/>
              <a:gd name="connsiteY10" fmla="*/ 809601 h 1191001"/>
              <a:gd name="connsiteX11" fmla="*/ 3554894 w 6056802"/>
              <a:gd name="connsiteY11" fmla="*/ 44832 h 1191001"/>
              <a:gd name="connsiteX12" fmla="*/ 3734832 w 6056802"/>
              <a:gd name="connsiteY12" fmla="*/ 37 h 1191001"/>
              <a:gd name="connsiteX0" fmla="*/ 3734832 w 6056802"/>
              <a:gd name="connsiteY0" fmla="*/ 440 h 1191404"/>
              <a:gd name="connsiteX1" fmla="*/ 4244690 w 6056802"/>
              <a:gd name="connsiteY1" fmla="*/ 646951 h 1191404"/>
              <a:gd name="connsiteX2" fmla="*/ 4856936 w 6056802"/>
              <a:gd name="connsiteY2" fmla="*/ 704447 h 1191404"/>
              <a:gd name="connsiteX3" fmla="*/ 6004744 w 6056802"/>
              <a:gd name="connsiteY3" fmla="*/ 1165126 h 1191404"/>
              <a:gd name="connsiteX4" fmla="*/ 6056802 w 6056802"/>
              <a:gd name="connsiteY4" fmla="*/ 1191404 h 1191404"/>
              <a:gd name="connsiteX5" fmla="*/ 792 w 6056802"/>
              <a:gd name="connsiteY5" fmla="*/ 1191404 h 1191404"/>
              <a:gd name="connsiteX6" fmla="*/ 0 w 6056802"/>
              <a:gd name="connsiteY6" fmla="*/ 1184227 h 1191404"/>
              <a:gd name="connsiteX7" fmla="*/ 502207 w 6056802"/>
              <a:gd name="connsiteY7" fmla="*/ 1127956 h 1191404"/>
              <a:gd name="connsiteX8" fmla="*/ 1260630 w 6056802"/>
              <a:gd name="connsiteY8" fmla="*/ 1078448 h 1191404"/>
              <a:gd name="connsiteX9" fmla="*/ 1784460 w 6056802"/>
              <a:gd name="connsiteY9" fmla="*/ 866090 h 1191404"/>
              <a:gd name="connsiteX10" fmla="*/ 2593678 w 6056802"/>
              <a:gd name="connsiteY10" fmla="*/ 810004 h 1191404"/>
              <a:gd name="connsiteX11" fmla="*/ 3617388 w 6056802"/>
              <a:gd name="connsiteY11" fmla="*/ 4570 h 1191404"/>
              <a:gd name="connsiteX12" fmla="*/ 3734832 w 6056802"/>
              <a:gd name="connsiteY12" fmla="*/ 440 h 1191404"/>
              <a:gd name="connsiteX0" fmla="*/ 3758639 w 6056802"/>
              <a:gd name="connsiteY0" fmla="*/ 114 h 1201922"/>
              <a:gd name="connsiteX1" fmla="*/ 4244690 w 6056802"/>
              <a:gd name="connsiteY1" fmla="*/ 657469 h 1201922"/>
              <a:gd name="connsiteX2" fmla="*/ 4856936 w 6056802"/>
              <a:gd name="connsiteY2" fmla="*/ 714965 h 1201922"/>
              <a:gd name="connsiteX3" fmla="*/ 6004744 w 6056802"/>
              <a:gd name="connsiteY3" fmla="*/ 1175644 h 1201922"/>
              <a:gd name="connsiteX4" fmla="*/ 6056802 w 6056802"/>
              <a:gd name="connsiteY4" fmla="*/ 1201922 h 1201922"/>
              <a:gd name="connsiteX5" fmla="*/ 792 w 6056802"/>
              <a:gd name="connsiteY5" fmla="*/ 1201922 h 1201922"/>
              <a:gd name="connsiteX6" fmla="*/ 0 w 6056802"/>
              <a:gd name="connsiteY6" fmla="*/ 1194745 h 1201922"/>
              <a:gd name="connsiteX7" fmla="*/ 502207 w 6056802"/>
              <a:gd name="connsiteY7" fmla="*/ 1138474 h 1201922"/>
              <a:gd name="connsiteX8" fmla="*/ 1260630 w 6056802"/>
              <a:gd name="connsiteY8" fmla="*/ 1088966 h 1201922"/>
              <a:gd name="connsiteX9" fmla="*/ 1784460 w 6056802"/>
              <a:gd name="connsiteY9" fmla="*/ 876608 h 1201922"/>
              <a:gd name="connsiteX10" fmla="*/ 2593678 w 6056802"/>
              <a:gd name="connsiteY10" fmla="*/ 820522 h 1201922"/>
              <a:gd name="connsiteX11" fmla="*/ 3617388 w 6056802"/>
              <a:gd name="connsiteY11" fmla="*/ 15088 h 1201922"/>
              <a:gd name="connsiteX12" fmla="*/ 3758639 w 6056802"/>
              <a:gd name="connsiteY12" fmla="*/ 114 h 1201922"/>
              <a:gd name="connsiteX0" fmla="*/ 3758639 w 6056802"/>
              <a:gd name="connsiteY0" fmla="*/ 114 h 1201922"/>
              <a:gd name="connsiteX1" fmla="*/ 4244690 w 6056802"/>
              <a:gd name="connsiteY1" fmla="*/ 657469 h 1201922"/>
              <a:gd name="connsiteX2" fmla="*/ 5368786 w 6056802"/>
              <a:gd name="connsiteY2" fmla="*/ 714965 h 1201922"/>
              <a:gd name="connsiteX3" fmla="*/ 6004744 w 6056802"/>
              <a:gd name="connsiteY3" fmla="*/ 1175644 h 1201922"/>
              <a:gd name="connsiteX4" fmla="*/ 6056802 w 6056802"/>
              <a:gd name="connsiteY4" fmla="*/ 1201922 h 1201922"/>
              <a:gd name="connsiteX5" fmla="*/ 792 w 6056802"/>
              <a:gd name="connsiteY5" fmla="*/ 1201922 h 1201922"/>
              <a:gd name="connsiteX6" fmla="*/ 0 w 6056802"/>
              <a:gd name="connsiteY6" fmla="*/ 1194745 h 1201922"/>
              <a:gd name="connsiteX7" fmla="*/ 502207 w 6056802"/>
              <a:gd name="connsiteY7" fmla="*/ 1138474 h 1201922"/>
              <a:gd name="connsiteX8" fmla="*/ 1260630 w 6056802"/>
              <a:gd name="connsiteY8" fmla="*/ 1088966 h 1201922"/>
              <a:gd name="connsiteX9" fmla="*/ 1784460 w 6056802"/>
              <a:gd name="connsiteY9" fmla="*/ 876608 h 1201922"/>
              <a:gd name="connsiteX10" fmla="*/ 2593678 w 6056802"/>
              <a:gd name="connsiteY10" fmla="*/ 820522 h 1201922"/>
              <a:gd name="connsiteX11" fmla="*/ 3617388 w 6056802"/>
              <a:gd name="connsiteY11" fmla="*/ 15088 h 1201922"/>
              <a:gd name="connsiteX12" fmla="*/ 3758639 w 6056802"/>
              <a:gd name="connsiteY12" fmla="*/ 114 h 1201922"/>
              <a:gd name="connsiteX0" fmla="*/ 3758639 w 6056802"/>
              <a:gd name="connsiteY0" fmla="*/ 114 h 1201922"/>
              <a:gd name="connsiteX1" fmla="*/ 4823993 w 6056802"/>
              <a:gd name="connsiteY1" fmla="*/ 718917 h 1201922"/>
              <a:gd name="connsiteX2" fmla="*/ 5368786 w 6056802"/>
              <a:gd name="connsiteY2" fmla="*/ 714965 h 1201922"/>
              <a:gd name="connsiteX3" fmla="*/ 6004744 w 6056802"/>
              <a:gd name="connsiteY3" fmla="*/ 1175644 h 1201922"/>
              <a:gd name="connsiteX4" fmla="*/ 6056802 w 6056802"/>
              <a:gd name="connsiteY4" fmla="*/ 1201922 h 1201922"/>
              <a:gd name="connsiteX5" fmla="*/ 792 w 6056802"/>
              <a:gd name="connsiteY5" fmla="*/ 1201922 h 1201922"/>
              <a:gd name="connsiteX6" fmla="*/ 0 w 6056802"/>
              <a:gd name="connsiteY6" fmla="*/ 1194745 h 1201922"/>
              <a:gd name="connsiteX7" fmla="*/ 502207 w 6056802"/>
              <a:gd name="connsiteY7" fmla="*/ 1138474 h 1201922"/>
              <a:gd name="connsiteX8" fmla="*/ 1260630 w 6056802"/>
              <a:gd name="connsiteY8" fmla="*/ 1088966 h 1201922"/>
              <a:gd name="connsiteX9" fmla="*/ 1784460 w 6056802"/>
              <a:gd name="connsiteY9" fmla="*/ 876608 h 1201922"/>
              <a:gd name="connsiteX10" fmla="*/ 2593678 w 6056802"/>
              <a:gd name="connsiteY10" fmla="*/ 820522 h 1201922"/>
              <a:gd name="connsiteX11" fmla="*/ 3617388 w 6056802"/>
              <a:gd name="connsiteY11" fmla="*/ 15088 h 1201922"/>
              <a:gd name="connsiteX12" fmla="*/ 3758639 w 6056802"/>
              <a:gd name="connsiteY12" fmla="*/ 114 h 1201922"/>
              <a:gd name="connsiteX0" fmla="*/ 4087969 w 6056802"/>
              <a:gd name="connsiteY0" fmla="*/ 229 h 1194808"/>
              <a:gd name="connsiteX1" fmla="*/ 4823993 w 6056802"/>
              <a:gd name="connsiteY1" fmla="*/ 711803 h 1194808"/>
              <a:gd name="connsiteX2" fmla="*/ 5368786 w 6056802"/>
              <a:gd name="connsiteY2" fmla="*/ 707851 h 1194808"/>
              <a:gd name="connsiteX3" fmla="*/ 6004744 w 6056802"/>
              <a:gd name="connsiteY3" fmla="*/ 1168530 h 1194808"/>
              <a:gd name="connsiteX4" fmla="*/ 6056802 w 6056802"/>
              <a:gd name="connsiteY4" fmla="*/ 1194808 h 1194808"/>
              <a:gd name="connsiteX5" fmla="*/ 792 w 6056802"/>
              <a:gd name="connsiteY5" fmla="*/ 1194808 h 1194808"/>
              <a:gd name="connsiteX6" fmla="*/ 0 w 6056802"/>
              <a:gd name="connsiteY6" fmla="*/ 1187631 h 1194808"/>
              <a:gd name="connsiteX7" fmla="*/ 502207 w 6056802"/>
              <a:gd name="connsiteY7" fmla="*/ 1131360 h 1194808"/>
              <a:gd name="connsiteX8" fmla="*/ 1260630 w 6056802"/>
              <a:gd name="connsiteY8" fmla="*/ 1081852 h 1194808"/>
              <a:gd name="connsiteX9" fmla="*/ 1784460 w 6056802"/>
              <a:gd name="connsiteY9" fmla="*/ 869494 h 1194808"/>
              <a:gd name="connsiteX10" fmla="*/ 2593678 w 6056802"/>
              <a:gd name="connsiteY10" fmla="*/ 813408 h 1194808"/>
              <a:gd name="connsiteX11" fmla="*/ 3617388 w 6056802"/>
              <a:gd name="connsiteY11" fmla="*/ 7974 h 1194808"/>
              <a:gd name="connsiteX12" fmla="*/ 4087969 w 6056802"/>
              <a:gd name="connsiteY12" fmla="*/ 229 h 1194808"/>
              <a:gd name="connsiteX0" fmla="*/ 4087969 w 6056802"/>
              <a:gd name="connsiteY0" fmla="*/ 25043 h 1219622"/>
              <a:gd name="connsiteX1" fmla="*/ 4823993 w 6056802"/>
              <a:gd name="connsiteY1" fmla="*/ 736617 h 1219622"/>
              <a:gd name="connsiteX2" fmla="*/ 5368786 w 6056802"/>
              <a:gd name="connsiteY2" fmla="*/ 732665 h 1219622"/>
              <a:gd name="connsiteX3" fmla="*/ 6004744 w 6056802"/>
              <a:gd name="connsiteY3" fmla="*/ 1193344 h 1219622"/>
              <a:gd name="connsiteX4" fmla="*/ 6056802 w 6056802"/>
              <a:gd name="connsiteY4" fmla="*/ 1219622 h 1219622"/>
              <a:gd name="connsiteX5" fmla="*/ 792 w 6056802"/>
              <a:gd name="connsiteY5" fmla="*/ 1219622 h 1219622"/>
              <a:gd name="connsiteX6" fmla="*/ 0 w 6056802"/>
              <a:gd name="connsiteY6" fmla="*/ 1212445 h 1219622"/>
              <a:gd name="connsiteX7" fmla="*/ 502207 w 6056802"/>
              <a:gd name="connsiteY7" fmla="*/ 1156174 h 1219622"/>
              <a:gd name="connsiteX8" fmla="*/ 1260630 w 6056802"/>
              <a:gd name="connsiteY8" fmla="*/ 1106666 h 1219622"/>
              <a:gd name="connsiteX9" fmla="*/ 1784460 w 6056802"/>
              <a:gd name="connsiteY9" fmla="*/ 894308 h 1219622"/>
              <a:gd name="connsiteX10" fmla="*/ 2593678 w 6056802"/>
              <a:gd name="connsiteY10" fmla="*/ 838222 h 1219622"/>
              <a:gd name="connsiteX11" fmla="*/ 3875297 w 6056802"/>
              <a:gd name="connsiteY11" fmla="*/ 256 h 1219622"/>
              <a:gd name="connsiteX12" fmla="*/ 4087969 w 6056802"/>
              <a:gd name="connsiteY12" fmla="*/ 25043 h 1219622"/>
              <a:gd name="connsiteX0" fmla="*/ 4040356 w 6056802"/>
              <a:gd name="connsiteY0" fmla="*/ 32 h 1270518"/>
              <a:gd name="connsiteX1" fmla="*/ 4823993 w 6056802"/>
              <a:gd name="connsiteY1" fmla="*/ 787513 h 1270518"/>
              <a:gd name="connsiteX2" fmla="*/ 5368786 w 6056802"/>
              <a:gd name="connsiteY2" fmla="*/ 783561 h 1270518"/>
              <a:gd name="connsiteX3" fmla="*/ 6004744 w 6056802"/>
              <a:gd name="connsiteY3" fmla="*/ 1244240 h 1270518"/>
              <a:gd name="connsiteX4" fmla="*/ 6056802 w 6056802"/>
              <a:gd name="connsiteY4" fmla="*/ 1270518 h 1270518"/>
              <a:gd name="connsiteX5" fmla="*/ 792 w 6056802"/>
              <a:gd name="connsiteY5" fmla="*/ 1270518 h 1270518"/>
              <a:gd name="connsiteX6" fmla="*/ 0 w 6056802"/>
              <a:gd name="connsiteY6" fmla="*/ 1263341 h 1270518"/>
              <a:gd name="connsiteX7" fmla="*/ 502207 w 6056802"/>
              <a:gd name="connsiteY7" fmla="*/ 1207070 h 1270518"/>
              <a:gd name="connsiteX8" fmla="*/ 1260630 w 6056802"/>
              <a:gd name="connsiteY8" fmla="*/ 1157562 h 1270518"/>
              <a:gd name="connsiteX9" fmla="*/ 1784460 w 6056802"/>
              <a:gd name="connsiteY9" fmla="*/ 945204 h 1270518"/>
              <a:gd name="connsiteX10" fmla="*/ 2593678 w 6056802"/>
              <a:gd name="connsiteY10" fmla="*/ 889118 h 1270518"/>
              <a:gd name="connsiteX11" fmla="*/ 3875297 w 6056802"/>
              <a:gd name="connsiteY11" fmla="*/ 51152 h 1270518"/>
              <a:gd name="connsiteX12" fmla="*/ 4040356 w 6056802"/>
              <a:gd name="connsiteY12" fmla="*/ 32 h 1270518"/>
              <a:gd name="connsiteX0" fmla="*/ 4040356 w 6056802"/>
              <a:gd name="connsiteY0" fmla="*/ 279 h 1270765"/>
              <a:gd name="connsiteX1" fmla="*/ 4823993 w 6056802"/>
              <a:gd name="connsiteY1" fmla="*/ 787760 h 1270765"/>
              <a:gd name="connsiteX2" fmla="*/ 5368786 w 6056802"/>
              <a:gd name="connsiteY2" fmla="*/ 783808 h 1270765"/>
              <a:gd name="connsiteX3" fmla="*/ 6004744 w 6056802"/>
              <a:gd name="connsiteY3" fmla="*/ 1244487 h 1270765"/>
              <a:gd name="connsiteX4" fmla="*/ 6056802 w 6056802"/>
              <a:gd name="connsiteY4" fmla="*/ 1270765 h 1270765"/>
              <a:gd name="connsiteX5" fmla="*/ 792 w 6056802"/>
              <a:gd name="connsiteY5" fmla="*/ 1270765 h 1270765"/>
              <a:gd name="connsiteX6" fmla="*/ 0 w 6056802"/>
              <a:gd name="connsiteY6" fmla="*/ 1263588 h 1270765"/>
              <a:gd name="connsiteX7" fmla="*/ 502207 w 6056802"/>
              <a:gd name="connsiteY7" fmla="*/ 1207317 h 1270765"/>
              <a:gd name="connsiteX8" fmla="*/ 1260630 w 6056802"/>
              <a:gd name="connsiteY8" fmla="*/ 1157809 h 1270765"/>
              <a:gd name="connsiteX9" fmla="*/ 1784460 w 6056802"/>
              <a:gd name="connsiteY9" fmla="*/ 945451 h 1270765"/>
              <a:gd name="connsiteX10" fmla="*/ 2593678 w 6056802"/>
              <a:gd name="connsiteY10" fmla="*/ 889365 h 1270765"/>
              <a:gd name="connsiteX11" fmla="*/ 3969037 w 6056802"/>
              <a:gd name="connsiteY11" fmla="*/ 6668 h 1270765"/>
              <a:gd name="connsiteX12" fmla="*/ 4040356 w 6056802"/>
              <a:gd name="connsiteY12" fmla="*/ 279 h 1270765"/>
              <a:gd name="connsiteX0" fmla="*/ 4040356 w 6056802"/>
              <a:gd name="connsiteY0" fmla="*/ 279 h 1270765"/>
              <a:gd name="connsiteX1" fmla="*/ 4823993 w 6056802"/>
              <a:gd name="connsiteY1" fmla="*/ 787760 h 1270765"/>
              <a:gd name="connsiteX2" fmla="*/ 5987767 w 6056802"/>
              <a:gd name="connsiteY2" fmla="*/ 919357 h 1270765"/>
              <a:gd name="connsiteX3" fmla="*/ 6004744 w 6056802"/>
              <a:gd name="connsiteY3" fmla="*/ 1244487 h 1270765"/>
              <a:gd name="connsiteX4" fmla="*/ 6056802 w 6056802"/>
              <a:gd name="connsiteY4" fmla="*/ 1270765 h 1270765"/>
              <a:gd name="connsiteX5" fmla="*/ 792 w 6056802"/>
              <a:gd name="connsiteY5" fmla="*/ 1270765 h 1270765"/>
              <a:gd name="connsiteX6" fmla="*/ 0 w 6056802"/>
              <a:gd name="connsiteY6" fmla="*/ 1263588 h 1270765"/>
              <a:gd name="connsiteX7" fmla="*/ 502207 w 6056802"/>
              <a:gd name="connsiteY7" fmla="*/ 1207317 h 1270765"/>
              <a:gd name="connsiteX8" fmla="*/ 1260630 w 6056802"/>
              <a:gd name="connsiteY8" fmla="*/ 1157809 h 1270765"/>
              <a:gd name="connsiteX9" fmla="*/ 1784460 w 6056802"/>
              <a:gd name="connsiteY9" fmla="*/ 945451 h 1270765"/>
              <a:gd name="connsiteX10" fmla="*/ 2593678 w 6056802"/>
              <a:gd name="connsiteY10" fmla="*/ 889365 h 1270765"/>
              <a:gd name="connsiteX11" fmla="*/ 3969037 w 6056802"/>
              <a:gd name="connsiteY11" fmla="*/ 6668 h 1270765"/>
              <a:gd name="connsiteX12" fmla="*/ 4040356 w 6056802"/>
              <a:gd name="connsiteY12" fmla="*/ 279 h 1270765"/>
              <a:gd name="connsiteX0" fmla="*/ 4040356 w 6056802"/>
              <a:gd name="connsiteY0" fmla="*/ 279 h 1270765"/>
              <a:gd name="connsiteX1" fmla="*/ 5317987 w 6056802"/>
              <a:gd name="connsiteY1" fmla="*/ 733540 h 1270765"/>
              <a:gd name="connsiteX2" fmla="*/ 5987767 w 6056802"/>
              <a:gd name="connsiteY2" fmla="*/ 919357 h 1270765"/>
              <a:gd name="connsiteX3" fmla="*/ 6004744 w 6056802"/>
              <a:gd name="connsiteY3" fmla="*/ 1244487 h 1270765"/>
              <a:gd name="connsiteX4" fmla="*/ 6056802 w 6056802"/>
              <a:gd name="connsiteY4" fmla="*/ 1270765 h 1270765"/>
              <a:gd name="connsiteX5" fmla="*/ 792 w 6056802"/>
              <a:gd name="connsiteY5" fmla="*/ 1270765 h 1270765"/>
              <a:gd name="connsiteX6" fmla="*/ 0 w 6056802"/>
              <a:gd name="connsiteY6" fmla="*/ 1263588 h 1270765"/>
              <a:gd name="connsiteX7" fmla="*/ 502207 w 6056802"/>
              <a:gd name="connsiteY7" fmla="*/ 1207317 h 1270765"/>
              <a:gd name="connsiteX8" fmla="*/ 1260630 w 6056802"/>
              <a:gd name="connsiteY8" fmla="*/ 1157809 h 1270765"/>
              <a:gd name="connsiteX9" fmla="*/ 1784460 w 6056802"/>
              <a:gd name="connsiteY9" fmla="*/ 945451 h 1270765"/>
              <a:gd name="connsiteX10" fmla="*/ 2593678 w 6056802"/>
              <a:gd name="connsiteY10" fmla="*/ 889365 h 1270765"/>
              <a:gd name="connsiteX11" fmla="*/ 3969037 w 6056802"/>
              <a:gd name="connsiteY11" fmla="*/ 6668 h 1270765"/>
              <a:gd name="connsiteX12" fmla="*/ 4040356 w 6056802"/>
              <a:gd name="connsiteY12" fmla="*/ 279 h 1270765"/>
              <a:gd name="connsiteX0" fmla="*/ 4236763 w 6056802"/>
              <a:gd name="connsiteY0" fmla="*/ 15684 h 1264482"/>
              <a:gd name="connsiteX1" fmla="*/ 5317987 w 6056802"/>
              <a:gd name="connsiteY1" fmla="*/ 727257 h 1264482"/>
              <a:gd name="connsiteX2" fmla="*/ 5987767 w 6056802"/>
              <a:gd name="connsiteY2" fmla="*/ 913074 h 1264482"/>
              <a:gd name="connsiteX3" fmla="*/ 6004744 w 6056802"/>
              <a:gd name="connsiteY3" fmla="*/ 1238204 h 1264482"/>
              <a:gd name="connsiteX4" fmla="*/ 6056802 w 6056802"/>
              <a:gd name="connsiteY4" fmla="*/ 1264482 h 1264482"/>
              <a:gd name="connsiteX5" fmla="*/ 792 w 6056802"/>
              <a:gd name="connsiteY5" fmla="*/ 1264482 h 1264482"/>
              <a:gd name="connsiteX6" fmla="*/ 0 w 6056802"/>
              <a:gd name="connsiteY6" fmla="*/ 1257305 h 1264482"/>
              <a:gd name="connsiteX7" fmla="*/ 502207 w 6056802"/>
              <a:gd name="connsiteY7" fmla="*/ 1201034 h 1264482"/>
              <a:gd name="connsiteX8" fmla="*/ 1260630 w 6056802"/>
              <a:gd name="connsiteY8" fmla="*/ 1151526 h 1264482"/>
              <a:gd name="connsiteX9" fmla="*/ 1784460 w 6056802"/>
              <a:gd name="connsiteY9" fmla="*/ 939168 h 1264482"/>
              <a:gd name="connsiteX10" fmla="*/ 2593678 w 6056802"/>
              <a:gd name="connsiteY10" fmla="*/ 883082 h 1264482"/>
              <a:gd name="connsiteX11" fmla="*/ 3969037 w 6056802"/>
              <a:gd name="connsiteY11" fmla="*/ 385 h 1264482"/>
              <a:gd name="connsiteX12" fmla="*/ 4236763 w 6056802"/>
              <a:gd name="connsiteY12" fmla="*/ 15684 h 1264482"/>
              <a:gd name="connsiteX0" fmla="*/ 4236763 w 6056802"/>
              <a:gd name="connsiteY0" fmla="*/ 280 h 1249078"/>
              <a:gd name="connsiteX1" fmla="*/ 5317987 w 6056802"/>
              <a:gd name="connsiteY1" fmla="*/ 711853 h 1249078"/>
              <a:gd name="connsiteX2" fmla="*/ 5987767 w 6056802"/>
              <a:gd name="connsiteY2" fmla="*/ 897670 h 1249078"/>
              <a:gd name="connsiteX3" fmla="*/ 6004744 w 6056802"/>
              <a:gd name="connsiteY3" fmla="*/ 1222800 h 1249078"/>
              <a:gd name="connsiteX4" fmla="*/ 6056802 w 6056802"/>
              <a:gd name="connsiteY4" fmla="*/ 1249078 h 1249078"/>
              <a:gd name="connsiteX5" fmla="*/ 792 w 6056802"/>
              <a:gd name="connsiteY5" fmla="*/ 1249078 h 1249078"/>
              <a:gd name="connsiteX6" fmla="*/ 0 w 6056802"/>
              <a:gd name="connsiteY6" fmla="*/ 1241901 h 1249078"/>
              <a:gd name="connsiteX7" fmla="*/ 502207 w 6056802"/>
              <a:gd name="connsiteY7" fmla="*/ 1185630 h 1249078"/>
              <a:gd name="connsiteX8" fmla="*/ 1260630 w 6056802"/>
              <a:gd name="connsiteY8" fmla="*/ 1136122 h 1249078"/>
              <a:gd name="connsiteX9" fmla="*/ 1784460 w 6056802"/>
              <a:gd name="connsiteY9" fmla="*/ 923764 h 1249078"/>
              <a:gd name="connsiteX10" fmla="*/ 2593678 w 6056802"/>
              <a:gd name="connsiteY10" fmla="*/ 867678 h 1249078"/>
              <a:gd name="connsiteX11" fmla="*/ 4099975 w 6056802"/>
              <a:gd name="connsiteY11" fmla="*/ 6669 h 1249078"/>
              <a:gd name="connsiteX12" fmla="*/ 4236763 w 6056802"/>
              <a:gd name="connsiteY12" fmla="*/ 280 h 1249078"/>
              <a:gd name="connsiteX0" fmla="*/ 4236763 w 6056802"/>
              <a:gd name="connsiteY0" fmla="*/ 12157 h 1260955"/>
              <a:gd name="connsiteX1" fmla="*/ 5317987 w 6056802"/>
              <a:gd name="connsiteY1" fmla="*/ 723730 h 1260955"/>
              <a:gd name="connsiteX2" fmla="*/ 5987767 w 6056802"/>
              <a:gd name="connsiteY2" fmla="*/ 909547 h 1260955"/>
              <a:gd name="connsiteX3" fmla="*/ 6004744 w 6056802"/>
              <a:gd name="connsiteY3" fmla="*/ 1234677 h 1260955"/>
              <a:gd name="connsiteX4" fmla="*/ 6056802 w 6056802"/>
              <a:gd name="connsiteY4" fmla="*/ 1260955 h 1260955"/>
              <a:gd name="connsiteX5" fmla="*/ 792 w 6056802"/>
              <a:gd name="connsiteY5" fmla="*/ 1260955 h 1260955"/>
              <a:gd name="connsiteX6" fmla="*/ 0 w 6056802"/>
              <a:gd name="connsiteY6" fmla="*/ 1253778 h 1260955"/>
              <a:gd name="connsiteX7" fmla="*/ 502207 w 6056802"/>
              <a:gd name="connsiteY7" fmla="*/ 1197507 h 1260955"/>
              <a:gd name="connsiteX8" fmla="*/ 1260630 w 6056802"/>
              <a:gd name="connsiteY8" fmla="*/ 1147999 h 1260955"/>
              <a:gd name="connsiteX9" fmla="*/ 1784460 w 6056802"/>
              <a:gd name="connsiteY9" fmla="*/ 935641 h 1260955"/>
              <a:gd name="connsiteX10" fmla="*/ 2593678 w 6056802"/>
              <a:gd name="connsiteY10" fmla="*/ 879555 h 1260955"/>
              <a:gd name="connsiteX11" fmla="*/ 4139654 w 6056802"/>
              <a:gd name="connsiteY11" fmla="*/ 473 h 1260955"/>
              <a:gd name="connsiteX12" fmla="*/ 4236763 w 6056802"/>
              <a:gd name="connsiteY12" fmla="*/ 12157 h 1260955"/>
              <a:gd name="connsiteX0" fmla="*/ 4256602 w 6056802"/>
              <a:gd name="connsiteY0" fmla="*/ 99 h 1277814"/>
              <a:gd name="connsiteX1" fmla="*/ 5317987 w 6056802"/>
              <a:gd name="connsiteY1" fmla="*/ 740589 h 1277814"/>
              <a:gd name="connsiteX2" fmla="*/ 5987767 w 6056802"/>
              <a:gd name="connsiteY2" fmla="*/ 926406 h 1277814"/>
              <a:gd name="connsiteX3" fmla="*/ 6004744 w 6056802"/>
              <a:gd name="connsiteY3" fmla="*/ 1251536 h 1277814"/>
              <a:gd name="connsiteX4" fmla="*/ 6056802 w 6056802"/>
              <a:gd name="connsiteY4" fmla="*/ 1277814 h 1277814"/>
              <a:gd name="connsiteX5" fmla="*/ 792 w 6056802"/>
              <a:gd name="connsiteY5" fmla="*/ 1277814 h 1277814"/>
              <a:gd name="connsiteX6" fmla="*/ 0 w 6056802"/>
              <a:gd name="connsiteY6" fmla="*/ 1270637 h 1277814"/>
              <a:gd name="connsiteX7" fmla="*/ 502207 w 6056802"/>
              <a:gd name="connsiteY7" fmla="*/ 1214366 h 1277814"/>
              <a:gd name="connsiteX8" fmla="*/ 1260630 w 6056802"/>
              <a:gd name="connsiteY8" fmla="*/ 1164858 h 1277814"/>
              <a:gd name="connsiteX9" fmla="*/ 1784460 w 6056802"/>
              <a:gd name="connsiteY9" fmla="*/ 952500 h 1277814"/>
              <a:gd name="connsiteX10" fmla="*/ 2593678 w 6056802"/>
              <a:gd name="connsiteY10" fmla="*/ 896414 h 1277814"/>
              <a:gd name="connsiteX11" fmla="*/ 4139654 w 6056802"/>
              <a:gd name="connsiteY11" fmla="*/ 17332 h 1277814"/>
              <a:gd name="connsiteX12" fmla="*/ 4256602 w 6056802"/>
              <a:gd name="connsiteY12" fmla="*/ 99 h 1277814"/>
              <a:gd name="connsiteX0" fmla="*/ 4256602 w 6056802"/>
              <a:gd name="connsiteY0" fmla="*/ 802 h 1278517"/>
              <a:gd name="connsiteX1" fmla="*/ 5317987 w 6056802"/>
              <a:gd name="connsiteY1" fmla="*/ 741292 h 1278517"/>
              <a:gd name="connsiteX2" fmla="*/ 5987767 w 6056802"/>
              <a:gd name="connsiteY2" fmla="*/ 927109 h 1278517"/>
              <a:gd name="connsiteX3" fmla="*/ 6004744 w 6056802"/>
              <a:gd name="connsiteY3" fmla="*/ 1252239 h 1278517"/>
              <a:gd name="connsiteX4" fmla="*/ 6056802 w 6056802"/>
              <a:gd name="connsiteY4" fmla="*/ 1278517 h 1278517"/>
              <a:gd name="connsiteX5" fmla="*/ 792 w 6056802"/>
              <a:gd name="connsiteY5" fmla="*/ 1278517 h 1278517"/>
              <a:gd name="connsiteX6" fmla="*/ 0 w 6056802"/>
              <a:gd name="connsiteY6" fmla="*/ 1271340 h 1278517"/>
              <a:gd name="connsiteX7" fmla="*/ 502207 w 6056802"/>
              <a:gd name="connsiteY7" fmla="*/ 1215069 h 1278517"/>
              <a:gd name="connsiteX8" fmla="*/ 1260630 w 6056802"/>
              <a:gd name="connsiteY8" fmla="*/ 1165561 h 1278517"/>
              <a:gd name="connsiteX9" fmla="*/ 1784460 w 6056802"/>
              <a:gd name="connsiteY9" fmla="*/ 953203 h 1278517"/>
              <a:gd name="connsiteX10" fmla="*/ 2593678 w 6056802"/>
              <a:gd name="connsiteY10" fmla="*/ 897117 h 1278517"/>
              <a:gd name="connsiteX11" fmla="*/ 4256602 w 6056802"/>
              <a:gd name="connsiteY11" fmla="*/ 802 h 1278517"/>
              <a:gd name="connsiteX0" fmla="*/ 4256602 w 6056802"/>
              <a:gd name="connsiteY0" fmla="*/ 802 h 1278517"/>
              <a:gd name="connsiteX1" fmla="*/ 5317987 w 6056802"/>
              <a:gd name="connsiteY1" fmla="*/ 741292 h 1278517"/>
              <a:gd name="connsiteX2" fmla="*/ 5987767 w 6056802"/>
              <a:gd name="connsiteY2" fmla="*/ 927109 h 1278517"/>
              <a:gd name="connsiteX3" fmla="*/ 6004744 w 6056802"/>
              <a:gd name="connsiteY3" fmla="*/ 1252239 h 1278517"/>
              <a:gd name="connsiteX4" fmla="*/ 6056802 w 6056802"/>
              <a:gd name="connsiteY4" fmla="*/ 1278517 h 1278517"/>
              <a:gd name="connsiteX5" fmla="*/ 792 w 6056802"/>
              <a:gd name="connsiteY5" fmla="*/ 1278517 h 1278517"/>
              <a:gd name="connsiteX6" fmla="*/ 0 w 6056802"/>
              <a:gd name="connsiteY6" fmla="*/ 1271340 h 1278517"/>
              <a:gd name="connsiteX7" fmla="*/ 502207 w 6056802"/>
              <a:gd name="connsiteY7" fmla="*/ 1215069 h 1278517"/>
              <a:gd name="connsiteX8" fmla="*/ 1260630 w 6056802"/>
              <a:gd name="connsiteY8" fmla="*/ 1165561 h 1278517"/>
              <a:gd name="connsiteX9" fmla="*/ 1784460 w 6056802"/>
              <a:gd name="connsiteY9" fmla="*/ 953203 h 1278517"/>
              <a:gd name="connsiteX10" fmla="*/ 2593678 w 6056802"/>
              <a:gd name="connsiteY10" fmla="*/ 897117 h 1278517"/>
              <a:gd name="connsiteX11" fmla="*/ 4256602 w 6056802"/>
              <a:gd name="connsiteY11" fmla="*/ 802 h 127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56802" h="1278517">
                <a:moveTo>
                  <a:pt x="4256602" y="802"/>
                </a:moveTo>
                <a:cubicBezTo>
                  <a:pt x="4710653" y="-25169"/>
                  <a:pt x="5029460" y="586908"/>
                  <a:pt x="5317987" y="741292"/>
                </a:cubicBezTo>
                <a:cubicBezTo>
                  <a:pt x="5606514" y="895676"/>
                  <a:pt x="5873307" y="841951"/>
                  <a:pt x="5987767" y="927109"/>
                </a:cubicBezTo>
                <a:cubicBezTo>
                  <a:pt x="6102227" y="1012267"/>
                  <a:pt x="5688810" y="1098405"/>
                  <a:pt x="6004744" y="1252239"/>
                </a:cubicBezTo>
                <a:lnTo>
                  <a:pt x="6056802" y="1278517"/>
                </a:lnTo>
                <a:lnTo>
                  <a:pt x="792" y="1278517"/>
                </a:lnTo>
                <a:lnTo>
                  <a:pt x="0" y="1271340"/>
                </a:lnTo>
                <a:cubicBezTo>
                  <a:pt x="66554" y="1216170"/>
                  <a:pt x="292102" y="1232699"/>
                  <a:pt x="502207" y="1215069"/>
                </a:cubicBezTo>
                <a:cubicBezTo>
                  <a:pt x="712312" y="1197439"/>
                  <a:pt x="1046921" y="1209205"/>
                  <a:pt x="1260630" y="1165561"/>
                </a:cubicBezTo>
                <a:cubicBezTo>
                  <a:pt x="1474339" y="1121917"/>
                  <a:pt x="1562285" y="997944"/>
                  <a:pt x="1784460" y="953203"/>
                </a:cubicBezTo>
                <a:cubicBezTo>
                  <a:pt x="2006635" y="908462"/>
                  <a:pt x="2332403" y="1036278"/>
                  <a:pt x="2593678" y="897117"/>
                </a:cubicBezTo>
                <a:cubicBezTo>
                  <a:pt x="3005702" y="738383"/>
                  <a:pt x="3802551" y="26773"/>
                  <a:pt x="4256602" y="802"/>
                </a:cubicBezTo>
                <a:close/>
              </a:path>
            </a:pathLst>
          </a:cu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B6C696D-4EAA-4097-9B18-260F67364686}"/>
              </a:ext>
            </a:extLst>
          </p:cNvPr>
          <p:cNvSpPr/>
          <p:nvPr/>
        </p:nvSpPr>
        <p:spPr>
          <a:xfrm>
            <a:off x="-1" y="2819658"/>
            <a:ext cx="12192000" cy="403834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23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F73A89E-FF7A-48B6-8CB3-42A2529C5DB2}"/>
              </a:ext>
            </a:extLst>
          </p:cNvPr>
          <p:cNvSpPr/>
          <p:nvPr/>
        </p:nvSpPr>
        <p:spPr>
          <a:xfrm rot="16200000">
            <a:off x="9463083" y="2829931"/>
            <a:ext cx="4752715" cy="705123"/>
          </a:xfrm>
          <a:prstGeom prst="rect">
            <a:avLst/>
          </a:prstGeom>
          <a:gradFill>
            <a:gsLst>
              <a:gs pos="20000">
                <a:srgbClr val="121212">
                  <a:alpha val="70000"/>
                </a:srgbClr>
              </a:gs>
              <a:gs pos="13000">
                <a:srgbClr val="121212">
                  <a:alpha val="60000"/>
                </a:srgbClr>
              </a:gs>
              <a:gs pos="0">
                <a:schemeClr val="tx1">
                  <a:alpha val="0"/>
                </a:schemeClr>
              </a:gs>
              <a:gs pos="76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6071BB-AA1D-4185-9933-C6760DFB7EEF}"/>
              </a:ext>
            </a:extLst>
          </p:cNvPr>
          <p:cNvSpPr txBox="1">
            <a:spLocks/>
          </p:cNvSpPr>
          <p:nvPr/>
        </p:nvSpPr>
        <p:spPr>
          <a:xfrm>
            <a:off x="371475" y="311031"/>
            <a:ext cx="11449049" cy="2862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j-ea"/>
                <a:cs typeface="+mj-cs"/>
              </a:rPr>
              <a:t>ВИЯНИЕ NPS 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DIN PT" panose="020B0504030203060204" pitchFamily="34" charset="0"/>
                <a:ea typeface="+mj-ea"/>
                <a:cs typeface="+mj-cs"/>
              </a:rPr>
              <a:t>НА РЕФЕРАЛЬНУЮ ЭКОНОМИКУ В ДЕВЕЛОПМЕНТЕ</a:t>
            </a:r>
          </a:p>
        </p:txBody>
      </p:sp>
      <p:cxnSp>
        <p:nvCxnSpPr>
          <p:cNvPr id="3" name="Прямая со стрелкой 2">
            <a:extLst>
              <a:ext uri="{FF2B5EF4-FFF2-40B4-BE49-F238E27FC236}">
                <a16:creationId xmlns:a16="http://schemas.microsoft.com/office/drawing/2014/main" id="{A4B4D5BD-52CC-4E6D-9F46-4E88158727B7}"/>
              </a:ext>
            </a:extLst>
          </p:cNvPr>
          <p:cNvCxnSpPr>
            <a:cxnSpLocks/>
          </p:cNvCxnSpPr>
          <p:nvPr/>
        </p:nvCxnSpPr>
        <p:spPr>
          <a:xfrm>
            <a:off x="1069304" y="3679515"/>
            <a:ext cx="10989346" cy="0"/>
          </a:xfrm>
          <a:prstGeom prst="straightConnector1">
            <a:avLst/>
          </a:prstGeom>
          <a:noFill/>
          <a:ln w="3175" cap="flat">
            <a:solidFill>
              <a:schemeClr val="tx1">
                <a:lumMod val="10000"/>
                <a:lumOff val="90000"/>
              </a:schemeClr>
            </a:solidFill>
            <a:prstDash val="dashDot"/>
            <a:round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5C6E8D41-EE1E-4C9F-A286-BE00F3A32929}"/>
              </a:ext>
            </a:extLst>
          </p:cNvPr>
          <p:cNvCxnSpPr>
            <a:cxnSpLocks/>
          </p:cNvCxnSpPr>
          <p:nvPr/>
        </p:nvCxnSpPr>
        <p:spPr>
          <a:xfrm flipV="1">
            <a:off x="1069304" y="1159600"/>
            <a:ext cx="0" cy="5081381"/>
          </a:xfrm>
          <a:prstGeom prst="straightConnector1">
            <a:avLst/>
          </a:prstGeom>
          <a:noFill/>
          <a:ln w="3175" cap="flat">
            <a:solidFill>
              <a:schemeClr val="tx1">
                <a:lumMod val="10000"/>
                <a:lumOff val="90000"/>
              </a:schemeClr>
            </a:solidFill>
            <a:prstDash val="dashDot"/>
            <a:round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4703C65-FD24-4C76-8EB4-490CFB9F0837}"/>
              </a:ext>
            </a:extLst>
          </p:cNvPr>
          <p:cNvSpPr txBox="1"/>
          <p:nvPr/>
        </p:nvSpPr>
        <p:spPr>
          <a:xfrm rot="16200000">
            <a:off x="-1151548" y="3607957"/>
            <a:ext cx="2868215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Индекс потребительской лояльност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C701ED-3B87-4E1B-AE55-3589C5D052DA}"/>
              </a:ext>
            </a:extLst>
          </p:cNvPr>
          <p:cNvSpPr txBox="1"/>
          <p:nvPr/>
        </p:nvSpPr>
        <p:spPr>
          <a:xfrm>
            <a:off x="-169953" y="1159600"/>
            <a:ext cx="1376371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+ 100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F5217F-E208-4E69-A59E-A36138F9E617}"/>
              </a:ext>
            </a:extLst>
          </p:cNvPr>
          <p:cNvSpPr txBox="1"/>
          <p:nvPr/>
        </p:nvSpPr>
        <p:spPr>
          <a:xfrm>
            <a:off x="-218132" y="6076233"/>
            <a:ext cx="1376371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- 100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779265-18C0-4C63-8947-037D4CF5CAF3}"/>
              </a:ext>
            </a:extLst>
          </p:cNvPr>
          <p:cNvSpPr txBox="1"/>
          <p:nvPr/>
        </p:nvSpPr>
        <p:spPr>
          <a:xfrm>
            <a:off x="508839" y="3587182"/>
            <a:ext cx="451402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1F06E6-F3BC-4B6B-9912-521515525FC6}"/>
              </a:ext>
            </a:extLst>
          </p:cNvPr>
          <p:cNvSpPr txBox="1"/>
          <p:nvPr/>
        </p:nvSpPr>
        <p:spPr>
          <a:xfrm>
            <a:off x="1199820" y="3823722"/>
            <a:ext cx="119191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Выбор и покупк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D70DECE-4DD3-4689-9219-FD156B753FB0}"/>
              </a:ext>
            </a:extLst>
          </p:cNvPr>
          <p:cNvSpPr txBox="1"/>
          <p:nvPr/>
        </p:nvSpPr>
        <p:spPr>
          <a:xfrm>
            <a:off x="2743969" y="3823722"/>
            <a:ext cx="1761233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Ожидание строительств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A7F8FC-B53F-4876-A828-A5BE97E55C7B}"/>
              </a:ext>
            </a:extLst>
          </p:cNvPr>
          <p:cNvSpPr txBox="1"/>
          <p:nvPr/>
        </p:nvSpPr>
        <p:spPr>
          <a:xfrm>
            <a:off x="5387909" y="3823722"/>
            <a:ext cx="1328208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Получение ключей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FF2960-F7F5-4DBD-A37E-2311844CE373}"/>
              </a:ext>
            </a:extLst>
          </p:cNvPr>
          <p:cNvSpPr txBox="1"/>
          <p:nvPr/>
        </p:nvSpPr>
        <p:spPr>
          <a:xfrm>
            <a:off x="8686890" y="3823722"/>
            <a:ext cx="1522281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Проживание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C7FC4959-F6A1-4FC7-927F-6CAFA407987D}"/>
              </a:ext>
            </a:extLst>
          </p:cNvPr>
          <p:cNvSpPr/>
          <p:nvPr/>
        </p:nvSpPr>
        <p:spPr>
          <a:xfrm>
            <a:off x="1759778" y="3643515"/>
            <a:ext cx="72000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4C0505EF-0DA5-40EB-A49F-3AD41802E784}"/>
              </a:ext>
            </a:extLst>
          </p:cNvPr>
          <p:cNvSpPr/>
          <p:nvPr/>
        </p:nvSpPr>
        <p:spPr>
          <a:xfrm>
            <a:off x="6016013" y="3643515"/>
            <a:ext cx="72000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D5584178-B19A-4325-B03C-1F6E5B602B2A}"/>
              </a:ext>
            </a:extLst>
          </p:cNvPr>
          <p:cNvSpPr/>
          <p:nvPr/>
        </p:nvSpPr>
        <p:spPr>
          <a:xfrm>
            <a:off x="674336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F2879466-50C1-411A-9464-AFC22E5A9D7D}"/>
              </a:ext>
            </a:extLst>
          </p:cNvPr>
          <p:cNvSpPr/>
          <p:nvPr/>
        </p:nvSpPr>
        <p:spPr>
          <a:xfrm>
            <a:off x="753335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957B860E-A632-4115-A2DA-A0406C665267}"/>
              </a:ext>
            </a:extLst>
          </p:cNvPr>
          <p:cNvSpPr/>
          <p:nvPr/>
        </p:nvSpPr>
        <p:spPr>
          <a:xfrm>
            <a:off x="832334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569C0A8C-D13A-4208-A438-807A66098971}"/>
              </a:ext>
            </a:extLst>
          </p:cNvPr>
          <p:cNvSpPr/>
          <p:nvPr/>
        </p:nvSpPr>
        <p:spPr>
          <a:xfrm>
            <a:off x="911333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0E3EBE2F-B4B4-4524-9EFE-7E5EB0C47475}"/>
              </a:ext>
            </a:extLst>
          </p:cNvPr>
          <p:cNvSpPr/>
          <p:nvPr/>
        </p:nvSpPr>
        <p:spPr>
          <a:xfrm>
            <a:off x="990332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107625BA-D175-466E-B67E-DF1C760EB3D1}"/>
              </a:ext>
            </a:extLst>
          </p:cNvPr>
          <p:cNvSpPr/>
          <p:nvPr/>
        </p:nvSpPr>
        <p:spPr>
          <a:xfrm>
            <a:off x="10693316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ED5E8A0B-1584-4358-B46D-1537329ED552}"/>
              </a:ext>
            </a:extLst>
          </p:cNvPr>
          <p:cNvSpPr/>
          <p:nvPr/>
        </p:nvSpPr>
        <p:spPr>
          <a:xfrm>
            <a:off x="11483303" y="3643515"/>
            <a:ext cx="72000" cy="72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A1D41169-7455-4E0A-9862-AD57E4604E4C}"/>
              </a:ext>
            </a:extLst>
          </p:cNvPr>
          <p:cNvSpPr/>
          <p:nvPr/>
        </p:nvSpPr>
        <p:spPr>
          <a:xfrm>
            <a:off x="1138139" y="2043301"/>
            <a:ext cx="10660064" cy="3328651"/>
          </a:xfrm>
          <a:custGeom>
            <a:avLst/>
            <a:gdLst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68195 h 3673609"/>
              <a:gd name="connsiteX1" fmla="*/ 3228975 w 11420475"/>
              <a:gd name="connsiteY1" fmla="*/ 20570 h 3673609"/>
              <a:gd name="connsiteX2" fmla="*/ 4743450 w 11420475"/>
              <a:gd name="connsiteY2" fmla="*/ 363470 h 3673609"/>
              <a:gd name="connsiteX3" fmla="*/ 6010275 w 11420475"/>
              <a:gd name="connsiteY3" fmla="*/ 2163695 h 3673609"/>
              <a:gd name="connsiteX4" fmla="*/ 7029450 w 11420475"/>
              <a:gd name="connsiteY4" fmla="*/ 3621020 h 3673609"/>
              <a:gd name="connsiteX5" fmla="*/ 11420475 w 11420475"/>
              <a:gd name="connsiteY5" fmla="*/ 3211445 h 3673609"/>
              <a:gd name="connsiteX0" fmla="*/ 0 w 11420475"/>
              <a:gd name="connsiteY0" fmla="*/ 0 h 3605414"/>
              <a:gd name="connsiteX1" fmla="*/ 4743450 w 11420475"/>
              <a:gd name="connsiteY1" fmla="*/ 295275 h 3605414"/>
              <a:gd name="connsiteX2" fmla="*/ 6010275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605414"/>
              <a:gd name="connsiteX1" fmla="*/ 4667250 w 11420475"/>
              <a:gd name="connsiteY1" fmla="*/ 219075 h 3605414"/>
              <a:gd name="connsiteX2" fmla="*/ 6010275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605414"/>
              <a:gd name="connsiteX1" fmla="*/ 4667250 w 11420475"/>
              <a:gd name="connsiteY1" fmla="*/ 219075 h 3605414"/>
              <a:gd name="connsiteX2" fmla="*/ 5905500 w 11420475"/>
              <a:gd name="connsiteY2" fmla="*/ 2095500 h 3605414"/>
              <a:gd name="connsiteX3" fmla="*/ 7029450 w 11420475"/>
              <a:gd name="connsiteY3" fmla="*/ 3552825 h 3605414"/>
              <a:gd name="connsiteX4" fmla="*/ 11420475 w 11420475"/>
              <a:gd name="connsiteY4" fmla="*/ 3143250 h 3605414"/>
              <a:gd name="connsiteX0" fmla="*/ 0 w 11420475"/>
              <a:gd name="connsiteY0" fmla="*/ 0 h 3377929"/>
              <a:gd name="connsiteX1" fmla="*/ 4667250 w 11420475"/>
              <a:gd name="connsiteY1" fmla="*/ 219075 h 3377929"/>
              <a:gd name="connsiteX2" fmla="*/ 5905500 w 11420475"/>
              <a:gd name="connsiteY2" fmla="*/ 2095500 h 3377929"/>
              <a:gd name="connsiteX3" fmla="*/ 7448550 w 11420475"/>
              <a:gd name="connsiteY3" fmla="*/ 3257550 h 3377929"/>
              <a:gd name="connsiteX4" fmla="*/ 11420475 w 11420475"/>
              <a:gd name="connsiteY4" fmla="*/ 3143250 h 3377929"/>
              <a:gd name="connsiteX0" fmla="*/ 0 w 11420475"/>
              <a:gd name="connsiteY0" fmla="*/ 75713 h 3453642"/>
              <a:gd name="connsiteX1" fmla="*/ 4667250 w 11420475"/>
              <a:gd name="connsiteY1" fmla="*/ 294788 h 3453642"/>
              <a:gd name="connsiteX2" fmla="*/ 7448550 w 11420475"/>
              <a:gd name="connsiteY2" fmla="*/ 3333263 h 3453642"/>
              <a:gd name="connsiteX3" fmla="*/ 11420475 w 11420475"/>
              <a:gd name="connsiteY3" fmla="*/ 3218963 h 3453642"/>
              <a:gd name="connsiteX0" fmla="*/ 0 w 11420475"/>
              <a:gd name="connsiteY0" fmla="*/ 46475 h 3289373"/>
              <a:gd name="connsiteX1" fmla="*/ 4667250 w 11420475"/>
              <a:gd name="connsiteY1" fmla="*/ 265550 h 3289373"/>
              <a:gd name="connsiteX2" fmla="*/ 7364281 w 11420475"/>
              <a:gd name="connsiteY2" fmla="*/ 2881238 h 3289373"/>
              <a:gd name="connsiteX3" fmla="*/ 11420475 w 11420475"/>
              <a:gd name="connsiteY3" fmla="*/ 3189725 h 3289373"/>
              <a:gd name="connsiteX0" fmla="*/ 0 w 11420475"/>
              <a:gd name="connsiteY0" fmla="*/ 46475 h 3289373"/>
              <a:gd name="connsiteX1" fmla="*/ 4667250 w 11420475"/>
              <a:gd name="connsiteY1" fmla="*/ 265550 h 3289373"/>
              <a:gd name="connsiteX2" fmla="*/ 7364281 w 11420475"/>
              <a:gd name="connsiteY2" fmla="*/ 2881238 h 3289373"/>
              <a:gd name="connsiteX3" fmla="*/ 11420475 w 11420475"/>
              <a:gd name="connsiteY3" fmla="*/ 3189725 h 3289373"/>
              <a:gd name="connsiteX0" fmla="*/ 0 w 11420475"/>
              <a:gd name="connsiteY0" fmla="*/ 46475 h 3328651"/>
              <a:gd name="connsiteX1" fmla="*/ 4667250 w 11420475"/>
              <a:gd name="connsiteY1" fmla="*/ 265550 h 3328651"/>
              <a:gd name="connsiteX2" fmla="*/ 7364281 w 11420475"/>
              <a:gd name="connsiteY2" fmla="*/ 2881238 h 3328651"/>
              <a:gd name="connsiteX3" fmla="*/ 11420475 w 11420475"/>
              <a:gd name="connsiteY3" fmla="*/ 3189725 h 3328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0475" h="3328651">
                <a:moveTo>
                  <a:pt x="0" y="46475"/>
                </a:moveTo>
                <a:cubicBezTo>
                  <a:pt x="988219" y="107991"/>
                  <a:pt x="3439870" y="-206911"/>
                  <a:pt x="4667250" y="265550"/>
                </a:cubicBezTo>
                <a:cubicBezTo>
                  <a:pt x="5894630" y="738011"/>
                  <a:pt x="6757522" y="2480471"/>
                  <a:pt x="7364281" y="2881238"/>
                </a:cubicBezTo>
                <a:cubicBezTo>
                  <a:pt x="7971040" y="3282005"/>
                  <a:pt x="9675812" y="3481825"/>
                  <a:pt x="11420475" y="3189725"/>
                </a:cubicBezTo>
              </a:path>
            </a:pathLst>
          </a:custGeom>
          <a:noFill/>
          <a:ln w="28575">
            <a:gradFill>
              <a:gsLst>
                <a:gs pos="0">
                  <a:srgbClr val="00B050"/>
                </a:gs>
                <a:gs pos="100000">
                  <a:srgbClr val="FF0000"/>
                </a:gs>
                <a:gs pos="23000">
                  <a:srgbClr val="FFC00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7F93EAB-4CD4-414C-8A99-449836DC54AA}"/>
              </a:ext>
            </a:extLst>
          </p:cNvPr>
          <p:cNvSpPr txBox="1"/>
          <p:nvPr/>
        </p:nvSpPr>
        <p:spPr>
          <a:xfrm>
            <a:off x="6544973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1 год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61D588F-06E3-4021-8B17-102F474D155B}"/>
              </a:ext>
            </a:extLst>
          </p:cNvPr>
          <p:cNvSpPr txBox="1"/>
          <p:nvPr/>
        </p:nvSpPr>
        <p:spPr>
          <a:xfrm>
            <a:off x="7334963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2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C767203-FCBA-4A74-8DA1-D1161F51E521}"/>
              </a:ext>
            </a:extLst>
          </p:cNvPr>
          <p:cNvSpPr txBox="1"/>
          <p:nvPr/>
        </p:nvSpPr>
        <p:spPr>
          <a:xfrm>
            <a:off x="8129242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3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06F02A-788B-4AF2-B0C5-C54DF78B479C}"/>
              </a:ext>
            </a:extLst>
          </p:cNvPr>
          <p:cNvSpPr txBox="1"/>
          <p:nvPr/>
        </p:nvSpPr>
        <p:spPr>
          <a:xfrm>
            <a:off x="8914943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4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802F612-D1C7-48A1-9945-76653974016B}"/>
              </a:ext>
            </a:extLst>
          </p:cNvPr>
          <p:cNvSpPr txBox="1"/>
          <p:nvPr/>
        </p:nvSpPr>
        <p:spPr>
          <a:xfrm>
            <a:off x="9700644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5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D832700-CC74-4B44-A345-EA15891BD3F0}"/>
              </a:ext>
            </a:extLst>
          </p:cNvPr>
          <p:cNvSpPr txBox="1"/>
          <p:nvPr/>
        </p:nvSpPr>
        <p:spPr>
          <a:xfrm>
            <a:off x="10496709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6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306152D-5B02-427E-B687-39CBB5163A24}"/>
              </a:ext>
            </a:extLst>
          </p:cNvPr>
          <p:cNvSpPr txBox="1"/>
          <p:nvPr/>
        </p:nvSpPr>
        <p:spPr>
          <a:xfrm>
            <a:off x="11284910" y="3357822"/>
            <a:ext cx="468786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7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Arial"/>
                <a:sym typeface="Arial"/>
              </a:rPr>
              <a:t> год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5E4C8ED-6895-45B3-9F65-7D9844137A93}"/>
              </a:ext>
            </a:extLst>
          </p:cNvPr>
          <p:cNvGrpSpPr/>
          <p:nvPr/>
        </p:nvGrpSpPr>
        <p:grpSpPr>
          <a:xfrm rot="10800000">
            <a:off x="7013759" y="857467"/>
            <a:ext cx="3082740" cy="638133"/>
            <a:chOff x="1275375" y="4243101"/>
            <a:chExt cx="7801911" cy="1141501"/>
          </a:xfrm>
        </p:grpSpPr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6828378D-BEDD-442C-ABEF-0E40FF71D23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75375" y="5384602"/>
              <a:ext cx="7801910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  <a:tail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" name="Прямая со стрелкой 46">
              <a:extLst>
                <a:ext uri="{FF2B5EF4-FFF2-40B4-BE49-F238E27FC236}">
                  <a16:creationId xmlns:a16="http://schemas.microsoft.com/office/drawing/2014/main" id="{D00FE10A-2DBE-4069-984C-578E115108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77285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" name="Прямая со стрелкой 47">
              <a:extLst>
                <a:ext uri="{FF2B5EF4-FFF2-40B4-BE49-F238E27FC236}">
                  <a16:creationId xmlns:a16="http://schemas.microsoft.com/office/drawing/2014/main" id="{D7FEF3A9-BAF6-4642-9690-97ED0EBB5B3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89752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E2F9BF6F-5F37-4C30-8338-FC558774FA75}"/>
              </a:ext>
            </a:extLst>
          </p:cNvPr>
          <p:cNvSpPr/>
          <p:nvPr/>
        </p:nvSpPr>
        <p:spPr>
          <a:xfrm>
            <a:off x="6973952" y="974260"/>
            <a:ext cx="3110514" cy="293431"/>
          </a:xfrm>
          <a:prstGeom prst="roundRect">
            <a:avLst>
              <a:gd name="adj" fmla="val 16957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Макс. эффекты в рамках реферальной экономики</a:t>
            </a:r>
          </a:p>
        </p:txBody>
      </p: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6E865C23-6220-4B6A-8E1A-08F958FC5A4A}"/>
              </a:ext>
            </a:extLst>
          </p:cNvPr>
          <p:cNvGrpSpPr/>
          <p:nvPr/>
        </p:nvGrpSpPr>
        <p:grpSpPr>
          <a:xfrm>
            <a:off x="6689955" y="6226096"/>
            <a:ext cx="4898816" cy="261610"/>
            <a:chOff x="1551535" y="6341250"/>
            <a:chExt cx="4898816" cy="261610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E12CDD4-78FA-4847-A53E-F8EA401DD614}"/>
                </a:ext>
              </a:extLst>
            </p:cNvPr>
            <p:cNvSpPr txBox="1"/>
            <p:nvPr/>
          </p:nvSpPr>
          <p:spPr>
            <a:xfrm>
              <a:off x="1689409" y="6341250"/>
              <a:ext cx="4760942" cy="26161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Распределение покупок от этапа покупателя по первой сделке</a:t>
              </a:r>
            </a:p>
          </p:txBody>
        </p: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71A3CAC5-D444-4E66-8F9C-A8DA3EFA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551535" y="6480766"/>
              <a:ext cx="112165" cy="0"/>
            </a:xfrm>
            <a:prstGeom prst="line">
              <a:avLst/>
            </a:prstGeom>
            <a:ln w="19050" cap="rnd">
              <a:solidFill>
                <a:srgbClr val="00B0F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736078A0-B4BE-4F23-92D9-3252421AEF17}"/>
              </a:ext>
            </a:extLst>
          </p:cNvPr>
          <p:cNvGrpSpPr/>
          <p:nvPr/>
        </p:nvGrpSpPr>
        <p:grpSpPr>
          <a:xfrm>
            <a:off x="6689955" y="5998820"/>
            <a:ext cx="5055791" cy="261610"/>
            <a:chOff x="1551535" y="6537761"/>
            <a:chExt cx="5055791" cy="261610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C4CD537-F38A-4780-9D5D-DC59D65BD889}"/>
                </a:ext>
              </a:extLst>
            </p:cNvPr>
            <p:cNvSpPr txBox="1"/>
            <p:nvPr/>
          </p:nvSpPr>
          <p:spPr>
            <a:xfrm>
              <a:off x="1689409" y="6537761"/>
              <a:ext cx="4917917" cy="26161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Р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аспределение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 продаж по каналу рекомендация от этапа 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1212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рекомендателя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21212">
                    <a:lumMod val="25000"/>
                    <a:lumOff val="75000"/>
                  </a:srgbClr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endParaRPr>
            </a:p>
          </p:txBody>
        </p:sp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95CE134C-D789-45CD-B567-3E6A22FF916C}"/>
                </a:ext>
              </a:extLst>
            </p:cNvPr>
            <p:cNvCxnSpPr>
              <a:cxnSpLocks/>
            </p:cNvCxnSpPr>
            <p:nvPr/>
          </p:nvCxnSpPr>
          <p:spPr>
            <a:xfrm>
              <a:off x="1551535" y="6680791"/>
              <a:ext cx="112165" cy="0"/>
            </a:xfrm>
            <a:prstGeom prst="line">
              <a:avLst/>
            </a:prstGeom>
            <a:ln w="19050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41266F12-3BE3-44AD-9313-1E24BE6E43B4}"/>
              </a:ext>
            </a:extLst>
          </p:cNvPr>
          <p:cNvGrpSpPr/>
          <p:nvPr/>
        </p:nvGrpSpPr>
        <p:grpSpPr>
          <a:xfrm>
            <a:off x="6689955" y="5771545"/>
            <a:ext cx="4898816" cy="261610"/>
            <a:chOff x="1551535" y="6130218"/>
            <a:chExt cx="4898816" cy="261610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CAE81E1-7368-4ACD-B744-2FEA611BB226}"/>
                </a:ext>
              </a:extLst>
            </p:cNvPr>
            <p:cNvSpPr txBox="1"/>
            <p:nvPr/>
          </p:nvSpPr>
          <p:spPr>
            <a:xfrm>
              <a:off x="1689409" y="6130218"/>
              <a:ext cx="4760942" cy="26161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00B050"/>
                      </a:gs>
                      <a:gs pos="50000">
                        <a:srgbClr val="FFC0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NPS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B050"/>
                    </a:gs>
                    <a:gs pos="50000">
                      <a:srgbClr val="FFC000"/>
                    </a:gs>
                    <a:gs pos="100000">
                      <a:srgbClr val="FF00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endParaRPr>
            </a:p>
          </p:txBody>
        </p:sp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9891FD7C-48AB-4B3F-A42A-A83D015B4616}"/>
                </a:ext>
              </a:extLst>
            </p:cNvPr>
            <p:cNvCxnSpPr>
              <a:cxnSpLocks/>
            </p:cNvCxnSpPr>
            <p:nvPr/>
          </p:nvCxnSpPr>
          <p:spPr>
            <a:xfrm>
              <a:off x="1551535" y="6280741"/>
              <a:ext cx="112165" cy="0"/>
            </a:xfrm>
            <a:prstGeom prst="line">
              <a:avLst/>
            </a:prstGeom>
            <a:ln w="19050" cap="rnd">
              <a:gradFill flip="none" rotWithShape="1">
                <a:gsLst>
                  <a:gs pos="50000">
                    <a:srgbClr val="FFC000"/>
                  </a:gs>
                  <a:gs pos="0">
                    <a:srgbClr val="FF0000"/>
                  </a:gs>
                  <a:gs pos="100000">
                    <a:srgbClr val="00B050"/>
                  </a:gs>
                </a:gsLst>
                <a:lin ang="1080000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id="{E3E17E32-F373-4EDD-B573-9032551B6F13}"/>
              </a:ext>
            </a:extLst>
          </p:cNvPr>
          <p:cNvGrpSpPr/>
          <p:nvPr/>
        </p:nvGrpSpPr>
        <p:grpSpPr>
          <a:xfrm>
            <a:off x="5990939" y="1553552"/>
            <a:ext cx="5796761" cy="3580846"/>
            <a:chOff x="5867400" y="2027267"/>
            <a:chExt cx="5796761" cy="3580846"/>
          </a:xfrm>
        </p:grpSpPr>
        <p:cxnSp>
          <p:nvCxnSpPr>
            <p:cNvPr id="133" name="Прямая соединительная линия 132">
              <a:extLst>
                <a:ext uri="{FF2B5EF4-FFF2-40B4-BE49-F238E27FC236}">
                  <a16:creationId xmlns:a16="http://schemas.microsoft.com/office/drawing/2014/main" id="{8DE32038-4920-454B-9A12-CB8BEC01F56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70713" y="2043301"/>
              <a:ext cx="916851" cy="916851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Прямая соединительная линия 133">
              <a:extLst>
                <a:ext uri="{FF2B5EF4-FFF2-40B4-BE49-F238E27FC236}">
                  <a16:creationId xmlns:a16="http://schemas.microsoft.com/office/drawing/2014/main" id="{790F85C7-5B0A-489B-A215-8F432E3519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97880" y="2049076"/>
              <a:ext cx="1417686" cy="1417685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Прямая соединительная линия 134">
              <a:extLst>
                <a:ext uri="{FF2B5EF4-FFF2-40B4-BE49-F238E27FC236}">
                  <a16:creationId xmlns:a16="http://schemas.microsoft.com/office/drawing/2014/main" id="{1DA191BB-AF8F-4053-934D-9616271A26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85257" y="2029444"/>
              <a:ext cx="2152146" cy="2152147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Прямая соединительная линия 135">
              <a:extLst>
                <a:ext uri="{FF2B5EF4-FFF2-40B4-BE49-F238E27FC236}">
                  <a16:creationId xmlns:a16="http://schemas.microsoft.com/office/drawing/2014/main" id="{D357C263-35C4-464E-987C-AB1B8EB9C06D}"/>
                </a:ext>
              </a:extLst>
            </p:cNvPr>
            <p:cNvCxnSpPr>
              <a:cxnSpLocks/>
              <a:stCxn id="147" idx="0"/>
            </p:cNvCxnSpPr>
            <p:nvPr/>
          </p:nvCxnSpPr>
          <p:spPr>
            <a:xfrm flipH="1">
              <a:off x="5870710" y="2027267"/>
              <a:ext cx="2875059" cy="2819829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Прямая соединительная линия 136">
              <a:extLst>
                <a:ext uri="{FF2B5EF4-FFF2-40B4-BE49-F238E27FC236}">
                  <a16:creationId xmlns:a16="http://schemas.microsoft.com/office/drawing/2014/main" id="{F4A68B05-BE9F-4B91-94C8-64741E3E646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91428" y="2046858"/>
              <a:ext cx="3332607" cy="3332608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Прямая соединительная линия 137">
              <a:extLst>
                <a:ext uri="{FF2B5EF4-FFF2-40B4-BE49-F238E27FC236}">
                  <a16:creationId xmlns:a16="http://schemas.microsoft.com/office/drawing/2014/main" id="{72384310-4FB7-4AC9-85B2-D9CA4E79400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88477" y="2072655"/>
              <a:ext cx="3514850" cy="3514849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Прямая соединительная линия 138">
              <a:extLst>
                <a:ext uri="{FF2B5EF4-FFF2-40B4-BE49-F238E27FC236}">
                  <a16:creationId xmlns:a16="http://schemas.microsoft.com/office/drawing/2014/main" id="{6FE65F88-5CD7-4ADB-AFB6-5D59DF44C0B1}"/>
                </a:ext>
              </a:extLst>
            </p:cNvPr>
            <p:cNvCxnSpPr/>
            <p:nvPr/>
          </p:nvCxnSpPr>
          <p:spPr>
            <a:xfrm flipH="1">
              <a:off x="7030320" y="2032788"/>
              <a:ext cx="3562433" cy="3562433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Прямая соединительная линия 139">
              <a:extLst>
                <a:ext uri="{FF2B5EF4-FFF2-40B4-BE49-F238E27FC236}">
                  <a16:creationId xmlns:a16="http://schemas.microsoft.com/office/drawing/2014/main" id="{48C7A257-F0A7-45F6-9AFE-8C9CB0AE63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24030" y="2108392"/>
              <a:ext cx="3464082" cy="3464083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Прямая соединительная линия 141">
              <a:extLst>
                <a:ext uri="{FF2B5EF4-FFF2-40B4-BE49-F238E27FC236}">
                  <a16:creationId xmlns:a16="http://schemas.microsoft.com/office/drawing/2014/main" id="{774565D6-727C-4E6F-95D3-0D9884DE89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4390" y="2539009"/>
              <a:ext cx="3050714" cy="3050713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Прямая соединительная линия 142">
              <a:extLst>
                <a:ext uri="{FF2B5EF4-FFF2-40B4-BE49-F238E27FC236}">
                  <a16:creationId xmlns:a16="http://schemas.microsoft.com/office/drawing/2014/main" id="{F3A9BE4D-BF8E-4199-89C0-812A79BFCD92}"/>
                </a:ext>
              </a:extLst>
            </p:cNvPr>
            <p:cNvCxnSpPr/>
            <p:nvPr/>
          </p:nvCxnSpPr>
          <p:spPr>
            <a:xfrm flipH="1">
              <a:off x="9152014" y="3091086"/>
              <a:ext cx="2512147" cy="2512147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Прямая соединительная линия 143">
              <a:extLst>
                <a:ext uri="{FF2B5EF4-FFF2-40B4-BE49-F238E27FC236}">
                  <a16:creationId xmlns:a16="http://schemas.microsoft.com/office/drawing/2014/main" id="{C32630E3-640D-4B10-879A-48B1439755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801496" y="3912251"/>
              <a:ext cx="1784084" cy="1678348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Прямая соединительная линия 144">
              <a:extLst>
                <a:ext uri="{FF2B5EF4-FFF2-40B4-BE49-F238E27FC236}">
                  <a16:creationId xmlns:a16="http://schemas.microsoft.com/office/drawing/2014/main" id="{DFDBF6FA-12E0-4B54-A59A-4D24CBDCA9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522137" y="4518037"/>
              <a:ext cx="1090076" cy="1090076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Прямоугольник: скругленные углы 146">
              <a:extLst>
                <a:ext uri="{FF2B5EF4-FFF2-40B4-BE49-F238E27FC236}">
                  <a16:creationId xmlns:a16="http://schemas.microsoft.com/office/drawing/2014/main" id="{61DDF806-2C41-4EAA-8A84-90036B55D230}"/>
                </a:ext>
              </a:extLst>
            </p:cNvPr>
            <p:cNvSpPr/>
            <p:nvPr/>
          </p:nvSpPr>
          <p:spPr>
            <a:xfrm>
              <a:off x="5867400" y="2027267"/>
              <a:ext cx="5756737" cy="3575627"/>
            </a:xfrm>
            <a:prstGeom prst="round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043B9632-605F-40F6-B4B2-327A58887675}"/>
              </a:ext>
            </a:extLst>
          </p:cNvPr>
          <p:cNvSpPr txBox="1"/>
          <p:nvPr/>
        </p:nvSpPr>
        <p:spPr>
          <a:xfrm>
            <a:off x="2443013" y="5165405"/>
            <a:ext cx="3869496" cy="49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>
              <a:defRPr lang="ru-RU"/>
            </a:defPPr>
            <a:lvl1pPr marR="0" lvl="0" indent="0" algn="ctr" defTabSz="121917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cs typeface="Arial"/>
              </a:defRPr>
            </a:lvl1pPr>
          </a:lstStyle>
          <a:p>
            <a:pPr marL="0" marR="0" lvl="0" indent="0" algn="ctr" defTabSz="121917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ndy" panose="03080602030302030203" pitchFamily="66" charset="-52"/>
              </a:rPr>
              <a:t>Фокус внимания бизнеса </a:t>
            </a:r>
            <a:b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ndy" panose="03080602030302030203" pitchFamily="66" charset="-52"/>
              </a:rPr>
            </a:br>
            <a:r>
              <a:rPr lang="ru-RU" sz="1600" noProof="0" dirty="0">
                <a:solidFill>
                  <a:schemeClr val="accent1"/>
                </a:solidFill>
                <a:latin typeface="Andy" panose="03080602030302030203" pitchFamily="66" charset="-52"/>
              </a:rPr>
              <a:t>при работе с реферальной экономикой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ndy" panose="03080602030302030203" pitchFamily="66" charset="-52"/>
            </a:endParaRPr>
          </a:p>
        </p:txBody>
      </p:sp>
      <p:sp>
        <p:nvSpPr>
          <p:cNvPr id="164" name="Полилиния: фигура 163">
            <a:extLst>
              <a:ext uri="{FF2B5EF4-FFF2-40B4-BE49-F238E27FC236}">
                <a16:creationId xmlns:a16="http://schemas.microsoft.com/office/drawing/2014/main" id="{9E5A2693-94DE-4D4E-9AAB-8A87E46E8F82}"/>
              </a:ext>
            </a:extLst>
          </p:cNvPr>
          <p:cNvSpPr/>
          <p:nvPr/>
        </p:nvSpPr>
        <p:spPr>
          <a:xfrm>
            <a:off x="5152445" y="4462240"/>
            <a:ext cx="544813" cy="480967"/>
          </a:xfrm>
          <a:custGeom>
            <a:avLst/>
            <a:gdLst>
              <a:gd name="connsiteX0" fmla="*/ 1329280 w 1329280"/>
              <a:gd name="connsiteY0" fmla="*/ 129121 h 1191787"/>
              <a:gd name="connsiteX1" fmla="*/ 996420 w 1329280"/>
              <a:gd name="connsiteY1" fmla="*/ 427796 h 1191787"/>
              <a:gd name="connsiteX2" fmla="*/ 960815 w 1329280"/>
              <a:gd name="connsiteY2" fmla="*/ 265843 h 1191787"/>
              <a:gd name="connsiteX3" fmla="*/ 283216 w 1329280"/>
              <a:gd name="connsiteY3" fmla="*/ 1176957 h 1191787"/>
              <a:gd name="connsiteX4" fmla="*/ 141732 w 1329280"/>
              <a:gd name="connsiteY4" fmla="*/ 1191368 h 1191787"/>
              <a:gd name="connsiteX5" fmla="*/ 29 w 1329280"/>
              <a:gd name="connsiteY5" fmla="*/ 1177500 h 1191787"/>
              <a:gd name="connsiteX6" fmla="*/ 929745 w 1329280"/>
              <a:gd name="connsiteY6" fmla="*/ 171717 h 1191787"/>
              <a:gd name="connsiteX7" fmla="*/ 895950 w 1329280"/>
              <a:gd name="connsiteY7" fmla="*/ 0 h 1191787"/>
              <a:gd name="connsiteX8" fmla="*/ 1329280 w 1329280"/>
              <a:gd name="connsiteY8" fmla="*/ 129121 h 1191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9280" h="1191787">
                <a:moveTo>
                  <a:pt x="1329280" y="129121"/>
                </a:moveTo>
                <a:lnTo>
                  <a:pt x="996420" y="427796"/>
                </a:lnTo>
                <a:lnTo>
                  <a:pt x="960815" y="265843"/>
                </a:lnTo>
                <a:cubicBezTo>
                  <a:pt x="729968" y="397650"/>
                  <a:pt x="407022" y="650396"/>
                  <a:pt x="283216" y="1176957"/>
                </a:cubicBezTo>
                <a:cubicBezTo>
                  <a:pt x="278787" y="1195797"/>
                  <a:pt x="156867" y="1191292"/>
                  <a:pt x="141732" y="1191368"/>
                </a:cubicBezTo>
                <a:cubicBezTo>
                  <a:pt x="130959" y="1191530"/>
                  <a:pt x="-2238" y="1189949"/>
                  <a:pt x="29" y="1177500"/>
                </a:cubicBezTo>
                <a:cubicBezTo>
                  <a:pt x="116900" y="537515"/>
                  <a:pt x="574491" y="252270"/>
                  <a:pt x="929745" y="171717"/>
                </a:cubicBezTo>
                <a:lnTo>
                  <a:pt x="895950" y="0"/>
                </a:lnTo>
                <a:lnTo>
                  <a:pt x="1329280" y="12912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92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17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1" fill="hold">
                          <p:stCondLst>
                            <p:cond delay="indefinite"/>
                          </p:stCondLst>
                          <p:childTnLst>
                            <p:par>
                              <p:cTn id="1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3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5" dur="20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8" dur="500"/>
                                            <p:tgtEl>
                                              <p:spTgt spid="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9" fill="hold">
                          <p:stCondLst>
                            <p:cond delay="indefinite"/>
                          </p:stCondLst>
                          <p:childTnLst>
                            <p:par>
                              <p:cTn id="2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1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3" dur="20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8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4" fill="hold">
                          <p:stCondLst>
                            <p:cond delay="indefinite"/>
                          </p:stCondLst>
                          <p:childTnLst>
                            <p:par>
                              <p:cTn id="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6" presetID="2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8" dur="500"/>
                                            <p:tgtEl>
                                              <p:spTgt spid="1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1" dur="500" fill="hold"/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2" dur="500" fill="hold"/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5" dur="500" fill="hold"/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6" dur="500" fill="hold"/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/>
          <p:bldP spid="24" grpId="0" animBg="1"/>
          <p:bldP spid="19" grpId="0" animBg="1"/>
          <p:bldP spid="49" grpId="0"/>
          <p:bldP spid="163" grpId="0"/>
          <p:bldP spid="16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17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1" fill="hold">
                          <p:stCondLst>
                            <p:cond delay="indefinite"/>
                          </p:stCondLst>
                          <p:childTnLst>
                            <p:par>
                              <p:cTn id="1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3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5" dur="20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8" dur="500"/>
                                            <p:tgtEl>
                                              <p:spTgt spid="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9" fill="hold">
                          <p:stCondLst>
                            <p:cond delay="indefinite"/>
                          </p:stCondLst>
                          <p:childTnLst>
                            <p:par>
                              <p:cTn id="2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1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3" dur="20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8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4" fill="hold">
                          <p:stCondLst>
                            <p:cond delay="indefinite"/>
                          </p:stCondLst>
                          <p:childTnLst>
                            <p:par>
                              <p:cTn id="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6" presetID="2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8" dur="500"/>
                                            <p:tgtEl>
                                              <p:spTgt spid="1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500" fill="hold"/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500" fill="hold"/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5" dur="500" fill="hold"/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6" dur="500" fill="hold"/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/>
          <p:bldP spid="24" grpId="0" animBg="1"/>
          <p:bldP spid="19" grpId="0" animBg="1"/>
          <p:bldP spid="49" grpId="0"/>
          <p:bldP spid="163" grpId="0"/>
          <p:bldP spid="164" grpId="0" animBg="1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7797F6A-427F-4686-B1ED-2DC35EDE780E}"/>
              </a:ext>
            </a:extLst>
          </p:cNvPr>
          <p:cNvSpPr txBox="1"/>
          <p:nvPr/>
        </p:nvSpPr>
        <p:spPr>
          <a:xfrm>
            <a:off x="64446" y="3049640"/>
            <a:ext cx="643432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League Spartan" charset="0"/>
                <a:cs typeface="Poppins" pitchFamily="2" charset="77"/>
              </a:rPr>
              <a:t>0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C5AE20-7907-4602-B464-F9A3A81FBBCB}"/>
              </a:ext>
            </a:extLst>
          </p:cNvPr>
          <p:cNvSpPr txBox="1"/>
          <p:nvPr/>
        </p:nvSpPr>
        <p:spPr>
          <a:xfrm rot="16200000">
            <a:off x="-697548" y="1743918"/>
            <a:ext cx="2206289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IN PT" panose="020B0504030203060204" pitchFamily="34" charset="0"/>
                <a:ea typeface="League Spartan" charset="0"/>
                <a:cs typeface="Poppins"/>
              </a:rPr>
              <a:t>Положительный опыт</a:t>
            </a: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DIN PT"/>
              <a:ea typeface="League Spartan" charset="0"/>
              <a:cs typeface="Poppin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F30748-9879-413D-9541-A4262A748B3E}"/>
              </a:ext>
            </a:extLst>
          </p:cNvPr>
          <p:cNvSpPr txBox="1"/>
          <p:nvPr/>
        </p:nvSpPr>
        <p:spPr>
          <a:xfrm rot="16200000">
            <a:off x="-678878" y="4300544"/>
            <a:ext cx="2115444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IN PT" panose="020B0504030203060204" pitchFamily="34" charset="0"/>
                <a:ea typeface="League Spartan" charset="0"/>
                <a:cs typeface="Poppins"/>
              </a:rPr>
              <a:t>Негативный опыт</a:t>
            </a:r>
            <a:r>
              <a:rPr kumimoji="0" lang="ru-RU" sz="10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DIN PT" panose="020B0504030203060204" pitchFamily="34" charset="0"/>
                <a:ea typeface="League Spartan" charset="0"/>
                <a:cs typeface="Poppins"/>
              </a:rPr>
              <a:t> 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DIN PT"/>
              <a:ea typeface="League Spartan" charset="0"/>
              <a:cs typeface="Poppin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BE536A0-97F1-4325-BDDA-A8BAEA3DB5FF}"/>
              </a:ext>
            </a:extLst>
          </p:cNvPr>
          <p:cNvSpPr txBox="1"/>
          <p:nvPr/>
        </p:nvSpPr>
        <p:spPr>
          <a:xfrm flipH="1">
            <a:off x="371473" y="6210872"/>
            <a:ext cx="11449049" cy="369332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</a:rPr>
              <a:t>*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/>
              </a:rPr>
              <a:t>Moment of Truth –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</a:rPr>
              <a:t>момент истины клиента.</a:t>
            </a:r>
            <a:endParaRPr lang="en-US" dirty="0">
              <a:latin typeface="DIN PT"/>
            </a:endParaRPr>
          </a:p>
          <a:p>
            <a:pPr>
              <a:defRPr/>
            </a:pPr>
            <a:r>
              <a:rPr lang="ru-RU" dirty="0">
                <a:solidFill>
                  <a:srgbClr val="838383"/>
                </a:solidFill>
                <a:latin typeface="DIN PT" panose="020B0504030203060204" pitchFamily="34" charset="0"/>
              </a:rPr>
              <a:t> 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" panose="020B0504030203060204" pitchFamily="34" charset="0"/>
              </a:rPr>
              <a:t>Важнейшая точка, на которой клиент либо осознает, что цель и компания отвечает лучшим / худшим ожиданиям, либо – получает новый опыт, который влияет на все последующее взаимодействие. </a:t>
            </a:r>
            <a:endParaRPr lang="ru-RU" dirty="0"/>
          </a:p>
        </p:txBody>
      </p:sp>
      <p:sp>
        <p:nvSpPr>
          <p:cNvPr id="77" name="Полилиния: фигура 76">
            <a:extLst>
              <a:ext uri="{FF2B5EF4-FFF2-40B4-BE49-F238E27FC236}">
                <a16:creationId xmlns:a16="http://schemas.microsoft.com/office/drawing/2014/main" id="{439EFB18-E670-4B90-BDE0-CA85BFE5F625}"/>
              </a:ext>
            </a:extLst>
          </p:cNvPr>
          <p:cNvSpPr/>
          <p:nvPr/>
        </p:nvSpPr>
        <p:spPr>
          <a:xfrm>
            <a:off x="880439" y="924011"/>
            <a:ext cx="11244046" cy="4962986"/>
          </a:xfrm>
          <a:custGeom>
            <a:avLst/>
            <a:gdLst>
              <a:gd name="connsiteX0" fmla="*/ 16640 w 10693106"/>
              <a:gd name="connsiteY0" fmla="*/ 482600 h 5435600"/>
              <a:gd name="connsiteX1" fmla="*/ 58973 w 10693106"/>
              <a:gd name="connsiteY1" fmla="*/ 389467 h 5435600"/>
              <a:gd name="connsiteX2" fmla="*/ 109773 w 10693106"/>
              <a:gd name="connsiteY2" fmla="*/ 321734 h 5435600"/>
              <a:gd name="connsiteX3" fmla="*/ 202906 w 10693106"/>
              <a:gd name="connsiteY3" fmla="*/ 237067 h 5435600"/>
              <a:gd name="connsiteX4" fmla="*/ 236773 w 10693106"/>
              <a:gd name="connsiteY4" fmla="*/ 211667 h 5435600"/>
              <a:gd name="connsiteX5" fmla="*/ 346840 w 10693106"/>
              <a:gd name="connsiteY5" fmla="*/ 152400 h 5435600"/>
              <a:gd name="connsiteX6" fmla="*/ 397640 w 10693106"/>
              <a:gd name="connsiteY6" fmla="*/ 118534 h 5435600"/>
              <a:gd name="connsiteX7" fmla="*/ 456906 w 10693106"/>
              <a:gd name="connsiteY7" fmla="*/ 101600 h 5435600"/>
              <a:gd name="connsiteX8" fmla="*/ 482306 w 10693106"/>
              <a:gd name="connsiteY8" fmla="*/ 93134 h 5435600"/>
              <a:gd name="connsiteX9" fmla="*/ 812506 w 10693106"/>
              <a:gd name="connsiteY9" fmla="*/ 101600 h 5435600"/>
              <a:gd name="connsiteX10" fmla="*/ 1091906 w 10693106"/>
              <a:gd name="connsiteY10" fmla="*/ 143934 h 5435600"/>
              <a:gd name="connsiteX11" fmla="*/ 1235840 w 10693106"/>
              <a:gd name="connsiteY11" fmla="*/ 203200 h 5435600"/>
              <a:gd name="connsiteX12" fmla="*/ 1337440 w 10693106"/>
              <a:gd name="connsiteY12" fmla="*/ 279400 h 5435600"/>
              <a:gd name="connsiteX13" fmla="*/ 1422106 w 10693106"/>
              <a:gd name="connsiteY13" fmla="*/ 389467 h 5435600"/>
              <a:gd name="connsiteX14" fmla="*/ 1481373 w 10693106"/>
              <a:gd name="connsiteY14" fmla="*/ 457200 h 5435600"/>
              <a:gd name="connsiteX15" fmla="*/ 1532173 w 10693106"/>
              <a:gd name="connsiteY15" fmla="*/ 491067 h 5435600"/>
              <a:gd name="connsiteX16" fmla="*/ 1684573 w 10693106"/>
              <a:gd name="connsiteY16" fmla="*/ 550334 h 5435600"/>
              <a:gd name="connsiteX17" fmla="*/ 1760773 w 10693106"/>
              <a:gd name="connsiteY17" fmla="*/ 567267 h 5435600"/>
              <a:gd name="connsiteX18" fmla="*/ 1997840 w 10693106"/>
              <a:gd name="connsiteY18" fmla="*/ 558800 h 5435600"/>
              <a:gd name="connsiteX19" fmla="*/ 2116373 w 10693106"/>
              <a:gd name="connsiteY19" fmla="*/ 541867 h 5435600"/>
              <a:gd name="connsiteX20" fmla="*/ 2260306 w 10693106"/>
              <a:gd name="connsiteY20" fmla="*/ 524934 h 5435600"/>
              <a:gd name="connsiteX21" fmla="*/ 2404240 w 10693106"/>
              <a:gd name="connsiteY21" fmla="*/ 499534 h 5435600"/>
              <a:gd name="connsiteX22" fmla="*/ 2455040 w 10693106"/>
              <a:gd name="connsiteY22" fmla="*/ 474134 h 5435600"/>
              <a:gd name="connsiteX23" fmla="*/ 2531240 w 10693106"/>
              <a:gd name="connsiteY23" fmla="*/ 448734 h 5435600"/>
              <a:gd name="connsiteX24" fmla="*/ 2683640 w 10693106"/>
              <a:gd name="connsiteY24" fmla="*/ 321734 h 5435600"/>
              <a:gd name="connsiteX25" fmla="*/ 2768306 w 10693106"/>
              <a:gd name="connsiteY25" fmla="*/ 254000 h 5435600"/>
              <a:gd name="connsiteX26" fmla="*/ 2836040 w 10693106"/>
              <a:gd name="connsiteY26" fmla="*/ 194734 h 5435600"/>
              <a:gd name="connsiteX27" fmla="*/ 2929173 w 10693106"/>
              <a:gd name="connsiteY27" fmla="*/ 143934 h 5435600"/>
              <a:gd name="connsiteX28" fmla="*/ 3064640 w 10693106"/>
              <a:gd name="connsiteY28" fmla="*/ 59267 h 5435600"/>
              <a:gd name="connsiteX29" fmla="*/ 3132373 w 10693106"/>
              <a:gd name="connsiteY29" fmla="*/ 25400 h 5435600"/>
              <a:gd name="connsiteX30" fmla="*/ 3428706 w 10693106"/>
              <a:gd name="connsiteY30" fmla="*/ 0 h 5435600"/>
              <a:gd name="connsiteX31" fmla="*/ 3606506 w 10693106"/>
              <a:gd name="connsiteY31" fmla="*/ 16934 h 5435600"/>
              <a:gd name="connsiteX32" fmla="*/ 3708106 w 10693106"/>
              <a:gd name="connsiteY32" fmla="*/ 76200 h 5435600"/>
              <a:gd name="connsiteX33" fmla="*/ 3741973 w 10693106"/>
              <a:gd name="connsiteY33" fmla="*/ 84667 h 5435600"/>
              <a:gd name="connsiteX34" fmla="*/ 3818173 w 10693106"/>
              <a:gd name="connsiteY34" fmla="*/ 143934 h 5435600"/>
              <a:gd name="connsiteX35" fmla="*/ 3852040 w 10693106"/>
              <a:gd name="connsiteY35" fmla="*/ 169334 h 5435600"/>
              <a:gd name="connsiteX36" fmla="*/ 3885906 w 10693106"/>
              <a:gd name="connsiteY36" fmla="*/ 186267 h 5435600"/>
              <a:gd name="connsiteX37" fmla="*/ 3945173 w 10693106"/>
              <a:gd name="connsiteY37" fmla="*/ 228600 h 5435600"/>
              <a:gd name="connsiteX38" fmla="*/ 3995973 w 10693106"/>
              <a:gd name="connsiteY38" fmla="*/ 254000 h 5435600"/>
              <a:gd name="connsiteX39" fmla="*/ 4021373 w 10693106"/>
              <a:gd name="connsiteY39" fmla="*/ 287867 h 5435600"/>
              <a:gd name="connsiteX40" fmla="*/ 4055240 w 10693106"/>
              <a:gd name="connsiteY40" fmla="*/ 296334 h 5435600"/>
              <a:gd name="connsiteX41" fmla="*/ 4275373 w 10693106"/>
              <a:gd name="connsiteY41" fmla="*/ 338667 h 5435600"/>
              <a:gd name="connsiteX42" fmla="*/ 4402373 w 10693106"/>
              <a:gd name="connsiteY42" fmla="*/ 372534 h 5435600"/>
              <a:gd name="connsiteX43" fmla="*/ 4529373 w 10693106"/>
              <a:gd name="connsiteY43" fmla="*/ 414867 h 5435600"/>
              <a:gd name="connsiteX44" fmla="*/ 4859573 w 10693106"/>
              <a:gd name="connsiteY44" fmla="*/ 491067 h 5435600"/>
              <a:gd name="connsiteX45" fmla="*/ 5045840 w 10693106"/>
              <a:gd name="connsiteY45" fmla="*/ 567267 h 5435600"/>
              <a:gd name="connsiteX46" fmla="*/ 5325240 w 10693106"/>
              <a:gd name="connsiteY46" fmla="*/ 728134 h 5435600"/>
              <a:gd name="connsiteX47" fmla="*/ 5494573 w 10693106"/>
              <a:gd name="connsiteY47" fmla="*/ 880534 h 5435600"/>
              <a:gd name="connsiteX48" fmla="*/ 5562306 w 10693106"/>
              <a:gd name="connsiteY48" fmla="*/ 956734 h 5435600"/>
              <a:gd name="connsiteX49" fmla="*/ 5621573 w 10693106"/>
              <a:gd name="connsiteY49" fmla="*/ 1007534 h 5435600"/>
              <a:gd name="connsiteX50" fmla="*/ 5672373 w 10693106"/>
              <a:gd name="connsiteY50" fmla="*/ 1075267 h 5435600"/>
              <a:gd name="connsiteX51" fmla="*/ 5757040 w 10693106"/>
              <a:gd name="connsiteY51" fmla="*/ 1176867 h 5435600"/>
              <a:gd name="connsiteX52" fmla="*/ 5833240 w 10693106"/>
              <a:gd name="connsiteY52" fmla="*/ 1270000 h 5435600"/>
              <a:gd name="connsiteX53" fmla="*/ 6019506 w 10693106"/>
              <a:gd name="connsiteY53" fmla="*/ 1473200 h 5435600"/>
              <a:gd name="connsiteX54" fmla="*/ 6087240 w 10693106"/>
              <a:gd name="connsiteY54" fmla="*/ 1524000 h 5435600"/>
              <a:gd name="connsiteX55" fmla="*/ 6171906 w 10693106"/>
              <a:gd name="connsiteY55" fmla="*/ 1625600 h 5435600"/>
              <a:gd name="connsiteX56" fmla="*/ 6451306 w 10693106"/>
              <a:gd name="connsiteY56" fmla="*/ 1837267 h 5435600"/>
              <a:gd name="connsiteX57" fmla="*/ 6519040 w 10693106"/>
              <a:gd name="connsiteY57" fmla="*/ 1845734 h 5435600"/>
              <a:gd name="connsiteX58" fmla="*/ 6603706 w 10693106"/>
              <a:gd name="connsiteY58" fmla="*/ 1879600 h 5435600"/>
              <a:gd name="connsiteX59" fmla="*/ 6671440 w 10693106"/>
              <a:gd name="connsiteY59" fmla="*/ 1913467 h 5435600"/>
              <a:gd name="connsiteX60" fmla="*/ 6866173 w 10693106"/>
              <a:gd name="connsiteY60" fmla="*/ 1938867 h 5435600"/>
              <a:gd name="connsiteX61" fmla="*/ 7196373 w 10693106"/>
              <a:gd name="connsiteY61" fmla="*/ 1921934 h 5435600"/>
              <a:gd name="connsiteX62" fmla="*/ 7509640 w 10693106"/>
              <a:gd name="connsiteY62" fmla="*/ 1845734 h 5435600"/>
              <a:gd name="connsiteX63" fmla="*/ 7628173 w 10693106"/>
              <a:gd name="connsiteY63" fmla="*/ 1820334 h 5435600"/>
              <a:gd name="connsiteX64" fmla="*/ 7704373 w 10693106"/>
              <a:gd name="connsiteY64" fmla="*/ 1778000 h 5435600"/>
              <a:gd name="connsiteX65" fmla="*/ 7755173 w 10693106"/>
              <a:gd name="connsiteY65" fmla="*/ 1769534 h 5435600"/>
              <a:gd name="connsiteX66" fmla="*/ 7797506 w 10693106"/>
              <a:gd name="connsiteY66" fmla="*/ 1735667 h 5435600"/>
              <a:gd name="connsiteX67" fmla="*/ 7856773 w 10693106"/>
              <a:gd name="connsiteY67" fmla="*/ 1718734 h 5435600"/>
              <a:gd name="connsiteX68" fmla="*/ 7958373 w 10693106"/>
              <a:gd name="connsiteY68" fmla="*/ 1651000 h 5435600"/>
              <a:gd name="connsiteX69" fmla="*/ 8009173 w 10693106"/>
              <a:gd name="connsiteY69" fmla="*/ 1600200 h 5435600"/>
              <a:gd name="connsiteX70" fmla="*/ 8339373 w 10693106"/>
              <a:gd name="connsiteY70" fmla="*/ 1354667 h 5435600"/>
              <a:gd name="connsiteX71" fmla="*/ 8576440 w 10693106"/>
              <a:gd name="connsiteY71" fmla="*/ 1100667 h 5435600"/>
              <a:gd name="connsiteX72" fmla="*/ 8652640 w 10693106"/>
              <a:gd name="connsiteY72" fmla="*/ 821267 h 5435600"/>
              <a:gd name="connsiteX73" fmla="*/ 8847373 w 10693106"/>
              <a:gd name="connsiteY73" fmla="*/ 635000 h 5435600"/>
              <a:gd name="connsiteX74" fmla="*/ 8982840 w 10693106"/>
              <a:gd name="connsiteY74" fmla="*/ 541867 h 5435600"/>
              <a:gd name="connsiteX75" fmla="*/ 9084440 w 10693106"/>
              <a:gd name="connsiteY75" fmla="*/ 508000 h 5435600"/>
              <a:gd name="connsiteX76" fmla="*/ 9152173 w 10693106"/>
              <a:gd name="connsiteY76" fmla="*/ 482600 h 5435600"/>
              <a:gd name="connsiteX77" fmla="*/ 9380773 w 10693106"/>
              <a:gd name="connsiteY77" fmla="*/ 499534 h 5435600"/>
              <a:gd name="connsiteX78" fmla="*/ 9744840 w 10693106"/>
              <a:gd name="connsiteY78" fmla="*/ 609600 h 5435600"/>
              <a:gd name="connsiteX79" fmla="*/ 9888773 w 10693106"/>
              <a:gd name="connsiteY79" fmla="*/ 651934 h 5435600"/>
              <a:gd name="connsiteX80" fmla="*/ 9998840 w 10693106"/>
              <a:gd name="connsiteY80" fmla="*/ 702734 h 5435600"/>
              <a:gd name="connsiteX81" fmla="*/ 10083506 w 10693106"/>
              <a:gd name="connsiteY81" fmla="*/ 762000 h 5435600"/>
              <a:gd name="connsiteX82" fmla="*/ 10286706 w 10693106"/>
              <a:gd name="connsiteY82" fmla="*/ 829734 h 5435600"/>
              <a:gd name="connsiteX83" fmla="*/ 10388306 w 10693106"/>
              <a:gd name="connsiteY83" fmla="*/ 1032934 h 5435600"/>
              <a:gd name="connsiteX84" fmla="*/ 10540706 w 10693106"/>
              <a:gd name="connsiteY84" fmla="*/ 1405467 h 5435600"/>
              <a:gd name="connsiteX85" fmla="*/ 10557640 w 10693106"/>
              <a:gd name="connsiteY85" fmla="*/ 1490134 h 5435600"/>
              <a:gd name="connsiteX86" fmla="*/ 10583040 w 10693106"/>
              <a:gd name="connsiteY86" fmla="*/ 1591734 h 5435600"/>
              <a:gd name="connsiteX87" fmla="*/ 10616906 w 10693106"/>
              <a:gd name="connsiteY87" fmla="*/ 1794934 h 5435600"/>
              <a:gd name="connsiteX88" fmla="*/ 10633840 w 10693106"/>
              <a:gd name="connsiteY88" fmla="*/ 1879600 h 5435600"/>
              <a:gd name="connsiteX89" fmla="*/ 10650773 w 10693106"/>
              <a:gd name="connsiteY89" fmla="*/ 1913467 h 5435600"/>
              <a:gd name="connsiteX90" fmla="*/ 10676173 w 10693106"/>
              <a:gd name="connsiteY90" fmla="*/ 1998134 h 5435600"/>
              <a:gd name="connsiteX91" fmla="*/ 10693106 w 10693106"/>
              <a:gd name="connsiteY91" fmla="*/ 2150534 h 5435600"/>
              <a:gd name="connsiteX92" fmla="*/ 10625373 w 10693106"/>
              <a:gd name="connsiteY92" fmla="*/ 2370667 h 5435600"/>
              <a:gd name="connsiteX93" fmla="*/ 10608440 w 10693106"/>
              <a:gd name="connsiteY93" fmla="*/ 2396067 h 5435600"/>
              <a:gd name="connsiteX94" fmla="*/ 10540706 w 10693106"/>
              <a:gd name="connsiteY94" fmla="*/ 2540000 h 5435600"/>
              <a:gd name="connsiteX95" fmla="*/ 10498373 w 10693106"/>
              <a:gd name="connsiteY95" fmla="*/ 2624667 h 5435600"/>
              <a:gd name="connsiteX96" fmla="*/ 10439106 w 10693106"/>
              <a:gd name="connsiteY96" fmla="*/ 2810934 h 5435600"/>
              <a:gd name="connsiteX97" fmla="*/ 10430640 w 10693106"/>
              <a:gd name="connsiteY97" fmla="*/ 2853267 h 5435600"/>
              <a:gd name="connsiteX98" fmla="*/ 10405240 w 10693106"/>
              <a:gd name="connsiteY98" fmla="*/ 2929467 h 5435600"/>
              <a:gd name="connsiteX99" fmla="*/ 10396773 w 10693106"/>
              <a:gd name="connsiteY99" fmla="*/ 2963334 h 5435600"/>
              <a:gd name="connsiteX100" fmla="*/ 10362906 w 10693106"/>
              <a:gd name="connsiteY100" fmla="*/ 3056467 h 5435600"/>
              <a:gd name="connsiteX101" fmla="*/ 10329040 w 10693106"/>
              <a:gd name="connsiteY101" fmla="*/ 3098800 h 5435600"/>
              <a:gd name="connsiteX102" fmla="*/ 10227440 w 10693106"/>
              <a:gd name="connsiteY102" fmla="*/ 3200400 h 5435600"/>
              <a:gd name="connsiteX103" fmla="*/ 10168173 w 10693106"/>
              <a:gd name="connsiteY103" fmla="*/ 3268134 h 5435600"/>
              <a:gd name="connsiteX104" fmla="*/ 10117373 w 10693106"/>
              <a:gd name="connsiteY104" fmla="*/ 3318934 h 5435600"/>
              <a:gd name="connsiteX105" fmla="*/ 10032706 w 10693106"/>
              <a:gd name="connsiteY105" fmla="*/ 3420534 h 5435600"/>
              <a:gd name="connsiteX106" fmla="*/ 9948040 w 10693106"/>
              <a:gd name="connsiteY106" fmla="*/ 3479800 h 5435600"/>
              <a:gd name="connsiteX107" fmla="*/ 9905706 w 10693106"/>
              <a:gd name="connsiteY107" fmla="*/ 3505200 h 5435600"/>
              <a:gd name="connsiteX108" fmla="*/ 9829506 w 10693106"/>
              <a:gd name="connsiteY108" fmla="*/ 3522134 h 5435600"/>
              <a:gd name="connsiteX109" fmla="*/ 9727906 w 10693106"/>
              <a:gd name="connsiteY109" fmla="*/ 3564467 h 5435600"/>
              <a:gd name="connsiteX110" fmla="*/ 9634773 w 10693106"/>
              <a:gd name="connsiteY110" fmla="*/ 3589867 h 5435600"/>
              <a:gd name="connsiteX111" fmla="*/ 9456973 w 10693106"/>
              <a:gd name="connsiteY111" fmla="*/ 3683000 h 5435600"/>
              <a:gd name="connsiteX112" fmla="*/ 9313040 w 10693106"/>
              <a:gd name="connsiteY112" fmla="*/ 3810000 h 5435600"/>
              <a:gd name="connsiteX113" fmla="*/ 9279173 w 10693106"/>
              <a:gd name="connsiteY113" fmla="*/ 3826934 h 5435600"/>
              <a:gd name="connsiteX114" fmla="*/ 9067506 w 10693106"/>
              <a:gd name="connsiteY114" fmla="*/ 4004734 h 5435600"/>
              <a:gd name="connsiteX115" fmla="*/ 8999773 w 10693106"/>
              <a:gd name="connsiteY115" fmla="*/ 4072467 h 5435600"/>
              <a:gd name="connsiteX116" fmla="*/ 8813506 w 10693106"/>
              <a:gd name="connsiteY116" fmla="*/ 4207934 h 5435600"/>
              <a:gd name="connsiteX117" fmla="*/ 8728840 w 10693106"/>
              <a:gd name="connsiteY117" fmla="*/ 4250267 h 5435600"/>
              <a:gd name="connsiteX118" fmla="*/ 8373240 w 10693106"/>
              <a:gd name="connsiteY118" fmla="*/ 4284134 h 5435600"/>
              <a:gd name="connsiteX119" fmla="*/ 7966840 w 10693106"/>
              <a:gd name="connsiteY119" fmla="*/ 4377267 h 5435600"/>
              <a:gd name="connsiteX120" fmla="*/ 7687440 w 10693106"/>
              <a:gd name="connsiteY120" fmla="*/ 4538134 h 5435600"/>
              <a:gd name="connsiteX121" fmla="*/ 7551973 w 10693106"/>
              <a:gd name="connsiteY121" fmla="*/ 4622800 h 5435600"/>
              <a:gd name="connsiteX122" fmla="*/ 7374173 w 10693106"/>
              <a:gd name="connsiteY122" fmla="*/ 4800600 h 5435600"/>
              <a:gd name="connsiteX123" fmla="*/ 7374173 w 10693106"/>
              <a:gd name="connsiteY123" fmla="*/ 4800600 h 5435600"/>
              <a:gd name="connsiteX124" fmla="*/ 7221773 w 10693106"/>
              <a:gd name="connsiteY124" fmla="*/ 4919134 h 5435600"/>
              <a:gd name="connsiteX125" fmla="*/ 7027040 w 10693106"/>
              <a:gd name="connsiteY125" fmla="*/ 5046134 h 5435600"/>
              <a:gd name="connsiteX126" fmla="*/ 6883106 w 10693106"/>
              <a:gd name="connsiteY126" fmla="*/ 5113867 h 5435600"/>
              <a:gd name="connsiteX127" fmla="*/ 6815373 w 10693106"/>
              <a:gd name="connsiteY127" fmla="*/ 5156200 h 5435600"/>
              <a:gd name="connsiteX128" fmla="*/ 6646040 w 10693106"/>
              <a:gd name="connsiteY128" fmla="*/ 5249334 h 5435600"/>
              <a:gd name="connsiteX129" fmla="*/ 6527506 w 10693106"/>
              <a:gd name="connsiteY129" fmla="*/ 5308600 h 5435600"/>
              <a:gd name="connsiteX130" fmla="*/ 6298906 w 10693106"/>
              <a:gd name="connsiteY130" fmla="*/ 5384800 h 5435600"/>
              <a:gd name="connsiteX131" fmla="*/ 6197306 w 10693106"/>
              <a:gd name="connsiteY131" fmla="*/ 5410200 h 5435600"/>
              <a:gd name="connsiteX132" fmla="*/ 6061840 w 10693106"/>
              <a:gd name="connsiteY132" fmla="*/ 5418667 h 5435600"/>
              <a:gd name="connsiteX133" fmla="*/ 5917906 w 10693106"/>
              <a:gd name="connsiteY133" fmla="*/ 5435600 h 5435600"/>
              <a:gd name="connsiteX134" fmla="*/ 5748573 w 10693106"/>
              <a:gd name="connsiteY134" fmla="*/ 5427134 h 5435600"/>
              <a:gd name="connsiteX135" fmla="*/ 5282906 w 10693106"/>
              <a:gd name="connsiteY135" fmla="*/ 5317067 h 5435600"/>
              <a:gd name="connsiteX136" fmla="*/ 5138973 w 10693106"/>
              <a:gd name="connsiteY136" fmla="*/ 5215467 h 5435600"/>
              <a:gd name="connsiteX137" fmla="*/ 5020440 w 10693106"/>
              <a:gd name="connsiteY137" fmla="*/ 5063067 h 5435600"/>
              <a:gd name="connsiteX138" fmla="*/ 4952706 w 10693106"/>
              <a:gd name="connsiteY138" fmla="*/ 4986867 h 5435600"/>
              <a:gd name="connsiteX139" fmla="*/ 4884973 w 10693106"/>
              <a:gd name="connsiteY139" fmla="*/ 4919134 h 5435600"/>
              <a:gd name="connsiteX140" fmla="*/ 4732573 w 10693106"/>
              <a:gd name="connsiteY140" fmla="*/ 4741334 h 5435600"/>
              <a:gd name="connsiteX141" fmla="*/ 4673306 w 10693106"/>
              <a:gd name="connsiteY141" fmla="*/ 4673600 h 5435600"/>
              <a:gd name="connsiteX142" fmla="*/ 4487040 w 10693106"/>
              <a:gd name="connsiteY142" fmla="*/ 4546600 h 5435600"/>
              <a:gd name="connsiteX143" fmla="*/ 4427773 w 10693106"/>
              <a:gd name="connsiteY143" fmla="*/ 4512734 h 5435600"/>
              <a:gd name="connsiteX144" fmla="*/ 4343106 w 10693106"/>
              <a:gd name="connsiteY144" fmla="*/ 4478867 h 5435600"/>
              <a:gd name="connsiteX145" fmla="*/ 4224573 w 10693106"/>
              <a:gd name="connsiteY145" fmla="*/ 4402667 h 5435600"/>
              <a:gd name="connsiteX146" fmla="*/ 4156840 w 10693106"/>
              <a:gd name="connsiteY146" fmla="*/ 4343400 h 5435600"/>
              <a:gd name="connsiteX147" fmla="*/ 4021373 w 10693106"/>
              <a:gd name="connsiteY147" fmla="*/ 4199467 h 5435600"/>
              <a:gd name="connsiteX148" fmla="*/ 3919773 w 10693106"/>
              <a:gd name="connsiteY148" fmla="*/ 4064000 h 5435600"/>
              <a:gd name="connsiteX149" fmla="*/ 3877440 w 10693106"/>
              <a:gd name="connsiteY149" fmla="*/ 3767667 h 5435600"/>
              <a:gd name="connsiteX150" fmla="*/ 3852040 w 10693106"/>
              <a:gd name="connsiteY150" fmla="*/ 3674534 h 5435600"/>
              <a:gd name="connsiteX151" fmla="*/ 3801240 w 10693106"/>
              <a:gd name="connsiteY151" fmla="*/ 3564467 h 5435600"/>
              <a:gd name="connsiteX152" fmla="*/ 3733506 w 10693106"/>
              <a:gd name="connsiteY152" fmla="*/ 3462867 h 5435600"/>
              <a:gd name="connsiteX153" fmla="*/ 3242440 w 10693106"/>
              <a:gd name="connsiteY153" fmla="*/ 3242734 h 5435600"/>
              <a:gd name="connsiteX154" fmla="*/ 3123906 w 10693106"/>
              <a:gd name="connsiteY154" fmla="*/ 3141134 h 5435600"/>
              <a:gd name="connsiteX155" fmla="*/ 2988440 w 10693106"/>
              <a:gd name="connsiteY155" fmla="*/ 2946400 h 5435600"/>
              <a:gd name="connsiteX156" fmla="*/ 2971506 w 10693106"/>
              <a:gd name="connsiteY156" fmla="*/ 2887134 h 5435600"/>
              <a:gd name="connsiteX157" fmla="*/ 2996906 w 10693106"/>
              <a:gd name="connsiteY157" fmla="*/ 2675467 h 5435600"/>
              <a:gd name="connsiteX158" fmla="*/ 3013840 w 10693106"/>
              <a:gd name="connsiteY158" fmla="*/ 2573867 h 5435600"/>
              <a:gd name="connsiteX159" fmla="*/ 3005373 w 10693106"/>
              <a:gd name="connsiteY159" fmla="*/ 2455334 h 5435600"/>
              <a:gd name="connsiteX160" fmla="*/ 2988440 w 10693106"/>
              <a:gd name="connsiteY160" fmla="*/ 2404534 h 5435600"/>
              <a:gd name="connsiteX161" fmla="*/ 2802173 w 10693106"/>
              <a:gd name="connsiteY161" fmla="*/ 2150534 h 5435600"/>
              <a:gd name="connsiteX162" fmla="*/ 2641306 w 10693106"/>
              <a:gd name="connsiteY162" fmla="*/ 2006600 h 5435600"/>
              <a:gd name="connsiteX163" fmla="*/ 2590506 w 10693106"/>
              <a:gd name="connsiteY163" fmla="*/ 1981200 h 5435600"/>
              <a:gd name="connsiteX164" fmla="*/ 2531240 w 10693106"/>
              <a:gd name="connsiteY164" fmla="*/ 1972734 h 5435600"/>
              <a:gd name="connsiteX165" fmla="*/ 2446573 w 10693106"/>
              <a:gd name="connsiteY165" fmla="*/ 1955800 h 5435600"/>
              <a:gd name="connsiteX166" fmla="*/ 2251840 w 10693106"/>
              <a:gd name="connsiteY166" fmla="*/ 1981200 h 5435600"/>
              <a:gd name="connsiteX167" fmla="*/ 2167173 w 10693106"/>
              <a:gd name="connsiteY167" fmla="*/ 2023534 h 5435600"/>
              <a:gd name="connsiteX168" fmla="*/ 1980906 w 10693106"/>
              <a:gd name="connsiteY168" fmla="*/ 2082800 h 5435600"/>
              <a:gd name="connsiteX169" fmla="*/ 1904706 w 10693106"/>
              <a:gd name="connsiteY169" fmla="*/ 2116667 h 5435600"/>
              <a:gd name="connsiteX170" fmla="*/ 1828506 w 10693106"/>
              <a:gd name="connsiteY170" fmla="*/ 2133600 h 5435600"/>
              <a:gd name="connsiteX171" fmla="*/ 1726906 w 10693106"/>
              <a:gd name="connsiteY171" fmla="*/ 2184400 h 5435600"/>
              <a:gd name="connsiteX172" fmla="*/ 1659173 w 10693106"/>
              <a:gd name="connsiteY172" fmla="*/ 2218267 h 5435600"/>
              <a:gd name="connsiteX173" fmla="*/ 1498306 w 10693106"/>
              <a:gd name="connsiteY173" fmla="*/ 2243667 h 5435600"/>
              <a:gd name="connsiteX174" fmla="*/ 914106 w 10693106"/>
              <a:gd name="connsiteY174" fmla="*/ 2175934 h 5435600"/>
              <a:gd name="connsiteX175" fmla="*/ 617773 w 10693106"/>
              <a:gd name="connsiteY175" fmla="*/ 2065867 h 5435600"/>
              <a:gd name="connsiteX176" fmla="*/ 516173 w 10693106"/>
              <a:gd name="connsiteY176" fmla="*/ 1981200 h 5435600"/>
              <a:gd name="connsiteX177" fmla="*/ 355306 w 10693106"/>
              <a:gd name="connsiteY177" fmla="*/ 1769534 h 5435600"/>
              <a:gd name="connsiteX178" fmla="*/ 296040 w 10693106"/>
              <a:gd name="connsiteY178" fmla="*/ 1667934 h 5435600"/>
              <a:gd name="connsiteX179" fmla="*/ 253706 w 10693106"/>
              <a:gd name="connsiteY179" fmla="*/ 1490134 h 5435600"/>
              <a:gd name="connsiteX180" fmla="*/ 245240 w 10693106"/>
              <a:gd name="connsiteY180" fmla="*/ 1363134 h 5435600"/>
              <a:gd name="connsiteX181" fmla="*/ 236773 w 10693106"/>
              <a:gd name="connsiteY181" fmla="*/ 1261534 h 5435600"/>
              <a:gd name="connsiteX182" fmla="*/ 245240 w 10693106"/>
              <a:gd name="connsiteY182" fmla="*/ 990600 h 5435600"/>
              <a:gd name="connsiteX183" fmla="*/ 236773 w 10693106"/>
              <a:gd name="connsiteY183" fmla="*/ 846667 h 5435600"/>
              <a:gd name="connsiteX184" fmla="*/ 109773 w 10693106"/>
              <a:gd name="connsiteY184" fmla="*/ 702734 h 5435600"/>
              <a:gd name="connsiteX185" fmla="*/ 58973 w 10693106"/>
              <a:gd name="connsiteY185" fmla="*/ 626534 h 5435600"/>
              <a:gd name="connsiteX186" fmla="*/ 16640 w 10693106"/>
              <a:gd name="connsiteY186" fmla="*/ 575734 h 5435600"/>
              <a:gd name="connsiteX187" fmla="*/ 8173 w 10693106"/>
              <a:gd name="connsiteY187" fmla="*/ 533400 h 5435600"/>
              <a:gd name="connsiteX188" fmla="*/ 16640 w 10693106"/>
              <a:gd name="connsiteY188" fmla="*/ 482600 h 5435600"/>
              <a:gd name="connsiteX0-1" fmla="*/ 16640 w 10693106"/>
              <a:gd name="connsiteY0-2" fmla="*/ 465879 h 5418879"/>
              <a:gd name="connsiteX1-3" fmla="*/ 58973 w 10693106"/>
              <a:gd name="connsiteY1-4" fmla="*/ 372746 h 5418879"/>
              <a:gd name="connsiteX2-5" fmla="*/ 109773 w 10693106"/>
              <a:gd name="connsiteY2-6" fmla="*/ 305013 h 5418879"/>
              <a:gd name="connsiteX3-7" fmla="*/ 202906 w 10693106"/>
              <a:gd name="connsiteY3-8" fmla="*/ 220346 h 5418879"/>
              <a:gd name="connsiteX4-9" fmla="*/ 236773 w 10693106"/>
              <a:gd name="connsiteY4-10" fmla="*/ 194946 h 5418879"/>
              <a:gd name="connsiteX5-11" fmla="*/ 346840 w 10693106"/>
              <a:gd name="connsiteY5-12" fmla="*/ 135679 h 5418879"/>
              <a:gd name="connsiteX6-13" fmla="*/ 397640 w 10693106"/>
              <a:gd name="connsiteY6-14" fmla="*/ 101813 h 5418879"/>
              <a:gd name="connsiteX7-15" fmla="*/ 456906 w 10693106"/>
              <a:gd name="connsiteY7-16" fmla="*/ 84879 h 5418879"/>
              <a:gd name="connsiteX8-17" fmla="*/ 482306 w 10693106"/>
              <a:gd name="connsiteY8-18" fmla="*/ 76413 h 5418879"/>
              <a:gd name="connsiteX9-19" fmla="*/ 812506 w 10693106"/>
              <a:gd name="connsiteY9-20" fmla="*/ 84879 h 5418879"/>
              <a:gd name="connsiteX10-21" fmla="*/ 1091906 w 10693106"/>
              <a:gd name="connsiteY10-22" fmla="*/ 127213 h 5418879"/>
              <a:gd name="connsiteX11-23" fmla="*/ 1235840 w 10693106"/>
              <a:gd name="connsiteY11-24" fmla="*/ 186479 h 5418879"/>
              <a:gd name="connsiteX12-25" fmla="*/ 1337440 w 10693106"/>
              <a:gd name="connsiteY12-26" fmla="*/ 262679 h 5418879"/>
              <a:gd name="connsiteX13-27" fmla="*/ 1422106 w 10693106"/>
              <a:gd name="connsiteY13-28" fmla="*/ 372746 h 5418879"/>
              <a:gd name="connsiteX14-29" fmla="*/ 1481373 w 10693106"/>
              <a:gd name="connsiteY14-30" fmla="*/ 440479 h 5418879"/>
              <a:gd name="connsiteX15-31" fmla="*/ 1532173 w 10693106"/>
              <a:gd name="connsiteY15-32" fmla="*/ 474346 h 5418879"/>
              <a:gd name="connsiteX16-33" fmla="*/ 1684573 w 10693106"/>
              <a:gd name="connsiteY16-34" fmla="*/ 533613 h 5418879"/>
              <a:gd name="connsiteX17-35" fmla="*/ 1760773 w 10693106"/>
              <a:gd name="connsiteY17-36" fmla="*/ 550546 h 5418879"/>
              <a:gd name="connsiteX18-37" fmla="*/ 1997840 w 10693106"/>
              <a:gd name="connsiteY18-38" fmla="*/ 542079 h 5418879"/>
              <a:gd name="connsiteX19-39" fmla="*/ 2116373 w 10693106"/>
              <a:gd name="connsiteY19-40" fmla="*/ 525146 h 5418879"/>
              <a:gd name="connsiteX20-41" fmla="*/ 2260306 w 10693106"/>
              <a:gd name="connsiteY20-42" fmla="*/ 508213 h 5418879"/>
              <a:gd name="connsiteX21-43" fmla="*/ 2404240 w 10693106"/>
              <a:gd name="connsiteY21-44" fmla="*/ 482813 h 5418879"/>
              <a:gd name="connsiteX22-45" fmla="*/ 2455040 w 10693106"/>
              <a:gd name="connsiteY22-46" fmla="*/ 457413 h 5418879"/>
              <a:gd name="connsiteX23-47" fmla="*/ 2531240 w 10693106"/>
              <a:gd name="connsiteY23-48" fmla="*/ 432013 h 5418879"/>
              <a:gd name="connsiteX24-49" fmla="*/ 2683640 w 10693106"/>
              <a:gd name="connsiteY24-50" fmla="*/ 305013 h 5418879"/>
              <a:gd name="connsiteX25-51" fmla="*/ 2768306 w 10693106"/>
              <a:gd name="connsiteY25-52" fmla="*/ 237279 h 5418879"/>
              <a:gd name="connsiteX26-53" fmla="*/ 2836040 w 10693106"/>
              <a:gd name="connsiteY26-54" fmla="*/ 178013 h 5418879"/>
              <a:gd name="connsiteX27-55" fmla="*/ 2929173 w 10693106"/>
              <a:gd name="connsiteY27-56" fmla="*/ 127213 h 5418879"/>
              <a:gd name="connsiteX28-57" fmla="*/ 3064640 w 10693106"/>
              <a:gd name="connsiteY28-58" fmla="*/ 42546 h 5418879"/>
              <a:gd name="connsiteX29-59" fmla="*/ 3132373 w 10693106"/>
              <a:gd name="connsiteY29-60" fmla="*/ 8679 h 5418879"/>
              <a:gd name="connsiteX30-61" fmla="*/ 3459878 w 10693106"/>
              <a:gd name="connsiteY30-62" fmla="*/ 97579 h 5418879"/>
              <a:gd name="connsiteX31-63" fmla="*/ 3606506 w 10693106"/>
              <a:gd name="connsiteY31-64" fmla="*/ 213 h 5418879"/>
              <a:gd name="connsiteX32-65" fmla="*/ 3708106 w 10693106"/>
              <a:gd name="connsiteY32-66" fmla="*/ 59479 h 5418879"/>
              <a:gd name="connsiteX33-67" fmla="*/ 3741973 w 10693106"/>
              <a:gd name="connsiteY33-68" fmla="*/ 67946 h 5418879"/>
              <a:gd name="connsiteX34-69" fmla="*/ 3818173 w 10693106"/>
              <a:gd name="connsiteY34-70" fmla="*/ 127213 h 5418879"/>
              <a:gd name="connsiteX35-71" fmla="*/ 3852040 w 10693106"/>
              <a:gd name="connsiteY35-72" fmla="*/ 152613 h 5418879"/>
              <a:gd name="connsiteX36-73" fmla="*/ 3885906 w 10693106"/>
              <a:gd name="connsiteY36-74" fmla="*/ 169546 h 5418879"/>
              <a:gd name="connsiteX37-75" fmla="*/ 3945173 w 10693106"/>
              <a:gd name="connsiteY37-76" fmla="*/ 211879 h 5418879"/>
              <a:gd name="connsiteX38-77" fmla="*/ 3995973 w 10693106"/>
              <a:gd name="connsiteY38-78" fmla="*/ 237279 h 5418879"/>
              <a:gd name="connsiteX39-79" fmla="*/ 4021373 w 10693106"/>
              <a:gd name="connsiteY39-80" fmla="*/ 271146 h 5418879"/>
              <a:gd name="connsiteX40-81" fmla="*/ 4055240 w 10693106"/>
              <a:gd name="connsiteY40-82" fmla="*/ 279613 h 5418879"/>
              <a:gd name="connsiteX41-83" fmla="*/ 4275373 w 10693106"/>
              <a:gd name="connsiteY41-84" fmla="*/ 321946 h 5418879"/>
              <a:gd name="connsiteX42-85" fmla="*/ 4402373 w 10693106"/>
              <a:gd name="connsiteY42-86" fmla="*/ 355813 h 5418879"/>
              <a:gd name="connsiteX43-87" fmla="*/ 4529373 w 10693106"/>
              <a:gd name="connsiteY43-88" fmla="*/ 398146 h 5418879"/>
              <a:gd name="connsiteX44-89" fmla="*/ 4859573 w 10693106"/>
              <a:gd name="connsiteY44-90" fmla="*/ 474346 h 5418879"/>
              <a:gd name="connsiteX45-91" fmla="*/ 5045840 w 10693106"/>
              <a:gd name="connsiteY45-92" fmla="*/ 550546 h 5418879"/>
              <a:gd name="connsiteX46-93" fmla="*/ 5325240 w 10693106"/>
              <a:gd name="connsiteY46-94" fmla="*/ 711413 h 5418879"/>
              <a:gd name="connsiteX47-95" fmla="*/ 5494573 w 10693106"/>
              <a:gd name="connsiteY47-96" fmla="*/ 863813 h 5418879"/>
              <a:gd name="connsiteX48-97" fmla="*/ 5562306 w 10693106"/>
              <a:gd name="connsiteY48-98" fmla="*/ 940013 h 5418879"/>
              <a:gd name="connsiteX49-99" fmla="*/ 5621573 w 10693106"/>
              <a:gd name="connsiteY49-100" fmla="*/ 990813 h 5418879"/>
              <a:gd name="connsiteX50-101" fmla="*/ 5672373 w 10693106"/>
              <a:gd name="connsiteY50-102" fmla="*/ 1058546 h 5418879"/>
              <a:gd name="connsiteX51-103" fmla="*/ 5757040 w 10693106"/>
              <a:gd name="connsiteY51-104" fmla="*/ 1160146 h 5418879"/>
              <a:gd name="connsiteX52-105" fmla="*/ 5833240 w 10693106"/>
              <a:gd name="connsiteY52-106" fmla="*/ 1253279 h 5418879"/>
              <a:gd name="connsiteX53-107" fmla="*/ 6019506 w 10693106"/>
              <a:gd name="connsiteY53-108" fmla="*/ 1456479 h 5418879"/>
              <a:gd name="connsiteX54-109" fmla="*/ 6087240 w 10693106"/>
              <a:gd name="connsiteY54-110" fmla="*/ 1507279 h 5418879"/>
              <a:gd name="connsiteX55-111" fmla="*/ 6171906 w 10693106"/>
              <a:gd name="connsiteY55-112" fmla="*/ 1608879 h 5418879"/>
              <a:gd name="connsiteX56-113" fmla="*/ 6451306 w 10693106"/>
              <a:gd name="connsiteY56-114" fmla="*/ 1820546 h 5418879"/>
              <a:gd name="connsiteX57-115" fmla="*/ 6519040 w 10693106"/>
              <a:gd name="connsiteY57-116" fmla="*/ 1829013 h 5418879"/>
              <a:gd name="connsiteX58-117" fmla="*/ 6603706 w 10693106"/>
              <a:gd name="connsiteY58-118" fmla="*/ 1862879 h 5418879"/>
              <a:gd name="connsiteX59-119" fmla="*/ 6671440 w 10693106"/>
              <a:gd name="connsiteY59-120" fmla="*/ 1896746 h 5418879"/>
              <a:gd name="connsiteX60-121" fmla="*/ 6866173 w 10693106"/>
              <a:gd name="connsiteY60-122" fmla="*/ 1922146 h 5418879"/>
              <a:gd name="connsiteX61-123" fmla="*/ 7196373 w 10693106"/>
              <a:gd name="connsiteY61-124" fmla="*/ 1905213 h 5418879"/>
              <a:gd name="connsiteX62-125" fmla="*/ 7509640 w 10693106"/>
              <a:gd name="connsiteY62-126" fmla="*/ 1829013 h 5418879"/>
              <a:gd name="connsiteX63-127" fmla="*/ 7628173 w 10693106"/>
              <a:gd name="connsiteY63-128" fmla="*/ 1803613 h 5418879"/>
              <a:gd name="connsiteX64-129" fmla="*/ 7704373 w 10693106"/>
              <a:gd name="connsiteY64-130" fmla="*/ 1761279 h 5418879"/>
              <a:gd name="connsiteX65-131" fmla="*/ 7755173 w 10693106"/>
              <a:gd name="connsiteY65-132" fmla="*/ 1752813 h 5418879"/>
              <a:gd name="connsiteX66-133" fmla="*/ 7797506 w 10693106"/>
              <a:gd name="connsiteY66-134" fmla="*/ 1718946 h 5418879"/>
              <a:gd name="connsiteX67-135" fmla="*/ 7856773 w 10693106"/>
              <a:gd name="connsiteY67-136" fmla="*/ 1702013 h 5418879"/>
              <a:gd name="connsiteX68-137" fmla="*/ 7958373 w 10693106"/>
              <a:gd name="connsiteY68-138" fmla="*/ 1634279 h 5418879"/>
              <a:gd name="connsiteX69-139" fmla="*/ 8009173 w 10693106"/>
              <a:gd name="connsiteY69-140" fmla="*/ 1583479 h 5418879"/>
              <a:gd name="connsiteX70-141" fmla="*/ 8339373 w 10693106"/>
              <a:gd name="connsiteY70-142" fmla="*/ 1337946 h 5418879"/>
              <a:gd name="connsiteX71-143" fmla="*/ 8576440 w 10693106"/>
              <a:gd name="connsiteY71-144" fmla="*/ 1083946 h 5418879"/>
              <a:gd name="connsiteX72-145" fmla="*/ 8652640 w 10693106"/>
              <a:gd name="connsiteY72-146" fmla="*/ 804546 h 5418879"/>
              <a:gd name="connsiteX73-147" fmla="*/ 8847373 w 10693106"/>
              <a:gd name="connsiteY73-148" fmla="*/ 618279 h 5418879"/>
              <a:gd name="connsiteX74-149" fmla="*/ 8982840 w 10693106"/>
              <a:gd name="connsiteY74-150" fmla="*/ 525146 h 5418879"/>
              <a:gd name="connsiteX75-151" fmla="*/ 9084440 w 10693106"/>
              <a:gd name="connsiteY75-152" fmla="*/ 491279 h 5418879"/>
              <a:gd name="connsiteX76-153" fmla="*/ 9152173 w 10693106"/>
              <a:gd name="connsiteY76-154" fmla="*/ 465879 h 5418879"/>
              <a:gd name="connsiteX77-155" fmla="*/ 9380773 w 10693106"/>
              <a:gd name="connsiteY77-156" fmla="*/ 482813 h 5418879"/>
              <a:gd name="connsiteX78-157" fmla="*/ 9744840 w 10693106"/>
              <a:gd name="connsiteY78-158" fmla="*/ 592879 h 5418879"/>
              <a:gd name="connsiteX79-159" fmla="*/ 9888773 w 10693106"/>
              <a:gd name="connsiteY79-160" fmla="*/ 635213 h 5418879"/>
              <a:gd name="connsiteX80-161" fmla="*/ 9998840 w 10693106"/>
              <a:gd name="connsiteY80-162" fmla="*/ 686013 h 5418879"/>
              <a:gd name="connsiteX81-163" fmla="*/ 10083506 w 10693106"/>
              <a:gd name="connsiteY81-164" fmla="*/ 745279 h 5418879"/>
              <a:gd name="connsiteX82-165" fmla="*/ 10286706 w 10693106"/>
              <a:gd name="connsiteY82-166" fmla="*/ 813013 h 5418879"/>
              <a:gd name="connsiteX83-167" fmla="*/ 10388306 w 10693106"/>
              <a:gd name="connsiteY83-168" fmla="*/ 1016213 h 5418879"/>
              <a:gd name="connsiteX84-169" fmla="*/ 10540706 w 10693106"/>
              <a:gd name="connsiteY84-170" fmla="*/ 1388746 h 5418879"/>
              <a:gd name="connsiteX85-171" fmla="*/ 10557640 w 10693106"/>
              <a:gd name="connsiteY85-172" fmla="*/ 1473413 h 5418879"/>
              <a:gd name="connsiteX86-173" fmla="*/ 10583040 w 10693106"/>
              <a:gd name="connsiteY86-174" fmla="*/ 1575013 h 5418879"/>
              <a:gd name="connsiteX87-175" fmla="*/ 10616906 w 10693106"/>
              <a:gd name="connsiteY87-176" fmla="*/ 1778213 h 5418879"/>
              <a:gd name="connsiteX88-177" fmla="*/ 10633840 w 10693106"/>
              <a:gd name="connsiteY88-178" fmla="*/ 1862879 h 5418879"/>
              <a:gd name="connsiteX89-179" fmla="*/ 10650773 w 10693106"/>
              <a:gd name="connsiteY89-180" fmla="*/ 1896746 h 5418879"/>
              <a:gd name="connsiteX90-181" fmla="*/ 10676173 w 10693106"/>
              <a:gd name="connsiteY90-182" fmla="*/ 1981413 h 5418879"/>
              <a:gd name="connsiteX91-183" fmla="*/ 10693106 w 10693106"/>
              <a:gd name="connsiteY91-184" fmla="*/ 2133813 h 5418879"/>
              <a:gd name="connsiteX92-185" fmla="*/ 10625373 w 10693106"/>
              <a:gd name="connsiteY92-186" fmla="*/ 2353946 h 5418879"/>
              <a:gd name="connsiteX93-187" fmla="*/ 10608440 w 10693106"/>
              <a:gd name="connsiteY93-188" fmla="*/ 2379346 h 5418879"/>
              <a:gd name="connsiteX94-189" fmla="*/ 10540706 w 10693106"/>
              <a:gd name="connsiteY94-190" fmla="*/ 2523279 h 5418879"/>
              <a:gd name="connsiteX95-191" fmla="*/ 10498373 w 10693106"/>
              <a:gd name="connsiteY95-192" fmla="*/ 2607946 h 5418879"/>
              <a:gd name="connsiteX96-193" fmla="*/ 10439106 w 10693106"/>
              <a:gd name="connsiteY96-194" fmla="*/ 2794213 h 5418879"/>
              <a:gd name="connsiteX97-195" fmla="*/ 10430640 w 10693106"/>
              <a:gd name="connsiteY97-196" fmla="*/ 2836546 h 5418879"/>
              <a:gd name="connsiteX98-197" fmla="*/ 10405240 w 10693106"/>
              <a:gd name="connsiteY98-198" fmla="*/ 2912746 h 5418879"/>
              <a:gd name="connsiteX99-199" fmla="*/ 10396773 w 10693106"/>
              <a:gd name="connsiteY99-200" fmla="*/ 2946613 h 5418879"/>
              <a:gd name="connsiteX100-201" fmla="*/ 10362906 w 10693106"/>
              <a:gd name="connsiteY100-202" fmla="*/ 3039746 h 5418879"/>
              <a:gd name="connsiteX101-203" fmla="*/ 10329040 w 10693106"/>
              <a:gd name="connsiteY101-204" fmla="*/ 3082079 h 5418879"/>
              <a:gd name="connsiteX102-205" fmla="*/ 10227440 w 10693106"/>
              <a:gd name="connsiteY102-206" fmla="*/ 3183679 h 5418879"/>
              <a:gd name="connsiteX103-207" fmla="*/ 10168173 w 10693106"/>
              <a:gd name="connsiteY103-208" fmla="*/ 3251413 h 5418879"/>
              <a:gd name="connsiteX104-209" fmla="*/ 10117373 w 10693106"/>
              <a:gd name="connsiteY104-210" fmla="*/ 3302213 h 5418879"/>
              <a:gd name="connsiteX105-211" fmla="*/ 10032706 w 10693106"/>
              <a:gd name="connsiteY105-212" fmla="*/ 3403813 h 5418879"/>
              <a:gd name="connsiteX106-213" fmla="*/ 9948040 w 10693106"/>
              <a:gd name="connsiteY106-214" fmla="*/ 3463079 h 5418879"/>
              <a:gd name="connsiteX107-215" fmla="*/ 9905706 w 10693106"/>
              <a:gd name="connsiteY107-216" fmla="*/ 3488479 h 5418879"/>
              <a:gd name="connsiteX108-217" fmla="*/ 9829506 w 10693106"/>
              <a:gd name="connsiteY108-218" fmla="*/ 3505413 h 5418879"/>
              <a:gd name="connsiteX109-219" fmla="*/ 9727906 w 10693106"/>
              <a:gd name="connsiteY109-220" fmla="*/ 3547746 h 5418879"/>
              <a:gd name="connsiteX110-221" fmla="*/ 9634773 w 10693106"/>
              <a:gd name="connsiteY110-222" fmla="*/ 3573146 h 5418879"/>
              <a:gd name="connsiteX111-223" fmla="*/ 9456973 w 10693106"/>
              <a:gd name="connsiteY111-224" fmla="*/ 3666279 h 5418879"/>
              <a:gd name="connsiteX112-225" fmla="*/ 9313040 w 10693106"/>
              <a:gd name="connsiteY112-226" fmla="*/ 3793279 h 5418879"/>
              <a:gd name="connsiteX113-227" fmla="*/ 9279173 w 10693106"/>
              <a:gd name="connsiteY113-228" fmla="*/ 3810213 h 5418879"/>
              <a:gd name="connsiteX114-229" fmla="*/ 9067506 w 10693106"/>
              <a:gd name="connsiteY114-230" fmla="*/ 3988013 h 5418879"/>
              <a:gd name="connsiteX115-231" fmla="*/ 8999773 w 10693106"/>
              <a:gd name="connsiteY115-232" fmla="*/ 4055746 h 5418879"/>
              <a:gd name="connsiteX116-233" fmla="*/ 8813506 w 10693106"/>
              <a:gd name="connsiteY116-234" fmla="*/ 4191213 h 5418879"/>
              <a:gd name="connsiteX117-235" fmla="*/ 8728840 w 10693106"/>
              <a:gd name="connsiteY117-236" fmla="*/ 4233546 h 5418879"/>
              <a:gd name="connsiteX118-237" fmla="*/ 8373240 w 10693106"/>
              <a:gd name="connsiteY118-238" fmla="*/ 4267413 h 5418879"/>
              <a:gd name="connsiteX119-239" fmla="*/ 7966840 w 10693106"/>
              <a:gd name="connsiteY119-240" fmla="*/ 4360546 h 5418879"/>
              <a:gd name="connsiteX120-241" fmla="*/ 7687440 w 10693106"/>
              <a:gd name="connsiteY120-242" fmla="*/ 4521413 h 5418879"/>
              <a:gd name="connsiteX121-243" fmla="*/ 7551973 w 10693106"/>
              <a:gd name="connsiteY121-244" fmla="*/ 4606079 h 5418879"/>
              <a:gd name="connsiteX122-245" fmla="*/ 7374173 w 10693106"/>
              <a:gd name="connsiteY122-246" fmla="*/ 4783879 h 5418879"/>
              <a:gd name="connsiteX123-247" fmla="*/ 7374173 w 10693106"/>
              <a:gd name="connsiteY123-248" fmla="*/ 4783879 h 5418879"/>
              <a:gd name="connsiteX124-249" fmla="*/ 7221773 w 10693106"/>
              <a:gd name="connsiteY124-250" fmla="*/ 4902413 h 5418879"/>
              <a:gd name="connsiteX125-251" fmla="*/ 7027040 w 10693106"/>
              <a:gd name="connsiteY125-252" fmla="*/ 5029413 h 5418879"/>
              <a:gd name="connsiteX126-253" fmla="*/ 6883106 w 10693106"/>
              <a:gd name="connsiteY126-254" fmla="*/ 5097146 h 5418879"/>
              <a:gd name="connsiteX127-255" fmla="*/ 6815373 w 10693106"/>
              <a:gd name="connsiteY127-256" fmla="*/ 5139479 h 5418879"/>
              <a:gd name="connsiteX128-257" fmla="*/ 6646040 w 10693106"/>
              <a:gd name="connsiteY128-258" fmla="*/ 5232613 h 5418879"/>
              <a:gd name="connsiteX129-259" fmla="*/ 6527506 w 10693106"/>
              <a:gd name="connsiteY129-260" fmla="*/ 5291879 h 5418879"/>
              <a:gd name="connsiteX130-261" fmla="*/ 6298906 w 10693106"/>
              <a:gd name="connsiteY130-262" fmla="*/ 5368079 h 5418879"/>
              <a:gd name="connsiteX131-263" fmla="*/ 6197306 w 10693106"/>
              <a:gd name="connsiteY131-264" fmla="*/ 5393479 h 5418879"/>
              <a:gd name="connsiteX132-265" fmla="*/ 6061840 w 10693106"/>
              <a:gd name="connsiteY132-266" fmla="*/ 5401946 h 5418879"/>
              <a:gd name="connsiteX133-267" fmla="*/ 5917906 w 10693106"/>
              <a:gd name="connsiteY133-268" fmla="*/ 5418879 h 5418879"/>
              <a:gd name="connsiteX134-269" fmla="*/ 5748573 w 10693106"/>
              <a:gd name="connsiteY134-270" fmla="*/ 5410413 h 5418879"/>
              <a:gd name="connsiteX135-271" fmla="*/ 5282906 w 10693106"/>
              <a:gd name="connsiteY135-272" fmla="*/ 5300346 h 5418879"/>
              <a:gd name="connsiteX136-273" fmla="*/ 5138973 w 10693106"/>
              <a:gd name="connsiteY136-274" fmla="*/ 5198746 h 5418879"/>
              <a:gd name="connsiteX137-275" fmla="*/ 5020440 w 10693106"/>
              <a:gd name="connsiteY137-276" fmla="*/ 5046346 h 5418879"/>
              <a:gd name="connsiteX138-277" fmla="*/ 4952706 w 10693106"/>
              <a:gd name="connsiteY138-278" fmla="*/ 4970146 h 5418879"/>
              <a:gd name="connsiteX139-279" fmla="*/ 4884973 w 10693106"/>
              <a:gd name="connsiteY139-280" fmla="*/ 4902413 h 5418879"/>
              <a:gd name="connsiteX140-281" fmla="*/ 4732573 w 10693106"/>
              <a:gd name="connsiteY140-282" fmla="*/ 4724613 h 5418879"/>
              <a:gd name="connsiteX141-283" fmla="*/ 4673306 w 10693106"/>
              <a:gd name="connsiteY141-284" fmla="*/ 4656879 h 5418879"/>
              <a:gd name="connsiteX142-285" fmla="*/ 4487040 w 10693106"/>
              <a:gd name="connsiteY142-286" fmla="*/ 4529879 h 5418879"/>
              <a:gd name="connsiteX143-287" fmla="*/ 4427773 w 10693106"/>
              <a:gd name="connsiteY143-288" fmla="*/ 4496013 h 5418879"/>
              <a:gd name="connsiteX144-289" fmla="*/ 4343106 w 10693106"/>
              <a:gd name="connsiteY144-290" fmla="*/ 4462146 h 5418879"/>
              <a:gd name="connsiteX145-291" fmla="*/ 4224573 w 10693106"/>
              <a:gd name="connsiteY145-292" fmla="*/ 4385946 h 5418879"/>
              <a:gd name="connsiteX146-293" fmla="*/ 4156840 w 10693106"/>
              <a:gd name="connsiteY146-294" fmla="*/ 4326679 h 5418879"/>
              <a:gd name="connsiteX147-295" fmla="*/ 4021373 w 10693106"/>
              <a:gd name="connsiteY147-296" fmla="*/ 4182746 h 5418879"/>
              <a:gd name="connsiteX148-297" fmla="*/ 3919773 w 10693106"/>
              <a:gd name="connsiteY148-298" fmla="*/ 4047279 h 5418879"/>
              <a:gd name="connsiteX149-299" fmla="*/ 3877440 w 10693106"/>
              <a:gd name="connsiteY149-300" fmla="*/ 3750946 h 5418879"/>
              <a:gd name="connsiteX150-301" fmla="*/ 3852040 w 10693106"/>
              <a:gd name="connsiteY150-302" fmla="*/ 3657813 h 5418879"/>
              <a:gd name="connsiteX151-303" fmla="*/ 3801240 w 10693106"/>
              <a:gd name="connsiteY151-304" fmla="*/ 3547746 h 5418879"/>
              <a:gd name="connsiteX152-305" fmla="*/ 3733506 w 10693106"/>
              <a:gd name="connsiteY152-306" fmla="*/ 3446146 h 5418879"/>
              <a:gd name="connsiteX153-307" fmla="*/ 3242440 w 10693106"/>
              <a:gd name="connsiteY153-308" fmla="*/ 3226013 h 5418879"/>
              <a:gd name="connsiteX154-309" fmla="*/ 3123906 w 10693106"/>
              <a:gd name="connsiteY154-310" fmla="*/ 3124413 h 5418879"/>
              <a:gd name="connsiteX155-311" fmla="*/ 2988440 w 10693106"/>
              <a:gd name="connsiteY155-312" fmla="*/ 2929679 h 5418879"/>
              <a:gd name="connsiteX156-313" fmla="*/ 2971506 w 10693106"/>
              <a:gd name="connsiteY156-314" fmla="*/ 2870413 h 5418879"/>
              <a:gd name="connsiteX157-315" fmla="*/ 2996906 w 10693106"/>
              <a:gd name="connsiteY157-316" fmla="*/ 2658746 h 5418879"/>
              <a:gd name="connsiteX158-317" fmla="*/ 3013840 w 10693106"/>
              <a:gd name="connsiteY158-318" fmla="*/ 2557146 h 5418879"/>
              <a:gd name="connsiteX159-319" fmla="*/ 3005373 w 10693106"/>
              <a:gd name="connsiteY159-320" fmla="*/ 2438613 h 5418879"/>
              <a:gd name="connsiteX160-321" fmla="*/ 2988440 w 10693106"/>
              <a:gd name="connsiteY160-322" fmla="*/ 2387813 h 5418879"/>
              <a:gd name="connsiteX161-323" fmla="*/ 2802173 w 10693106"/>
              <a:gd name="connsiteY161-324" fmla="*/ 2133813 h 5418879"/>
              <a:gd name="connsiteX162-325" fmla="*/ 2641306 w 10693106"/>
              <a:gd name="connsiteY162-326" fmla="*/ 1989879 h 5418879"/>
              <a:gd name="connsiteX163-327" fmla="*/ 2590506 w 10693106"/>
              <a:gd name="connsiteY163-328" fmla="*/ 1964479 h 5418879"/>
              <a:gd name="connsiteX164-329" fmla="*/ 2531240 w 10693106"/>
              <a:gd name="connsiteY164-330" fmla="*/ 1956013 h 5418879"/>
              <a:gd name="connsiteX165-331" fmla="*/ 2446573 w 10693106"/>
              <a:gd name="connsiteY165-332" fmla="*/ 1939079 h 5418879"/>
              <a:gd name="connsiteX166-333" fmla="*/ 2251840 w 10693106"/>
              <a:gd name="connsiteY166-334" fmla="*/ 1964479 h 5418879"/>
              <a:gd name="connsiteX167-335" fmla="*/ 2167173 w 10693106"/>
              <a:gd name="connsiteY167-336" fmla="*/ 2006813 h 5418879"/>
              <a:gd name="connsiteX168-337" fmla="*/ 1980906 w 10693106"/>
              <a:gd name="connsiteY168-338" fmla="*/ 2066079 h 5418879"/>
              <a:gd name="connsiteX169-339" fmla="*/ 1904706 w 10693106"/>
              <a:gd name="connsiteY169-340" fmla="*/ 2099946 h 5418879"/>
              <a:gd name="connsiteX170-341" fmla="*/ 1828506 w 10693106"/>
              <a:gd name="connsiteY170-342" fmla="*/ 2116879 h 5418879"/>
              <a:gd name="connsiteX171-343" fmla="*/ 1726906 w 10693106"/>
              <a:gd name="connsiteY171-344" fmla="*/ 2167679 h 5418879"/>
              <a:gd name="connsiteX172-345" fmla="*/ 1659173 w 10693106"/>
              <a:gd name="connsiteY172-346" fmla="*/ 2201546 h 5418879"/>
              <a:gd name="connsiteX173-347" fmla="*/ 1498306 w 10693106"/>
              <a:gd name="connsiteY173-348" fmla="*/ 2226946 h 5418879"/>
              <a:gd name="connsiteX174-349" fmla="*/ 914106 w 10693106"/>
              <a:gd name="connsiteY174-350" fmla="*/ 2159213 h 5418879"/>
              <a:gd name="connsiteX175-351" fmla="*/ 617773 w 10693106"/>
              <a:gd name="connsiteY175-352" fmla="*/ 2049146 h 5418879"/>
              <a:gd name="connsiteX176-353" fmla="*/ 516173 w 10693106"/>
              <a:gd name="connsiteY176-354" fmla="*/ 1964479 h 5418879"/>
              <a:gd name="connsiteX177-355" fmla="*/ 355306 w 10693106"/>
              <a:gd name="connsiteY177-356" fmla="*/ 1752813 h 5418879"/>
              <a:gd name="connsiteX178-357" fmla="*/ 296040 w 10693106"/>
              <a:gd name="connsiteY178-358" fmla="*/ 1651213 h 5418879"/>
              <a:gd name="connsiteX179-359" fmla="*/ 253706 w 10693106"/>
              <a:gd name="connsiteY179-360" fmla="*/ 1473413 h 5418879"/>
              <a:gd name="connsiteX180-361" fmla="*/ 245240 w 10693106"/>
              <a:gd name="connsiteY180-362" fmla="*/ 1346413 h 5418879"/>
              <a:gd name="connsiteX181-363" fmla="*/ 236773 w 10693106"/>
              <a:gd name="connsiteY181-364" fmla="*/ 1244813 h 5418879"/>
              <a:gd name="connsiteX182-365" fmla="*/ 245240 w 10693106"/>
              <a:gd name="connsiteY182-366" fmla="*/ 973879 h 5418879"/>
              <a:gd name="connsiteX183-367" fmla="*/ 236773 w 10693106"/>
              <a:gd name="connsiteY183-368" fmla="*/ 829946 h 5418879"/>
              <a:gd name="connsiteX184-369" fmla="*/ 109773 w 10693106"/>
              <a:gd name="connsiteY184-370" fmla="*/ 686013 h 5418879"/>
              <a:gd name="connsiteX185-371" fmla="*/ 58973 w 10693106"/>
              <a:gd name="connsiteY185-372" fmla="*/ 609813 h 5418879"/>
              <a:gd name="connsiteX186-373" fmla="*/ 16640 w 10693106"/>
              <a:gd name="connsiteY186-374" fmla="*/ 559013 h 5418879"/>
              <a:gd name="connsiteX187-375" fmla="*/ 8173 w 10693106"/>
              <a:gd name="connsiteY187-376" fmla="*/ 516679 h 5418879"/>
              <a:gd name="connsiteX188-377" fmla="*/ 16640 w 10693106"/>
              <a:gd name="connsiteY188-378" fmla="*/ 465879 h 5418879"/>
              <a:gd name="connsiteX0-379" fmla="*/ 16640 w 10693106"/>
              <a:gd name="connsiteY0-380" fmla="*/ 465879 h 5418879"/>
              <a:gd name="connsiteX1-381" fmla="*/ 58973 w 10693106"/>
              <a:gd name="connsiteY1-382" fmla="*/ 372746 h 5418879"/>
              <a:gd name="connsiteX2-383" fmla="*/ 109773 w 10693106"/>
              <a:gd name="connsiteY2-384" fmla="*/ 305013 h 5418879"/>
              <a:gd name="connsiteX3-385" fmla="*/ 202906 w 10693106"/>
              <a:gd name="connsiteY3-386" fmla="*/ 220346 h 5418879"/>
              <a:gd name="connsiteX4-387" fmla="*/ 236773 w 10693106"/>
              <a:gd name="connsiteY4-388" fmla="*/ 194946 h 5418879"/>
              <a:gd name="connsiteX5-389" fmla="*/ 346840 w 10693106"/>
              <a:gd name="connsiteY5-390" fmla="*/ 135679 h 5418879"/>
              <a:gd name="connsiteX6-391" fmla="*/ 397640 w 10693106"/>
              <a:gd name="connsiteY6-392" fmla="*/ 101813 h 5418879"/>
              <a:gd name="connsiteX7-393" fmla="*/ 456906 w 10693106"/>
              <a:gd name="connsiteY7-394" fmla="*/ 84879 h 5418879"/>
              <a:gd name="connsiteX8-395" fmla="*/ 482306 w 10693106"/>
              <a:gd name="connsiteY8-396" fmla="*/ 76413 h 5418879"/>
              <a:gd name="connsiteX9-397" fmla="*/ 812506 w 10693106"/>
              <a:gd name="connsiteY9-398" fmla="*/ 84879 h 5418879"/>
              <a:gd name="connsiteX10-399" fmla="*/ 1091906 w 10693106"/>
              <a:gd name="connsiteY10-400" fmla="*/ 127213 h 5418879"/>
              <a:gd name="connsiteX11-401" fmla="*/ 1235840 w 10693106"/>
              <a:gd name="connsiteY11-402" fmla="*/ 186479 h 5418879"/>
              <a:gd name="connsiteX12-403" fmla="*/ 1337440 w 10693106"/>
              <a:gd name="connsiteY12-404" fmla="*/ 262679 h 5418879"/>
              <a:gd name="connsiteX13-405" fmla="*/ 1422106 w 10693106"/>
              <a:gd name="connsiteY13-406" fmla="*/ 372746 h 5418879"/>
              <a:gd name="connsiteX14-407" fmla="*/ 1481373 w 10693106"/>
              <a:gd name="connsiteY14-408" fmla="*/ 440479 h 5418879"/>
              <a:gd name="connsiteX15-409" fmla="*/ 1532173 w 10693106"/>
              <a:gd name="connsiteY15-410" fmla="*/ 474346 h 5418879"/>
              <a:gd name="connsiteX16-411" fmla="*/ 1684573 w 10693106"/>
              <a:gd name="connsiteY16-412" fmla="*/ 533613 h 5418879"/>
              <a:gd name="connsiteX17-413" fmla="*/ 1760773 w 10693106"/>
              <a:gd name="connsiteY17-414" fmla="*/ 550546 h 5418879"/>
              <a:gd name="connsiteX18-415" fmla="*/ 1997840 w 10693106"/>
              <a:gd name="connsiteY18-416" fmla="*/ 542079 h 5418879"/>
              <a:gd name="connsiteX19-417" fmla="*/ 2116373 w 10693106"/>
              <a:gd name="connsiteY19-418" fmla="*/ 525146 h 5418879"/>
              <a:gd name="connsiteX20-419" fmla="*/ 2260306 w 10693106"/>
              <a:gd name="connsiteY20-420" fmla="*/ 508213 h 5418879"/>
              <a:gd name="connsiteX21-421" fmla="*/ 2404240 w 10693106"/>
              <a:gd name="connsiteY21-422" fmla="*/ 482813 h 5418879"/>
              <a:gd name="connsiteX22-423" fmla="*/ 2455040 w 10693106"/>
              <a:gd name="connsiteY22-424" fmla="*/ 457413 h 5418879"/>
              <a:gd name="connsiteX23-425" fmla="*/ 2531240 w 10693106"/>
              <a:gd name="connsiteY23-426" fmla="*/ 432013 h 5418879"/>
              <a:gd name="connsiteX24-427" fmla="*/ 2683640 w 10693106"/>
              <a:gd name="connsiteY24-428" fmla="*/ 305013 h 5418879"/>
              <a:gd name="connsiteX25-429" fmla="*/ 2768306 w 10693106"/>
              <a:gd name="connsiteY25-430" fmla="*/ 237279 h 5418879"/>
              <a:gd name="connsiteX26-431" fmla="*/ 2836040 w 10693106"/>
              <a:gd name="connsiteY26-432" fmla="*/ 178013 h 5418879"/>
              <a:gd name="connsiteX27-433" fmla="*/ 2929173 w 10693106"/>
              <a:gd name="connsiteY27-434" fmla="*/ 127213 h 5418879"/>
              <a:gd name="connsiteX28-435" fmla="*/ 3064640 w 10693106"/>
              <a:gd name="connsiteY28-436" fmla="*/ 42546 h 5418879"/>
              <a:gd name="connsiteX29-437" fmla="*/ 3132373 w 10693106"/>
              <a:gd name="connsiteY29-438" fmla="*/ 143760 h 5418879"/>
              <a:gd name="connsiteX30-439" fmla="*/ 3459878 w 10693106"/>
              <a:gd name="connsiteY30-440" fmla="*/ 97579 h 5418879"/>
              <a:gd name="connsiteX31-441" fmla="*/ 3606506 w 10693106"/>
              <a:gd name="connsiteY31-442" fmla="*/ 213 h 5418879"/>
              <a:gd name="connsiteX32-443" fmla="*/ 3708106 w 10693106"/>
              <a:gd name="connsiteY32-444" fmla="*/ 59479 h 5418879"/>
              <a:gd name="connsiteX33-445" fmla="*/ 3741973 w 10693106"/>
              <a:gd name="connsiteY33-446" fmla="*/ 67946 h 5418879"/>
              <a:gd name="connsiteX34-447" fmla="*/ 3818173 w 10693106"/>
              <a:gd name="connsiteY34-448" fmla="*/ 127213 h 5418879"/>
              <a:gd name="connsiteX35-449" fmla="*/ 3852040 w 10693106"/>
              <a:gd name="connsiteY35-450" fmla="*/ 152613 h 5418879"/>
              <a:gd name="connsiteX36-451" fmla="*/ 3885906 w 10693106"/>
              <a:gd name="connsiteY36-452" fmla="*/ 169546 h 5418879"/>
              <a:gd name="connsiteX37-453" fmla="*/ 3945173 w 10693106"/>
              <a:gd name="connsiteY37-454" fmla="*/ 211879 h 5418879"/>
              <a:gd name="connsiteX38-455" fmla="*/ 3995973 w 10693106"/>
              <a:gd name="connsiteY38-456" fmla="*/ 237279 h 5418879"/>
              <a:gd name="connsiteX39-457" fmla="*/ 4021373 w 10693106"/>
              <a:gd name="connsiteY39-458" fmla="*/ 271146 h 5418879"/>
              <a:gd name="connsiteX40-459" fmla="*/ 4055240 w 10693106"/>
              <a:gd name="connsiteY40-460" fmla="*/ 279613 h 5418879"/>
              <a:gd name="connsiteX41-461" fmla="*/ 4275373 w 10693106"/>
              <a:gd name="connsiteY41-462" fmla="*/ 321946 h 5418879"/>
              <a:gd name="connsiteX42-463" fmla="*/ 4402373 w 10693106"/>
              <a:gd name="connsiteY42-464" fmla="*/ 355813 h 5418879"/>
              <a:gd name="connsiteX43-465" fmla="*/ 4529373 w 10693106"/>
              <a:gd name="connsiteY43-466" fmla="*/ 398146 h 5418879"/>
              <a:gd name="connsiteX44-467" fmla="*/ 4859573 w 10693106"/>
              <a:gd name="connsiteY44-468" fmla="*/ 474346 h 5418879"/>
              <a:gd name="connsiteX45-469" fmla="*/ 5045840 w 10693106"/>
              <a:gd name="connsiteY45-470" fmla="*/ 550546 h 5418879"/>
              <a:gd name="connsiteX46-471" fmla="*/ 5325240 w 10693106"/>
              <a:gd name="connsiteY46-472" fmla="*/ 711413 h 5418879"/>
              <a:gd name="connsiteX47-473" fmla="*/ 5494573 w 10693106"/>
              <a:gd name="connsiteY47-474" fmla="*/ 863813 h 5418879"/>
              <a:gd name="connsiteX48-475" fmla="*/ 5562306 w 10693106"/>
              <a:gd name="connsiteY48-476" fmla="*/ 940013 h 5418879"/>
              <a:gd name="connsiteX49-477" fmla="*/ 5621573 w 10693106"/>
              <a:gd name="connsiteY49-478" fmla="*/ 990813 h 5418879"/>
              <a:gd name="connsiteX50-479" fmla="*/ 5672373 w 10693106"/>
              <a:gd name="connsiteY50-480" fmla="*/ 1058546 h 5418879"/>
              <a:gd name="connsiteX51-481" fmla="*/ 5757040 w 10693106"/>
              <a:gd name="connsiteY51-482" fmla="*/ 1160146 h 5418879"/>
              <a:gd name="connsiteX52-483" fmla="*/ 5833240 w 10693106"/>
              <a:gd name="connsiteY52-484" fmla="*/ 1253279 h 5418879"/>
              <a:gd name="connsiteX53-485" fmla="*/ 6019506 w 10693106"/>
              <a:gd name="connsiteY53-486" fmla="*/ 1456479 h 5418879"/>
              <a:gd name="connsiteX54-487" fmla="*/ 6087240 w 10693106"/>
              <a:gd name="connsiteY54-488" fmla="*/ 1507279 h 5418879"/>
              <a:gd name="connsiteX55-489" fmla="*/ 6171906 w 10693106"/>
              <a:gd name="connsiteY55-490" fmla="*/ 1608879 h 5418879"/>
              <a:gd name="connsiteX56-491" fmla="*/ 6451306 w 10693106"/>
              <a:gd name="connsiteY56-492" fmla="*/ 1820546 h 5418879"/>
              <a:gd name="connsiteX57-493" fmla="*/ 6519040 w 10693106"/>
              <a:gd name="connsiteY57-494" fmla="*/ 1829013 h 5418879"/>
              <a:gd name="connsiteX58-495" fmla="*/ 6603706 w 10693106"/>
              <a:gd name="connsiteY58-496" fmla="*/ 1862879 h 5418879"/>
              <a:gd name="connsiteX59-497" fmla="*/ 6671440 w 10693106"/>
              <a:gd name="connsiteY59-498" fmla="*/ 1896746 h 5418879"/>
              <a:gd name="connsiteX60-499" fmla="*/ 6866173 w 10693106"/>
              <a:gd name="connsiteY60-500" fmla="*/ 1922146 h 5418879"/>
              <a:gd name="connsiteX61-501" fmla="*/ 7196373 w 10693106"/>
              <a:gd name="connsiteY61-502" fmla="*/ 1905213 h 5418879"/>
              <a:gd name="connsiteX62-503" fmla="*/ 7509640 w 10693106"/>
              <a:gd name="connsiteY62-504" fmla="*/ 1829013 h 5418879"/>
              <a:gd name="connsiteX63-505" fmla="*/ 7628173 w 10693106"/>
              <a:gd name="connsiteY63-506" fmla="*/ 1803613 h 5418879"/>
              <a:gd name="connsiteX64-507" fmla="*/ 7704373 w 10693106"/>
              <a:gd name="connsiteY64-508" fmla="*/ 1761279 h 5418879"/>
              <a:gd name="connsiteX65-509" fmla="*/ 7755173 w 10693106"/>
              <a:gd name="connsiteY65-510" fmla="*/ 1752813 h 5418879"/>
              <a:gd name="connsiteX66-511" fmla="*/ 7797506 w 10693106"/>
              <a:gd name="connsiteY66-512" fmla="*/ 1718946 h 5418879"/>
              <a:gd name="connsiteX67-513" fmla="*/ 7856773 w 10693106"/>
              <a:gd name="connsiteY67-514" fmla="*/ 1702013 h 5418879"/>
              <a:gd name="connsiteX68-515" fmla="*/ 7958373 w 10693106"/>
              <a:gd name="connsiteY68-516" fmla="*/ 1634279 h 5418879"/>
              <a:gd name="connsiteX69-517" fmla="*/ 8009173 w 10693106"/>
              <a:gd name="connsiteY69-518" fmla="*/ 1583479 h 5418879"/>
              <a:gd name="connsiteX70-519" fmla="*/ 8339373 w 10693106"/>
              <a:gd name="connsiteY70-520" fmla="*/ 1337946 h 5418879"/>
              <a:gd name="connsiteX71-521" fmla="*/ 8576440 w 10693106"/>
              <a:gd name="connsiteY71-522" fmla="*/ 1083946 h 5418879"/>
              <a:gd name="connsiteX72-523" fmla="*/ 8652640 w 10693106"/>
              <a:gd name="connsiteY72-524" fmla="*/ 804546 h 5418879"/>
              <a:gd name="connsiteX73-525" fmla="*/ 8847373 w 10693106"/>
              <a:gd name="connsiteY73-526" fmla="*/ 618279 h 5418879"/>
              <a:gd name="connsiteX74-527" fmla="*/ 8982840 w 10693106"/>
              <a:gd name="connsiteY74-528" fmla="*/ 525146 h 5418879"/>
              <a:gd name="connsiteX75-529" fmla="*/ 9084440 w 10693106"/>
              <a:gd name="connsiteY75-530" fmla="*/ 491279 h 5418879"/>
              <a:gd name="connsiteX76-531" fmla="*/ 9152173 w 10693106"/>
              <a:gd name="connsiteY76-532" fmla="*/ 465879 h 5418879"/>
              <a:gd name="connsiteX77-533" fmla="*/ 9380773 w 10693106"/>
              <a:gd name="connsiteY77-534" fmla="*/ 482813 h 5418879"/>
              <a:gd name="connsiteX78-535" fmla="*/ 9744840 w 10693106"/>
              <a:gd name="connsiteY78-536" fmla="*/ 592879 h 5418879"/>
              <a:gd name="connsiteX79-537" fmla="*/ 9888773 w 10693106"/>
              <a:gd name="connsiteY79-538" fmla="*/ 635213 h 5418879"/>
              <a:gd name="connsiteX80-539" fmla="*/ 9998840 w 10693106"/>
              <a:gd name="connsiteY80-540" fmla="*/ 686013 h 5418879"/>
              <a:gd name="connsiteX81-541" fmla="*/ 10083506 w 10693106"/>
              <a:gd name="connsiteY81-542" fmla="*/ 745279 h 5418879"/>
              <a:gd name="connsiteX82-543" fmla="*/ 10286706 w 10693106"/>
              <a:gd name="connsiteY82-544" fmla="*/ 813013 h 5418879"/>
              <a:gd name="connsiteX83-545" fmla="*/ 10388306 w 10693106"/>
              <a:gd name="connsiteY83-546" fmla="*/ 1016213 h 5418879"/>
              <a:gd name="connsiteX84-547" fmla="*/ 10540706 w 10693106"/>
              <a:gd name="connsiteY84-548" fmla="*/ 1388746 h 5418879"/>
              <a:gd name="connsiteX85-549" fmla="*/ 10557640 w 10693106"/>
              <a:gd name="connsiteY85-550" fmla="*/ 1473413 h 5418879"/>
              <a:gd name="connsiteX86-551" fmla="*/ 10583040 w 10693106"/>
              <a:gd name="connsiteY86-552" fmla="*/ 1575013 h 5418879"/>
              <a:gd name="connsiteX87-553" fmla="*/ 10616906 w 10693106"/>
              <a:gd name="connsiteY87-554" fmla="*/ 1778213 h 5418879"/>
              <a:gd name="connsiteX88-555" fmla="*/ 10633840 w 10693106"/>
              <a:gd name="connsiteY88-556" fmla="*/ 1862879 h 5418879"/>
              <a:gd name="connsiteX89-557" fmla="*/ 10650773 w 10693106"/>
              <a:gd name="connsiteY89-558" fmla="*/ 1896746 h 5418879"/>
              <a:gd name="connsiteX90-559" fmla="*/ 10676173 w 10693106"/>
              <a:gd name="connsiteY90-560" fmla="*/ 1981413 h 5418879"/>
              <a:gd name="connsiteX91-561" fmla="*/ 10693106 w 10693106"/>
              <a:gd name="connsiteY91-562" fmla="*/ 2133813 h 5418879"/>
              <a:gd name="connsiteX92-563" fmla="*/ 10625373 w 10693106"/>
              <a:gd name="connsiteY92-564" fmla="*/ 2353946 h 5418879"/>
              <a:gd name="connsiteX93-565" fmla="*/ 10608440 w 10693106"/>
              <a:gd name="connsiteY93-566" fmla="*/ 2379346 h 5418879"/>
              <a:gd name="connsiteX94-567" fmla="*/ 10540706 w 10693106"/>
              <a:gd name="connsiteY94-568" fmla="*/ 2523279 h 5418879"/>
              <a:gd name="connsiteX95-569" fmla="*/ 10498373 w 10693106"/>
              <a:gd name="connsiteY95-570" fmla="*/ 2607946 h 5418879"/>
              <a:gd name="connsiteX96-571" fmla="*/ 10439106 w 10693106"/>
              <a:gd name="connsiteY96-572" fmla="*/ 2794213 h 5418879"/>
              <a:gd name="connsiteX97-573" fmla="*/ 10430640 w 10693106"/>
              <a:gd name="connsiteY97-574" fmla="*/ 2836546 h 5418879"/>
              <a:gd name="connsiteX98-575" fmla="*/ 10405240 w 10693106"/>
              <a:gd name="connsiteY98-576" fmla="*/ 2912746 h 5418879"/>
              <a:gd name="connsiteX99-577" fmla="*/ 10396773 w 10693106"/>
              <a:gd name="connsiteY99-578" fmla="*/ 2946613 h 5418879"/>
              <a:gd name="connsiteX100-579" fmla="*/ 10362906 w 10693106"/>
              <a:gd name="connsiteY100-580" fmla="*/ 3039746 h 5418879"/>
              <a:gd name="connsiteX101-581" fmla="*/ 10329040 w 10693106"/>
              <a:gd name="connsiteY101-582" fmla="*/ 3082079 h 5418879"/>
              <a:gd name="connsiteX102-583" fmla="*/ 10227440 w 10693106"/>
              <a:gd name="connsiteY102-584" fmla="*/ 3183679 h 5418879"/>
              <a:gd name="connsiteX103-585" fmla="*/ 10168173 w 10693106"/>
              <a:gd name="connsiteY103-586" fmla="*/ 3251413 h 5418879"/>
              <a:gd name="connsiteX104-587" fmla="*/ 10117373 w 10693106"/>
              <a:gd name="connsiteY104-588" fmla="*/ 3302213 h 5418879"/>
              <a:gd name="connsiteX105-589" fmla="*/ 10032706 w 10693106"/>
              <a:gd name="connsiteY105-590" fmla="*/ 3403813 h 5418879"/>
              <a:gd name="connsiteX106-591" fmla="*/ 9948040 w 10693106"/>
              <a:gd name="connsiteY106-592" fmla="*/ 3463079 h 5418879"/>
              <a:gd name="connsiteX107-593" fmla="*/ 9905706 w 10693106"/>
              <a:gd name="connsiteY107-594" fmla="*/ 3488479 h 5418879"/>
              <a:gd name="connsiteX108-595" fmla="*/ 9829506 w 10693106"/>
              <a:gd name="connsiteY108-596" fmla="*/ 3505413 h 5418879"/>
              <a:gd name="connsiteX109-597" fmla="*/ 9727906 w 10693106"/>
              <a:gd name="connsiteY109-598" fmla="*/ 3547746 h 5418879"/>
              <a:gd name="connsiteX110-599" fmla="*/ 9634773 w 10693106"/>
              <a:gd name="connsiteY110-600" fmla="*/ 3573146 h 5418879"/>
              <a:gd name="connsiteX111-601" fmla="*/ 9456973 w 10693106"/>
              <a:gd name="connsiteY111-602" fmla="*/ 3666279 h 5418879"/>
              <a:gd name="connsiteX112-603" fmla="*/ 9313040 w 10693106"/>
              <a:gd name="connsiteY112-604" fmla="*/ 3793279 h 5418879"/>
              <a:gd name="connsiteX113-605" fmla="*/ 9279173 w 10693106"/>
              <a:gd name="connsiteY113-606" fmla="*/ 3810213 h 5418879"/>
              <a:gd name="connsiteX114-607" fmla="*/ 9067506 w 10693106"/>
              <a:gd name="connsiteY114-608" fmla="*/ 3988013 h 5418879"/>
              <a:gd name="connsiteX115-609" fmla="*/ 8999773 w 10693106"/>
              <a:gd name="connsiteY115-610" fmla="*/ 4055746 h 5418879"/>
              <a:gd name="connsiteX116-611" fmla="*/ 8813506 w 10693106"/>
              <a:gd name="connsiteY116-612" fmla="*/ 4191213 h 5418879"/>
              <a:gd name="connsiteX117-613" fmla="*/ 8728840 w 10693106"/>
              <a:gd name="connsiteY117-614" fmla="*/ 4233546 h 5418879"/>
              <a:gd name="connsiteX118-615" fmla="*/ 8373240 w 10693106"/>
              <a:gd name="connsiteY118-616" fmla="*/ 4267413 h 5418879"/>
              <a:gd name="connsiteX119-617" fmla="*/ 7966840 w 10693106"/>
              <a:gd name="connsiteY119-618" fmla="*/ 4360546 h 5418879"/>
              <a:gd name="connsiteX120-619" fmla="*/ 7687440 w 10693106"/>
              <a:gd name="connsiteY120-620" fmla="*/ 4521413 h 5418879"/>
              <a:gd name="connsiteX121-621" fmla="*/ 7551973 w 10693106"/>
              <a:gd name="connsiteY121-622" fmla="*/ 4606079 h 5418879"/>
              <a:gd name="connsiteX122-623" fmla="*/ 7374173 w 10693106"/>
              <a:gd name="connsiteY122-624" fmla="*/ 4783879 h 5418879"/>
              <a:gd name="connsiteX123-625" fmla="*/ 7374173 w 10693106"/>
              <a:gd name="connsiteY123-626" fmla="*/ 4783879 h 5418879"/>
              <a:gd name="connsiteX124-627" fmla="*/ 7221773 w 10693106"/>
              <a:gd name="connsiteY124-628" fmla="*/ 4902413 h 5418879"/>
              <a:gd name="connsiteX125-629" fmla="*/ 7027040 w 10693106"/>
              <a:gd name="connsiteY125-630" fmla="*/ 5029413 h 5418879"/>
              <a:gd name="connsiteX126-631" fmla="*/ 6883106 w 10693106"/>
              <a:gd name="connsiteY126-632" fmla="*/ 5097146 h 5418879"/>
              <a:gd name="connsiteX127-633" fmla="*/ 6815373 w 10693106"/>
              <a:gd name="connsiteY127-634" fmla="*/ 5139479 h 5418879"/>
              <a:gd name="connsiteX128-635" fmla="*/ 6646040 w 10693106"/>
              <a:gd name="connsiteY128-636" fmla="*/ 5232613 h 5418879"/>
              <a:gd name="connsiteX129-637" fmla="*/ 6527506 w 10693106"/>
              <a:gd name="connsiteY129-638" fmla="*/ 5291879 h 5418879"/>
              <a:gd name="connsiteX130-639" fmla="*/ 6298906 w 10693106"/>
              <a:gd name="connsiteY130-640" fmla="*/ 5368079 h 5418879"/>
              <a:gd name="connsiteX131-641" fmla="*/ 6197306 w 10693106"/>
              <a:gd name="connsiteY131-642" fmla="*/ 5393479 h 5418879"/>
              <a:gd name="connsiteX132-643" fmla="*/ 6061840 w 10693106"/>
              <a:gd name="connsiteY132-644" fmla="*/ 5401946 h 5418879"/>
              <a:gd name="connsiteX133-645" fmla="*/ 5917906 w 10693106"/>
              <a:gd name="connsiteY133-646" fmla="*/ 5418879 h 5418879"/>
              <a:gd name="connsiteX134-647" fmla="*/ 5748573 w 10693106"/>
              <a:gd name="connsiteY134-648" fmla="*/ 5410413 h 5418879"/>
              <a:gd name="connsiteX135-649" fmla="*/ 5282906 w 10693106"/>
              <a:gd name="connsiteY135-650" fmla="*/ 5300346 h 5418879"/>
              <a:gd name="connsiteX136-651" fmla="*/ 5138973 w 10693106"/>
              <a:gd name="connsiteY136-652" fmla="*/ 5198746 h 5418879"/>
              <a:gd name="connsiteX137-653" fmla="*/ 5020440 w 10693106"/>
              <a:gd name="connsiteY137-654" fmla="*/ 5046346 h 5418879"/>
              <a:gd name="connsiteX138-655" fmla="*/ 4952706 w 10693106"/>
              <a:gd name="connsiteY138-656" fmla="*/ 4970146 h 5418879"/>
              <a:gd name="connsiteX139-657" fmla="*/ 4884973 w 10693106"/>
              <a:gd name="connsiteY139-658" fmla="*/ 4902413 h 5418879"/>
              <a:gd name="connsiteX140-659" fmla="*/ 4732573 w 10693106"/>
              <a:gd name="connsiteY140-660" fmla="*/ 4724613 h 5418879"/>
              <a:gd name="connsiteX141-661" fmla="*/ 4673306 w 10693106"/>
              <a:gd name="connsiteY141-662" fmla="*/ 4656879 h 5418879"/>
              <a:gd name="connsiteX142-663" fmla="*/ 4487040 w 10693106"/>
              <a:gd name="connsiteY142-664" fmla="*/ 4529879 h 5418879"/>
              <a:gd name="connsiteX143-665" fmla="*/ 4427773 w 10693106"/>
              <a:gd name="connsiteY143-666" fmla="*/ 4496013 h 5418879"/>
              <a:gd name="connsiteX144-667" fmla="*/ 4343106 w 10693106"/>
              <a:gd name="connsiteY144-668" fmla="*/ 4462146 h 5418879"/>
              <a:gd name="connsiteX145-669" fmla="*/ 4224573 w 10693106"/>
              <a:gd name="connsiteY145-670" fmla="*/ 4385946 h 5418879"/>
              <a:gd name="connsiteX146-671" fmla="*/ 4156840 w 10693106"/>
              <a:gd name="connsiteY146-672" fmla="*/ 4326679 h 5418879"/>
              <a:gd name="connsiteX147-673" fmla="*/ 4021373 w 10693106"/>
              <a:gd name="connsiteY147-674" fmla="*/ 4182746 h 5418879"/>
              <a:gd name="connsiteX148-675" fmla="*/ 3919773 w 10693106"/>
              <a:gd name="connsiteY148-676" fmla="*/ 4047279 h 5418879"/>
              <a:gd name="connsiteX149-677" fmla="*/ 3877440 w 10693106"/>
              <a:gd name="connsiteY149-678" fmla="*/ 3750946 h 5418879"/>
              <a:gd name="connsiteX150-679" fmla="*/ 3852040 w 10693106"/>
              <a:gd name="connsiteY150-680" fmla="*/ 3657813 h 5418879"/>
              <a:gd name="connsiteX151-681" fmla="*/ 3801240 w 10693106"/>
              <a:gd name="connsiteY151-682" fmla="*/ 3547746 h 5418879"/>
              <a:gd name="connsiteX152-683" fmla="*/ 3733506 w 10693106"/>
              <a:gd name="connsiteY152-684" fmla="*/ 3446146 h 5418879"/>
              <a:gd name="connsiteX153-685" fmla="*/ 3242440 w 10693106"/>
              <a:gd name="connsiteY153-686" fmla="*/ 3226013 h 5418879"/>
              <a:gd name="connsiteX154-687" fmla="*/ 3123906 w 10693106"/>
              <a:gd name="connsiteY154-688" fmla="*/ 3124413 h 5418879"/>
              <a:gd name="connsiteX155-689" fmla="*/ 2988440 w 10693106"/>
              <a:gd name="connsiteY155-690" fmla="*/ 2929679 h 5418879"/>
              <a:gd name="connsiteX156-691" fmla="*/ 2971506 w 10693106"/>
              <a:gd name="connsiteY156-692" fmla="*/ 2870413 h 5418879"/>
              <a:gd name="connsiteX157-693" fmla="*/ 2996906 w 10693106"/>
              <a:gd name="connsiteY157-694" fmla="*/ 2658746 h 5418879"/>
              <a:gd name="connsiteX158-695" fmla="*/ 3013840 w 10693106"/>
              <a:gd name="connsiteY158-696" fmla="*/ 2557146 h 5418879"/>
              <a:gd name="connsiteX159-697" fmla="*/ 3005373 w 10693106"/>
              <a:gd name="connsiteY159-698" fmla="*/ 2438613 h 5418879"/>
              <a:gd name="connsiteX160-699" fmla="*/ 2988440 w 10693106"/>
              <a:gd name="connsiteY160-700" fmla="*/ 2387813 h 5418879"/>
              <a:gd name="connsiteX161-701" fmla="*/ 2802173 w 10693106"/>
              <a:gd name="connsiteY161-702" fmla="*/ 2133813 h 5418879"/>
              <a:gd name="connsiteX162-703" fmla="*/ 2641306 w 10693106"/>
              <a:gd name="connsiteY162-704" fmla="*/ 1989879 h 5418879"/>
              <a:gd name="connsiteX163-705" fmla="*/ 2590506 w 10693106"/>
              <a:gd name="connsiteY163-706" fmla="*/ 1964479 h 5418879"/>
              <a:gd name="connsiteX164-707" fmla="*/ 2531240 w 10693106"/>
              <a:gd name="connsiteY164-708" fmla="*/ 1956013 h 5418879"/>
              <a:gd name="connsiteX165-709" fmla="*/ 2446573 w 10693106"/>
              <a:gd name="connsiteY165-710" fmla="*/ 1939079 h 5418879"/>
              <a:gd name="connsiteX166-711" fmla="*/ 2251840 w 10693106"/>
              <a:gd name="connsiteY166-712" fmla="*/ 1964479 h 5418879"/>
              <a:gd name="connsiteX167-713" fmla="*/ 2167173 w 10693106"/>
              <a:gd name="connsiteY167-714" fmla="*/ 2006813 h 5418879"/>
              <a:gd name="connsiteX168-715" fmla="*/ 1980906 w 10693106"/>
              <a:gd name="connsiteY168-716" fmla="*/ 2066079 h 5418879"/>
              <a:gd name="connsiteX169-717" fmla="*/ 1904706 w 10693106"/>
              <a:gd name="connsiteY169-718" fmla="*/ 2099946 h 5418879"/>
              <a:gd name="connsiteX170-719" fmla="*/ 1828506 w 10693106"/>
              <a:gd name="connsiteY170-720" fmla="*/ 2116879 h 5418879"/>
              <a:gd name="connsiteX171-721" fmla="*/ 1726906 w 10693106"/>
              <a:gd name="connsiteY171-722" fmla="*/ 2167679 h 5418879"/>
              <a:gd name="connsiteX172-723" fmla="*/ 1659173 w 10693106"/>
              <a:gd name="connsiteY172-724" fmla="*/ 2201546 h 5418879"/>
              <a:gd name="connsiteX173-725" fmla="*/ 1498306 w 10693106"/>
              <a:gd name="connsiteY173-726" fmla="*/ 2226946 h 5418879"/>
              <a:gd name="connsiteX174-727" fmla="*/ 914106 w 10693106"/>
              <a:gd name="connsiteY174-728" fmla="*/ 2159213 h 5418879"/>
              <a:gd name="connsiteX175-729" fmla="*/ 617773 w 10693106"/>
              <a:gd name="connsiteY175-730" fmla="*/ 2049146 h 5418879"/>
              <a:gd name="connsiteX176-731" fmla="*/ 516173 w 10693106"/>
              <a:gd name="connsiteY176-732" fmla="*/ 1964479 h 5418879"/>
              <a:gd name="connsiteX177-733" fmla="*/ 355306 w 10693106"/>
              <a:gd name="connsiteY177-734" fmla="*/ 1752813 h 5418879"/>
              <a:gd name="connsiteX178-735" fmla="*/ 296040 w 10693106"/>
              <a:gd name="connsiteY178-736" fmla="*/ 1651213 h 5418879"/>
              <a:gd name="connsiteX179-737" fmla="*/ 253706 w 10693106"/>
              <a:gd name="connsiteY179-738" fmla="*/ 1473413 h 5418879"/>
              <a:gd name="connsiteX180-739" fmla="*/ 245240 w 10693106"/>
              <a:gd name="connsiteY180-740" fmla="*/ 1346413 h 5418879"/>
              <a:gd name="connsiteX181-741" fmla="*/ 236773 w 10693106"/>
              <a:gd name="connsiteY181-742" fmla="*/ 1244813 h 5418879"/>
              <a:gd name="connsiteX182-743" fmla="*/ 245240 w 10693106"/>
              <a:gd name="connsiteY182-744" fmla="*/ 973879 h 5418879"/>
              <a:gd name="connsiteX183-745" fmla="*/ 236773 w 10693106"/>
              <a:gd name="connsiteY183-746" fmla="*/ 829946 h 5418879"/>
              <a:gd name="connsiteX184-747" fmla="*/ 109773 w 10693106"/>
              <a:gd name="connsiteY184-748" fmla="*/ 686013 h 5418879"/>
              <a:gd name="connsiteX185-749" fmla="*/ 58973 w 10693106"/>
              <a:gd name="connsiteY185-750" fmla="*/ 609813 h 5418879"/>
              <a:gd name="connsiteX186-751" fmla="*/ 16640 w 10693106"/>
              <a:gd name="connsiteY186-752" fmla="*/ 559013 h 5418879"/>
              <a:gd name="connsiteX187-753" fmla="*/ 8173 w 10693106"/>
              <a:gd name="connsiteY187-754" fmla="*/ 516679 h 5418879"/>
              <a:gd name="connsiteX188-755" fmla="*/ 16640 w 10693106"/>
              <a:gd name="connsiteY188-756" fmla="*/ 465879 h 5418879"/>
              <a:gd name="connsiteX0-757" fmla="*/ 16640 w 10693106"/>
              <a:gd name="connsiteY0-758" fmla="*/ 423674 h 5376674"/>
              <a:gd name="connsiteX1-759" fmla="*/ 58973 w 10693106"/>
              <a:gd name="connsiteY1-760" fmla="*/ 330541 h 5376674"/>
              <a:gd name="connsiteX2-761" fmla="*/ 109773 w 10693106"/>
              <a:gd name="connsiteY2-762" fmla="*/ 262808 h 5376674"/>
              <a:gd name="connsiteX3-763" fmla="*/ 202906 w 10693106"/>
              <a:gd name="connsiteY3-764" fmla="*/ 178141 h 5376674"/>
              <a:gd name="connsiteX4-765" fmla="*/ 236773 w 10693106"/>
              <a:gd name="connsiteY4-766" fmla="*/ 152741 h 5376674"/>
              <a:gd name="connsiteX5-767" fmla="*/ 346840 w 10693106"/>
              <a:gd name="connsiteY5-768" fmla="*/ 93474 h 5376674"/>
              <a:gd name="connsiteX6-769" fmla="*/ 397640 w 10693106"/>
              <a:gd name="connsiteY6-770" fmla="*/ 59608 h 5376674"/>
              <a:gd name="connsiteX7-771" fmla="*/ 456906 w 10693106"/>
              <a:gd name="connsiteY7-772" fmla="*/ 42674 h 5376674"/>
              <a:gd name="connsiteX8-773" fmla="*/ 482306 w 10693106"/>
              <a:gd name="connsiteY8-774" fmla="*/ 34208 h 5376674"/>
              <a:gd name="connsiteX9-775" fmla="*/ 812506 w 10693106"/>
              <a:gd name="connsiteY9-776" fmla="*/ 42674 h 5376674"/>
              <a:gd name="connsiteX10-777" fmla="*/ 1091906 w 10693106"/>
              <a:gd name="connsiteY10-778" fmla="*/ 85008 h 5376674"/>
              <a:gd name="connsiteX11-779" fmla="*/ 1235840 w 10693106"/>
              <a:gd name="connsiteY11-780" fmla="*/ 144274 h 5376674"/>
              <a:gd name="connsiteX12-781" fmla="*/ 1337440 w 10693106"/>
              <a:gd name="connsiteY12-782" fmla="*/ 220474 h 5376674"/>
              <a:gd name="connsiteX13-783" fmla="*/ 1422106 w 10693106"/>
              <a:gd name="connsiteY13-784" fmla="*/ 330541 h 5376674"/>
              <a:gd name="connsiteX14-785" fmla="*/ 1481373 w 10693106"/>
              <a:gd name="connsiteY14-786" fmla="*/ 398274 h 5376674"/>
              <a:gd name="connsiteX15-787" fmla="*/ 1532173 w 10693106"/>
              <a:gd name="connsiteY15-788" fmla="*/ 432141 h 5376674"/>
              <a:gd name="connsiteX16-789" fmla="*/ 1684573 w 10693106"/>
              <a:gd name="connsiteY16-790" fmla="*/ 491408 h 5376674"/>
              <a:gd name="connsiteX17-791" fmla="*/ 1760773 w 10693106"/>
              <a:gd name="connsiteY17-792" fmla="*/ 508341 h 5376674"/>
              <a:gd name="connsiteX18-793" fmla="*/ 1997840 w 10693106"/>
              <a:gd name="connsiteY18-794" fmla="*/ 499874 h 5376674"/>
              <a:gd name="connsiteX19-795" fmla="*/ 2116373 w 10693106"/>
              <a:gd name="connsiteY19-796" fmla="*/ 482941 h 5376674"/>
              <a:gd name="connsiteX20-797" fmla="*/ 2260306 w 10693106"/>
              <a:gd name="connsiteY20-798" fmla="*/ 466008 h 5376674"/>
              <a:gd name="connsiteX21-799" fmla="*/ 2404240 w 10693106"/>
              <a:gd name="connsiteY21-800" fmla="*/ 440608 h 5376674"/>
              <a:gd name="connsiteX22-801" fmla="*/ 2455040 w 10693106"/>
              <a:gd name="connsiteY22-802" fmla="*/ 415208 h 5376674"/>
              <a:gd name="connsiteX23-803" fmla="*/ 2531240 w 10693106"/>
              <a:gd name="connsiteY23-804" fmla="*/ 389808 h 5376674"/>
              <a:gd name="connsiteX24-805" fmla="*/ 2683640 w 10693106"/>
              <a:gd name="connsiteY24-806" fmla="*/ 262808 h 5376674"/>
              <a:gd name="connsiteX25-807" fmla="*/ 2768306 w 10693106"/>
              <a:gd name="connsiteY25-808" fmla="*/ 195074 h 5376674"/>
              <a:gd name="connsiteX26-809" fmla="*/ 2836040 w 10693106"/>
              <a:gd name="connsiteY26-810" fmla="*/ 135808 h 5376674"/>
              <a:gd name="connsiteX27-811" fmla="*/ 2929173 w 10693106"/>
              <a:gd name="connsiteY27-812" fmla="*/ 85008 h 5376674"/>
              <a:gd name="connsiteX28-813" fmla="*/ 3064640 w 10693106"/>
              <a:gd name="connsiteY28-814" fmla="*/ 341 h 5376674"/>
              <a:gd name="connsiteX29-815" fmla="*/ 3132373 w 10693106"/>
              <a:gd name="connsiteY29-816" fmla="*/ 101555 h 5376674"/>
              <a:gd name="connsiteX30-817" fmla="*/ 3459878 w 10693106"/>
              <a:gd name="connsiteY30-818" fmla="*/ 55374 h 5376674"/>
              <a:gd name="connsiteX31-819" fmla="*/ 3606506 w 10693106"/>
              <a:gd name="connsiteY31-820" fmla="*/ 145045 h 5376674"/>
              <a:gd name="connsiteX32-821" fmla="*/ 3708106 w 10693106"/>
              <a:gd name="connsiteY32-822" fmla="*/ 17274 h 5376674"/>
              <a:gd name="connsiteX33-823" fmla="*/ 3741973 w 10693106"/>
              <a:gd name="connsiteY33-824" fmla="*/ 25741 h 5376674"/>
              <a:gd name="connsiteX34-825" fmla="*/ 3818173 w 10693106"/>
              <a:gd name="connsiteY34-826" fmla="*/ 85008 h 5376674"/>
              <a:gd name="connsiteX35-827" fmla="*/ 3852040 w 10693106"/>
              <a:gd name="connsiteY35-828" fmla="*/ 110408 h 5376674"/>
              <a:gd name="connsiteX36-829" fmla="*/ 3885906 w 10693106"/>
              <a:gd name="connsiteY36-830" fmla="*/ 127341 h 5376674"/>
              <a:gd name="connsiteX37-831" fmla="*/ 3945173 w 10693106"/>
              <a:gd name="connsiteY37-832" fmla="*/ 169674 h 5376674"/>
              <a:gd name="connsiteX38-833" fmla="*/ 3995973 w 10693106"/>
              <a:gd name="connsiteY38-834" fmla="*/ 195074 h 5376674"/>
              <a:gd name="connsiteX39-835" fmla="*/ 4021373 w 10693106"/>
              <a:gd name="connsiteY39-836" fmla="*/ 228941 h 5376674"/>
              <a:gd name="connsiteX40-837" fmla="*/ 4055240 w 10693106"/>
              <a:gd name="connsiteY40-838" fmla="*/ 237408 h 5376674"/>
              <a:gd name="connsiteX41-839" fmla="*/ 4275373 w 10693106"/>
              <a:gd name="connsiteY41-840" fmla="*/ 279741 h 5376674"/>
              <a:gd name="connsiteX42-841" fmla="*/ 4402373 w 10693106"/>
              <a:gd name="connsiteY42-842" fmla="*/ 313608 h 5376674"/>
              <a:gd name="connsiteX43-843" fmla="*/ 4529373 w 10693106"/>
              <a:gd name="connsiteY43-844" fmla="*/ 355941 h 5376674"/>
              <a:gd name="connsiteX44-845" fmla="*/ 4859573 w 10693106"/>
              <a:gd name="connsiteY44-846" fmla="*/ 432141 h 5376674"/>
              <a:gd name="connsiteX45-847" fmla="*/ 5045840 w 10693106"/>
              <a:gd name="connsiteY45-848" fmla="*/ 508341 h 5376674"/>
              <a:gd name="connsiteX46-849" fmla="*/ 5325240 w 10693106"/>
              <a:gd name="connsiteY46-850" fmla="*/ 669208 h 5376674"/>
              <a:gd name="connsiteX47-851" fmla="*/ 5494573 w 10693106"/>
              <a:gd name="connsiteY47-852" fmla="*/ 821608 h 5376674"/>
              <a:gd name="connsiteX48-853" fmla="*/ 5562306 w 10693106"/>
              <a:gd name="connsiteY48-854" fmla="*/ 897808 h 5376674"/>
              <a:gd name="connsiteX49-855" fmla="*/ 5621573 w 10693106"/>
              <a:gd name="connsiteY49-856" fmla="*/ 948608 h 5376674"/>
              <a:gd name="connsiteX50-857" fmla="*/ 5672373 w 10693106"/>
              <a:gd name="connsiteY50-858" fmla="*/ 1016341 h 5376674"/>
              <a:gd name="connsiteX51-859" fmla="*/ 5757040 w 10693106"/>
              <a:gd name="connsiteY51-860" fmla="*/ 1117941 h 5376674"/>
              <a:gd name="connsiteX52-861" fmla="*/ 5833240 w 10693106"/>
              <a:gd name="connsiteY52-862" fmla="*/ 1211074 h 5376674"/>
              <a:gd name="connsiteX53-863" fmla="*/ 6019506 w 10693106"/>
              <a:gd name="connsiteY53-864" fmla="*/ 1414274 h 5376674"/>
              <a:gd name="connsiteX54-865" fmla="*/ 6087240 w 10693106"/>
              <a:gd name="connsiteY54-866" fmla="*/ 1465074 h 5376674"/>
              <a:gd name="connsiteX55-867" fmla="*/ 6171906 w 10693106"/>
              <a:gd name="connsiteY55-868" fmla="*/ 1566674 h 5376674"/>
              <a:gd name="connsiteX56-869" fmla="*/ 6451306 w 10693106"/>
              <a:gd name="connsiteY56-870" fmla="*/ 1778341 h 5376674"/>
              <a:gd name="connsiteX57-871" fmla="*/ 6519040 w 10693106"/>
              <a:gd name="connsiteY57-872" fmla="*/ 1786808 h 5376674"/>
              <a:gd name="connsiteX58-873" fmla="*/ 6603706 w 10693106"/>
              <a:gd name="connsiteY58-874" fmla="*/ 1820674 h 5376674"/>
              <a:gd name="connsiteX59-875" fmla="*/ 6671440 w 10693106"/>
              <a:gd name="connsiteY59-876" fmla="*/ 1854541 h 5376674"/>
              <a:gd name="connsiteX60-877" fmla="*/ 6866173 w 10693106"/>
              <a:gd name="connsiteY60-878" fmla="*/ 1879941 h 5376674"/>
              <a:gd name="connsiteX61-879" fmla="*/ 7196373 w 10693106"/>
              <a:gd name="connsiteY61-880" fmla="*/ 1863008 h 5376674"/>
              <a:gd name="connsiteX62-881" fmla="*/ 7509640 w 10693106"/>
              <a:gd name="connsiteY62-882" fmla="*/ 1786808 h 5376674"/>
              <a:gd name="connsiteX63-883" fmla="*/ 7628173 w 10693106"/>
              <a:gd name="connsiteY63-884" fmla="*/ 1761408 h 5376674"/>
              <a:gd name="connsiteX64-885" fmla="*/ 7704373 w 10693106"/>
              <a:gd name="connsiteY64-886" fmla="*/ 1719074 h 5376674"/>
              <a:gd name="connsiteX65-887" fmla="*/ 7755173 w 10693106"/>
              <a:gd name="connsiteY65-888" fmla="*/ 1710608 h 5376674"/>
              <a:gd name="connsiteX66-889" fmla="*/ 7797506 w 10693106"/>
              <a:gd name="connsiteY66-890" fmla="*/ 1676741 h 5376674"/>
              <a:gd name="connsiteX67-891" fmla="*/ 7856773 w 10693106"/>
              <a:gd name="connsiteY67-892" fmla="*/ 1659808 h 5376674"/>
              <a:gd name="connsiteX68-893" fmla="*/ 7958373 w 10693106"/>
              <a:gd name="connsiteY68-894" fmla="*/ 1592074 h 5376674"/>
              <a:gd name="connsiteX69-895" fmla="*/ 8009173 w 10693106"/>
              <a:gd name="connsiteY69-896" fmla="*/ 1541274 h 5376674"/>
              <a:gd name="connsiteX70-897" fmla="*/ 8339373 w 10693106"/>
              <a:gd name="connsiteY70-898" fmla="*/ 1295741 h 5376674"/>
              <a:gd name="connsiteX71-899" fmla="*/ 8576440 w 10693106"/>
              <a:gd name="connsiteY71-900" fmla="*/ 1041741 h 5376674"/>
              <a:gd name="connsiteX72-901" fmla="*/ 8652640 w 10693106"/>
              <a:gd name="connsiteY72-902" fmla="*/ 762341 h 5376674"/>
              <a:gd name="connsiteX73-903" fmla="*/ 8847373 w 10693106"/>
              <a:gd name="connsiteY73-904" fmla="*/ 576074 h 5376674"/>
              <a:gd name="connsiteX74-905" fmla="*/ 8982840 w 10693106"/>
              <a:gd name="connsiteY74-906" fmla="*/ 482941 h 5376674"/>
              <a:gd name="connsiteX75-907" fmla="*/ 9084440 w 10693106"/>
              <a:gd name="connsiteY75-908" fmla="*/ 449074 h 5376674"/>
              <a:gd name="connsiteX76-909" fmla="*/ 9152173 w 10693106"/>
              <a:gd name="connsiteY76-910" fmla="*/ 423674 h 5376674"/>
              <a:gd name="connsiteX77-911" fmla="*/ 9380773 w 10693106"/>
              <a:gd name="connsiteY77-912" fmla="*/ 440608 h 5376674"/>
              <a:gd name="connsiteX78-913" fmla="*/ 9744840 w 10693106"/>
              <a:gd name="connsiteY78-914" fmla="*/ 550674 h 5376674"/>
              <a:gd name="connsiteX79-915" fmla="*/ 9888773 w 10693106"/>
              <a:gd name="connsiteY79-916" fmla="*/ 593008 h 5376674"/>
              <a:gd name="connsiteX80-917" fmla="*/ 9998840 w 10693106"/>
              <a:gd name="connsiteY80-918" fmla="*/ 643808 h 5376674"/>
              <a:gd name="connsiteX81-919" fmla="*/ 10083506 w 10693106"/>
              <a:gd name="connsiteY81-920" fmla="*/ 703074 h 5376674"/>
              <a:gd name="connsiteX82-921" fmla="*/ 10286706 w 10693106"/>
              <a:gd name="connsiteY82-922" fmla="*/ 770808 h 5376674"/>
              <a:gd name="connsiteX83-923" fmla="*/ 10388306 w 10693106"/>
              <a:gd name="connsiteY83-924" fmla="*/ 974008 h 5376674"/>
              <a:gd name="connsiteX84-925" fmla="*/ 10540706 w 10693106"/>
              <a:gd name="connsiteY84-926" fmla="*/ 1346541 h 5376674"/>
              <a:gd name="connsiteX85-927" fmla="*/ 10557640 w 10693106"/>
              <a:gd name="connsiteY85-928" fmla="*/ 1431208 h 5376674"/>
              <a:gd name="connsiteX86-929" fmla="*/ 10583040 w 10693106"/>
              <a:gd name="connsiteY86-930" fmla="*/ 1532808 h 5376674"/>
              <a:gd name="connsiteX87-931" fmla="*/ 10616906 w 10693106"/>
              <a:gd name="connsiteY87-932" fmla="*/ 1736008 h 5376674"/>
              <a:gd name="connsiteX88-933" fmla="*/ 10633840 w 10693106"/>
              <a:gd name="connsiteY88-934" fmla="*/ 1820674 h 5376674"/>
              <a:gd name="connsiteX89-935" fmla="*/ 10650773 w 10693106"/>
              <a:gd name="connsiteY89-936" fmla="*/ 1854541 h 5376674"/>
              <a:gd name="connsiteX90-937" fmla="*/ 10676173 w 10693106"/>
              <a:gd name="connsiteY90-938" fmla="*/ 1939208 h 5376674"/>
              <a:gd name="connsiteX91-939" fmla="*/ 10693106 w 10693106"/>
              <a:gd name="connsiteY91-940" fmla="*/ 2091608 h 5376674"/>
              <a:gd name="connsiteX92-941" fmla="*/ 10625373 w 10693106"/>
              <a:gd name="connsiteY92-942" fmla="*/ 2311741 h 5376674"/>
              <a:gd name="connsiteX93-943" fmla="*/ 10608440 w 10693106"/>
              <a:gd name="connsiteY93-944" fmla="*/ 2337141 h 5376674"/>
              <a:gd name="connsiteX94-945" fmla="*/ 10540706 w 10693106"/>
              <a:gd name="connsiteY94-946" fmla="*/ 2481074 h 5376674"/>
              <a:gd name="connsiteX95-947" fmla="*/ 10498373 w 10693106"/>
              <a:gd name="connsiteY95-948" fmla="*/ 2565741 h 5376674"/>
              <a:gd name="connsiteX96-949" fmla="*/ 10439106 w 10693106"/>
              <a:gd name="connsiteY96-950" fmla="*/ 2752008 h 5376674"/>
              <a:gd name="connsiteX97-951" fmla="*/ 10430640 w 10693106"/>
              <a:gd name="connsiteY97-952" fmla="*/ 2794341 h 5376674"/>
              <a:gd name="connsiteX98-953" fmla="*/ 10405240 w 10693106"/>
              <a:gd name="connsiteY98-954" fmla="*/ 2870541 h 5376674"/>
              <a:gd name="connsiteX99-955" fmla="*/ 10396773 w 10693106"/>
              <a:gd name="connsiteY99-956" fmla="*/ 2904408 h 5376674"/>
              <a:gd name="connsiteX100-957" fmla="*/ 10362906 w 10693106"/>
              <a:gd name="connsiteY100-958" fmla="*/ 2997541 h 5376674"/>
              <a:gd name="connsiteX101-959" fmla="*/ 10329040 w 10693106"/>
              <a:gd name="connsiteY101-960" fmla="*/ 3039874 h 5376674"/>
              <a:gd name="connsiteX102-961" fmla="*/ 10227440 w 10693106"/>
              <a:gd name="connsiteY102-962" fmla="*/ 3141474 h 5376674"/>
              <a:gd name="connsiteX103-963" fmla="*/ 10168173 w 10693106"/>
              <a:gd name="connsiteY103-964" fmla="*/ 3209208 h 5376674"/>
              <a:gd name="connsiteX104-965" fmla="*/ 10117373 w 10693106"/>
              <a:gd name="connsiteY104-966" fmla="*/ 3260008 h 5376674"/>
              <a:gd name="connsiteX105-967" fmla="*/ 10032706 w 10693106"/>
              <a:gd name="connsiteY105-968" fmla="*/ 3361608 h 5376674"/>
              <a:gd name="connsiteX106-969" fmla="*/ 9948040 w 10693106"/>
              <a:gd name="connsiteY106-970" fmla="*/ 3420874 h 5376674"/>
              <a:gd name="connsiteX107-971" fmla="*/ 9905706 w 10693106"/>
              <a:gd name="connsiteY107-972" fmla="*/ 3446274 h 5376674"/>
              <a:gd name="connsiteX108-973" fmla="*/ 9829506 w 10693106"/>
              <a:gd name="connsiteY108-974" fmla="*/ 3463208 h 5376674"/>
              <a:gd name="connsiteX109-975" fmla="*/ 9727906 w 10693106"/>
              <a:gd name="connsiteY109-976" fmla="*/ 3505541 h 5376674"/>
              <a:gd name="connsiteX110-977" fmla="*/ 9634773 w 10693106"/>
              <a:gd name="connsiteY110-978" fmla="*/ 3530941 h 5376674"/>
              <a:gd name="connsiteX111-979" fmla="*/ 9456973 w 10693106"/>
              <a:gd name="connsiteY111-980" fmla="*/ 3624074 h 5376674"/>
              <a:gd name="connsiteX112-981" fmla="*/ 9313040 w 10693106"/>
              <a:gd name="connsiteY112-982" fmla="*/ 3751074 h 5376674"/>
              <a:gd name="connsiteX113-983" fmla="*/ 9279173 w 10693106"/>
              <a:gd name="connsiteY113-984" fmla="*/ 3768008 h 5376674"/>
              <a:gd name="connsiteX114-985" fmla="*/ 9067506 w 10693106"/>
              <a:gd name="connsiteY114-986" fmla="*/ 3945808 h 5376674"/>
              <a:gd name="connsiteX115-987" fmla="*/ 8999773 w 10693106"/>
              <a:gd name="connsiteY115-988" fmla="*/ 4013541 h 5376674"/>
              <a:gd name="connsiteX116-989" fmla="*/ 8813506 w 10693106"/>
              <a:gd name="connsiteY116-990" fmla="*/ 4149008 h 5376674"/>
              <a:gd name="connsiteX117-991" fmla="*/ 8728840 w 10693106"/>
              <a:gd name="connsiteY117-992" fmla="*/ 4191341 h 5376674"/>
              <a:gd name="connsiteX118-993" fmla="*/ 8373240 w 10693106"/>
              <a:gd name="connsiteY118-994" fmla="*/ 4225208 h 5376674"/>
              <a:gd name="connsiteX119-995" fmla="*/ 7966840 w 10693106"/>
              <a:gd name="connsiteY119-996" fmla="*/ 4318341 h 5376674"/>
              <a:gd name="connsiteX120-997" fmla="*/ 7687440 w 10693106"/>
              <a:gd name="connsiteY120-998" fmla="*/ 4479208 h 5376674"/>
              <a:gd name="connsiteX121-999" fmla="*/ 7551973 w 10693106"/>
              <a:gd name="connsiteY121-1000" fmla="*/ 4563874 h 5376674"/>
              <a:gd name="connsiteX122-1001" fmla="*/ 7374173 w 10693106"/>
              <a:gd name="connsiteY122-1002" fmla="*/ 4741674 h 5376674"/>
              <a:gd name="connsiteX123-1003" fmla="*/ 7374173 w 10693106"/>
              <a:gd name="connsiteY123-1004" fmla="*/ 4741674 h 5376674"/>
              <a:gd name="connsiteX124-1005" fmla="*/ 7221773 w 10693106"/>
              <a:gd name="connsiteY124-1006" fmla="*/ 4860208 h 5376674"/>
              <a:gd name="connsiteX125-1007" fmla="*/ 7027040 w 10693106"/>
              <a:gd name="connsiteY125-1008" fmla="*/ 4987208 h 5376674"/>
              <a:gd name="connsiteX126-1009" fmla="*/ 6883106 w 10693106"/>
              <a:gd name="connsiteY126-1010" fmla="*/ 5054941 h 5376674"/>
              <a:gd name="connsiteX127-1011" fmla="*/ 6815373 w 10693106"/>
              <a:gd name="connsiteY127-1012" fmla="*/ 5097274 h 5376674"/>
              <a:gd name="connsiteX128-1013" fmla="*/ 6646040 w 10693106"/>
              <a:gd name="connsiteY128-1014" fmla="*/ 5190408 h 5376674"/>
              <a:gd name="connsiteX129-1015" fmla="*/ 6527506 w 10693106"/>
              <a:gd name="connsiteY129-1016" fmla="*/ 5249674 h 5376674"/>
              <a:gd name="connsiteX130-1017" fmla="*/ 6298906 w 10693106"/>
              <a:gd name="connsiteY130-1018" fmla="*/ 5325874 h 5376674"/>
              <a:gd name="connsiteX131-1019" fmla="*/ 6197306 w 10693106"/>
              <a:gd name="connsiteY131-1020" fmla="*/ 5351274 h 5376674"/>
              <a:gd name="connsiteX132-1021" fmla="*/ 6061840 w 10693106"/>
              <a:gd name="connsiteY132-1022" fmla="*/ 5359741 h 5376674"/>
              <a:gd name="connsiteX133-1023" fmla="*/ 5917906 w 10693106"/>
              <a:gd name="connsiteY133-1024" fmla="*/ 5376674 h 5376674"/>
              <a:gd name="connsiteX134-1025" fmla="*/ 5748573 w 10693106"/>
              <a:gd name="connsiteY134-1026" fmla="*/ 5368208 h 5376674"/>
              <a:gd name="connsiteX135-1027" fmla="*/ 5282906 w 10693106"/>
              <a:gd name="connsiteY135-1028" fmla="*/ 5258141 h 5376674"/>
              <a:gd name="connsiteX136-1029" fmla="*/ 5138973 w 10693106"/>
              <a:gd name="connsiteY136-1030" fmla="*/ 5156541 h 5376674"/>
              <a:gd name="connsiteX137-1031" fmla="*/ 5020440 w 10693106"/>
              <a:gd name="connsiteY137-1032" fmla="*/ 5004141 h 5376674"/>
              <a:gd name="connsiteX138-1033" fmla="*/ 4952706 w 10693106"/>
              <a:gd name="connsiteY138-1034" fmla="*/ 4927941 h 5376674"/>
              <a:gd name="connsiteX139-1035" fmla="*/ 4884973 w 10693106"/>
              <a:gd name="connsiteY139-1036" fmla="*/ 4860208 h 5376674"/>
              <a:gd name="connsiteX140-1037" fmla="*/ 4732573 w 10693106"/>
              <a:gd name="connsiteY140-1038" fmla="*/ 4682408 h 5376674"/>
              <a:gd name="connsiteX141-1039" fmla="*/ 4673306 w 10693106"/>
              <a:gd name="connsiteY141-1040" fmla="*/ 4614674 h 5376674"/>
              <a:gd name="connsiteX142-1041" fmla="*/ 4487040 w 10693106"/>
              <a:gd name="connsiteY142-1042" fmla="*/ 4487674 h 5376674"/>
              <a:gd name="connsiteX143-1043" fmla="*/ 4427773 w 10693106"/>
              <a:gd name="connsiteY143-1044" fmla="*/ 4453808 h 5376674"/>
              <a:gd name="connsiteX144-1045" fmla="*/ 4343106 w 10693106"/>
              <a:gd name="connsiteY144-1046" fmla="*/ 4419941 h 5376674"/>
              <a:gd name="connsiteX145-1047" fmla="*/ 4224573 w 10693106"/>
              <a:gd name="connsiteY145-1048" fmla="*/ 4343741 h 5376674"/>
              <a:gd name="connsiteX146-1049" fmla="*/ 4156840 w 10693106"/>
              <a:gd name="connsiteY146-1050" fmla="*/ 4284474 h 5376674"/>
              <a:gd name="connsiteX147-1051" fmla="*/ 4021373 w 10693106"/>
              <a:gd name="connsiteY147-1052" fmla="*/ 4140541 h 5376674"/>
              <a:gd name="connsiteX148-1053" fmla="*/ 3919773 w 10693106"/>
              <a:gd name="connsiteY148-1054" fmla="*/ 4005074 h 5376674"/>
              <a:gd name="connsiteX149-1055" fmla="*/ 3877440 w 10693106"/>
              <a:gd name="connsiteY149-1056" fmla="*/ 3708741 h 5376674"/>
              <a:gd name="connsiteX150-1057" fmla="*/ 3852040 w 10693106"/>
              <a:gd name="connsiteY150-1058" fmla="*/ 3615608 h 5376674"/>
              <a:gd name="connsiteX151-1059" fmla="*/ 3801240 w 10693106"/>
              <a:gd name="connsiteY151-1060" fmla="*/ 3505541 h 5376674"/>
              <a:gd name="connsiteX152-1061" fmla="*/ 3733506 w 10693106"/>
              <a:gd name="connsiteY152-1062" fmla="*/ 3403941 h 5376674"/>
              <a:gd name="connsiteX153-1063" fmla="*/ 3242440 w 10693106"/>
              <a:gd name="connsiteY153-1064" fmla="*/ 3183808 h 5376674"/>
              <a:gd name="connsiteX154-1065" fmla="*/ 3123906 w 10693106"/>
              <a:gd name="connsiteY154-1066" fmla="*/ 3082208 h 5376674"/>
              <a:gd name="connsiteX155-1067" fmla="*/ 2988440 w 10693106"/>
              <a:gd name="connsiteY155-1068" fmla="*/ 2887474 h 5376674"/>
              <a:gd name="connsiteX156-1069" fmla="*/ 2971506 w 10693106"/>
              <a:gd name="connsiteY156-1070" fmla="*/ 2828208 h 5376674"/>
              <a:gd name="connsiteX157-1071" fmla="*/ 2996906 w 10693106"/>
              <a:gd name="connsiteY157-1072" fmla="*/ 2616541 h 5376674"/>
              <a:gd name="connsiteX158-1073" fmla="*/ 3013840 w 10693106"/>
              <a:gd name="connsiteY158-1074" fmla="*/ 2514941 h 5376674"/>
              <a:gd name="connsiteX159-1075" fmla="*/ 3005373 w 10693106"/>
              <a:gd name="connsiteY159-1076" fmla="*/ 2396408 h 5376674"/>
              <a:gd name="connsiteX160-1077" fmla="*/ 2988440 w 10693106"/>
              <a:gd name="connsiteY160-1078" fmla="*/ 2345608 h 5376674"/>
              <a:gd name="connsiteX161-1079" fmla="*/ 2802173 w 10693106"/>
              <a:gd name="connsiteY161-1080" fmla="*/ 2091608 h 5376674"/>
              <a:gd name="connsiteX162-1081" fmla="*/ 2641306 w 10693106"/>
              <a:gd name="connsiteY162-1082" fmla="*/ 1947674 h 5376674"/>
              <a:gd name="connsiteX163-1083" fmla="*/ 2590506 w 10693106"/>
              <a:gd name="connsiteY163-1084" fmla="*/ 1922274 h 5376674"/>
              <a:gd name="connsiteX164-1085" fmla="*/ 2531240 w 10693106"/>
              <a:gd name="connsiteY164-1086" fmla="*/ 1913808 h 5376674"/>
              <a:gd name="connsiteX165-1087" fmla="*/ 2446573 w 10693106"/>
              <a:gd name="connsiteY165-1088" fmla="*/ 1896874 h 5376674"/>
              <a:gd name="connsiteX166-1089" fmla="*/ 2251840 w 10693106"/>
              <a:gd name="connsiteY166-1090" fmla="*/ 1922274 h 5376674"/>
              <a:gd name="connsiteX167-1091" fmla="*/ 2167173 w 10693106"/>
              <a:gd name="connsiteY167-1092" fmla="*/ 1964608 h 5376674"/>
              <a:gd name="connsiteX168-1093" fmla="*/ 1980906 w 10693106"/>
              <a:gd name="connsiteY168-1094" fmla="*/ 2023874 h 5376674"/>
              <a:gd name="connsiteX169-1095" fmla="*/ 1904706 w 10693106"/>
              <a:gd name="connsiteY169-1096" fmla="*/ 2057741 h 5376674"/>
              <a:gd name="connsiteX170-1097" fmla="*/ 1828506 w 10693106"/>
              <a:gd name="connsiteY170-1098" fmla="*/ 2074674 h 5376674"/>
              <a:gd name="connsiteX171-1099" fmla="*/ 1726906 w 10693106"/>
              <a:gd name="connsiteY171-1100" fmla="*/ 2125474 h 5376674"/>
              <a:gd name="connsiteX172-1101" fmla="*/ 1659173 w 10693106"/>
              <a:gd name="connsiteY172-1102" fmla="*/ 2159341 h 5376674"/>
              <a:gd name="connsiteX173-1103" fmla="*/ 1498306 w 10693106"/>
              <a:gd name="connsiteY173-1104" fmla="*/ 2184741 h 5376674"/>
              <a:gd name="connsiteX174-1105" fmla="*/ 914106 w 10693106"/>
              <a:gd name="connsiteY174-1106" fmla="*/ 2117008 h 5376674"/>
              <a:gd name="connsiteX175-1107" fmla="*/ 617773 w 10693106"/>
              <a:gd name="connsiteY175-1108" fmla="*/ 2006941 h 5376674"/>
              <a:gd name="connsiteX176-1109" fmla="*/ 516173 w 10693106"/>
              <a:gd name="connsiteY176-1110" fmla="*/ 1922274 h 5376674"/>
              <a:gd name="connsiteX177-1111" fmla="*/ 355306 w 10693106"/>
              <a:gd name="connsiteY177-1112" fmla="*/ 1710608 h 5376674"/>
              <a:gd name="connsiteX178-1113" fmla="*/ 296040 w 10693106"/>
              <a:gd name="connsiteY178-1114" fmla="*/ 1609008 h 5376674"/>
              <a:gd name="connsiteX179-1115" fmla="*/ 253706 w 10693106"/>
              <a:gd name="connsiteY179-1116" fmla="*/ 1431208 h 5376674"/>
              <a:gd name="connsiteX180-1117" fmla="*/ 245240 w 10693106"/>
              <a:gd name="connsiteY180-1118" fmla="*/ 1304208 h 5376674"/>
              <a:gd name="connsiteX181-1119" fmla="*/ 236773 w 10693106"/>
              <a:gd name="connsiteY181-1120" fmla="*/ 1202608 h 5376674"/>
              <a:gd name="connsiteX182-1121" fmla="*/ 245240 w 10693106"/>
              <a:gd name="connsiteY182-1122" fmla="*/ 931674 h 5376674"/>
              <a:gd name="connsiteX183-1123" fmla="*/ 236773 w 10693106"/>
              <a:gd name="connsiteY183-1124" fmla="*/ 787741 h 5376674"/>
              <a:gd name="connsiteX184-1125" fmla="*/ 109773 w 10693106"/>
              <a:gd name="connsiteY184-1126" fmla="*/ 643808 h 5376674"/>
              <a:gd name="connsiteX185-1127" fmla="*/ 58973 w 10693106"/>
              <a:gd name="connsiteY185-1128" fmla="*/ 567608 h 5376674"/>
              <a:gd name="connsiteX186-1129" fmla="*/ 16640 w 10693106"/>
              <a:gd name="connsiteY186-1130" fmla="*/ 516808 h 5376674"/>
              <a:gd name="connsiteX187-1131" fmla="*/ 8173 w 10693106"/>
              <a:gd name="connsiteY187-1132" fmla="*/ 474474 h 5376674"/>
              <a:gd name="connsiteX188-1133" fmla="*/ 16640 w 10693106"/>
              <a:gd name="connsiteY188-1134" fmla="*/ 423674 h 5376674"/>
              <a:gd name="connsiteX0-1135" fmla="*/ 16640 w 10693106"/>
              <a:gd name="connsiteY0-1136" fmla="*/ 423674 h 5376674"/>
              <a:gd name="connsiteX1-1137" fmla="*/ 58973 w 10693106"/>
              <a:gd name="connsiteY1-1138" fmla="*/ 330541 h 5376674"/>
              <a:gd name="connsiteX2-1139" fmla="*/ 109773 w 10693106"/>
              <a:gd name="connsiteY2-1140" fmla="*/ 262808 h 5376674"/>
              <a:gd name="connsiteX3-1141" fmla="*/ 202906 w 10693106"/>
              <a:gd name="connsiteY3-1142" fmla="*/ 178141 h 5376674"/>
              <a:gd name="connsiteX4-1143" fmla="*/ 236773 w 10693106"/>
              <a:gd name="connsiteY4-1144" fmla="*/ 152741 h 5376674"/>
              <a:gd name="connsiteX5-1145" fmla="*/ 346840 w 10693106"/>
              <a:gd name="connsiteY5-1146" fmla="*/ 93474 h 5376674"/>
              <a:gd name="connsiteX6-1147" fmla="*/ 397640 w 10693106"/>
              <a:gd name="connsiteY6-1148" fmla="*/ 59608 h 5376674"/>
              <a:gd name="connsiteX7-1149" fmla="*/ 456906 w 10693106"/>
              <a:gd name="connsiteY7-1150" fmla="*/ 42674 h 5376674"/>
              <a:gd name="connsiteX8-1151" fmla="*/ 482306 w 10693106"/>
              <a:gd name="connsiteY8-1152" fmla="*/ 34208 h 5376674"/>
              <a:gd name="connsiteX9-1153" fmla="*/ 812506 w 10693106"/>
              <a:gd name="connsiteY9-1154" fmla="*/ 42674 h 5376674"/>
              <a:gd name="connsiteX10-1155" fmla="*/ 1091906 w 10693106"/>
              <a:gd name="connsiteY10-1156" fmla="*/ 85008 h 5376674"/>
              <a:gd name="connsiteX11-1157" fmla="*/ 1235840 w 10693106"/>
              <a:gd name="connsiteY11-1158" fmla="*/ 144274 h 5376674"/>
              <a:gd name="connsiteX12-1159" fmla="*/ 1337440 w 10693106"/>
              <a:gd name="connsiteY12-1160" fmla="*/ 220474 h 5376674"/>
              <a:gd name="connsiteX13-1161" fmla="*/ 1422106 w 10693106"/>
              <a:gd name="connsiteY13-1162" fmla="*/ 330541 h 5376674"/>
              <a:gd name="connsiteX14-1163" fmla="*/ 1481373 w 10693106"/>
              <a:gd name="connsiteY14-1164" fmla="*/ 398274 h 5376674"/>
              <a:gd name="connsiteX15-1165" fmla="*/ 1532173 w 10693106"/>
              <a:gd name="connsiteY15-1166" fmla="*/ 432141 h 5376674"/>
              <a:gd name="connsiteX16-1167" fmla="*/ 1684573 w 10693106"/>
              <a:gd name="connsiteY16-1168" fmla="*/ 491408 h 5376674"/>
              <a:gd name="connsiteX17-1169" fmla="*/ 1760773 w 10693106"/>
              <a:gd name="connsiteY17-1170" fmla="*/ 508341 h 5376674"/>
              <a:gd name="connsiteX18-1171" fmla="*/ 1997840 w 10693106"/>
              <a:gd name="connsiteY18-1172" fmla="*/ 499874 h 5376674"/>
              <a:gd name="connsiteX19-1173" fmla="*/ 2116373 w 10693106"/>
              <a:gd name="connsiteY19-1174" fmla="*/ 482941 h 5376674"/>
              <a:gd name="connsiteX20-1175" fmla="*/ 2260306 w 10693106"/>
              <a:gd name="connsiteY20-1176" fmla="*/ 466008 h 5376674"/>
              <a:gd name="connsiteX21-1177" fmla="*/ 2404240 w 10693106"/>
              <a:gd name="connsiteY21-1178" fmla="*/ 440608 h 5376674"/>
              <a:gd name="connsiteX22-1179" fmla="*/ 2455040 w 10693106"/>
              <a:gd name="connsiteY22-1180" fmla="*/ 415208 h 5376674"/>
              <a:gd name="connsiteX23-1181" fmla="*/ 2531240 w 10693106"/>
              <a:gd name="connsiteY23-1182" fmla="*/ 389808 h 5376674"/>
              <a:gd name="connsiteX24-1183" fmla="*/ 2683640 w 10693106"/>
              <a:gd name="connsiteY24-1184" fmla="*/ 262808 h 5376674"/>
              <a:gd name="connsiteX25-1185" fmla="*/ 2768306 w 10693106"/>
              <a:gd name="connsiteY25-1186" fmla="*/ 195074 h 5376674"/>
              <a:gd name="connsiteX26-1187" fmla="*/ 2836040 w 10693106"/>
              <a:gd name="connsiteY26-1188" fmla="*/ 135808 h 5376674"/>
              <a:gd name="connsiteX27-1189" fmla="*/ 2929173 w 10693106"/>
              <a:gd name="connsiteY27-1190" fmla="*/ 85008 h 5376674"/>
              <a:gd name="connsiteX28-1191" fmla="*/ 3064640 w 10693106"/>
              <a:gd name="connsiteY28-1192" fmla="*/ 341 h 5376674"/>
              <a:gd name="connsiteX29-1193" fmla="*/ 3132373 w 10693106"/>
              <a:gd name="connsiteY29-1194" fmla="*/ 101555 h 5376674"/>
              <a:gd name="connsiteX30-1195" fmla="*/ 3459878 w 10693106"/>
              <a:gd name="connsiteY30-1196" fmla="*/ 55374 h 5376674"/>
              <a:gd name="connsiteX31-1197" fmla="*/ 3606506 w 10693106"/>
              <a:gd name="connsiteY31-1198" fmla="*/ 145045 h 5376674"/>
              <a:gd name="connsiteX32-1199" fmla="*/ 3708106 w 10693106"/>
              <a:gd name="connsiteY32-1200" fmla="*/ 17274 h 5376674"/>
              <a:gd name="connsiteX33-1201" fmla="*/ 3741973 w 10693106"/>
              <a:gd name="connsiteY33-1202" fmla="*/ 171213 h 5376674"/>
              <a:gd name="connsiteX34-1203" fmla="*/ 3818173 w 10693106"/>
              <a:gd name="connsiteY34-1204" fmla="*/ 85008 h 5376674"/>
              <a:gd name="connsiteX35-1205" fmla="*/ 3852040 w 10693106"/>
              <a:gd name="connsiteY35-1206" fmla="*/ 110408 h 5376674"/>
              <a:gd name="connsiteX36-1207" fmla="*/ 3885906 w 10693106"/>
              <a:gd name="connsiteY36-1208" fmla="*/ 127341 h 5376674"/>
              <a:gd name="connsiteX37-1209" fmla="*/ 3945173 w 10693106"/>
              <a:gd name="connsiteY37-1210" fmla="*/ 169674 h 5376674"/>
              <a:gd name="connsiteX38-1211" fmla="*/ 3995973 w 10693106"/>
              <a:gd name="connsiteY38-1212" fmla="*/ 195074 h 5376674"/>
              <a:gd name="connsiteX39-1213" fmla="*/ 4021373 w 10693106"/>
              <a:gd name="connsiteY39-1214" fmla="*/ 228941 h 5376674"/>
              <a:gd name="connsiteX40-1215" fmla="*/ 4055240 w 10693106"/>
              <a:gd name="connsiteY40-1216" fmla="*/ 237408 h 5376674"/>
              <a:gd name="connsiteX41-1217" fmla="*/ 4275373 w 10693106"/>
              <a:gd name="connsiteY41-1218" fmla="*/ 279741 h 5376674"/>
              <a:gd name="connsiteX42-1219" fmla="*/ 4402373 w 10693106"/>
              <a:gd name="connsiteY42-1220" fmla="*/ 313608 h 5376674"/>
              <a:gd name="connsiteX43-1221" fmla="*/ 4529373 w 10693106"/>
              <a:gd name="connsiteY43-1222" fmla="*/ 355941 h 5376674"/>
              <a:gd name="connsiteX44-1223" fmla="*/ 4859573 w 10693106"/>
              <a:gd name="connsiteY44-1224" fmla="*/ 432141 h 5376674"/>
              <a:gd name="connsiteX45-1225" fmla="*/ 5045840 w 10693106"/>
              <a:gd name="connsiteY45-1226" fmla="*/ 508341 h 5376674"/>
              <a:gd name="connsiteX46-1227" fmla="*/ 5325240 w 10693106"/>
              <a:gd name="connsiteY46-1228" fmla="*/ 669208 h 5376674"/>
              <a:gd name="connsiteX47-1229" fmla="*/ 5494573 w 10693106"/>
              <a:gd name="connsiteY47-1230" fmla="*/ 821608 h 5376674"/>
              <a:gd name="connsiteX48-1231" fmla="*/ 5562306 w 10693106"/>
              <a:gd name="connsiteY48-1232" fmla="*/ 897808 h 5376674"/>
              <a:gd name="connsiteX49-1233" fmla="*/ 5621573 w 10693106"/>
              <a:gd name="connsiteY49-1234" fmla="*/ 948608 h 5376674"/>
              <a:gd name="connsiteX50-1235" fmla="*/ 5672373 w 10693106"/>
              <a:gd name="connsiteY50-1236" fmla="*/ 1016341 h 5376674"/>
              <a:gd name="connsiteX51-1237" fmla="*/ 5757040 w 10693106"/>
              <a:gd name="connsiteY51-1238" fmla="*/ 1117941 h 5376674"/>
              <a:gd name="connsiteX52-1239" fmla="*/ 5833240 w 10693106"/>
              <a:gd name="connsiteY52-1240" fmla="*/ 1211074 h 5376674"/>
              <a:gd name="connsiteX53-1241" fmla="*/ 6019506 w 10693106"/>
              <a:gd name="connsiteY53-1242" fmla="*/ 1414274 h 5376674"/>
              <a:gd name="connsiteX54-1243" fmla="*/ 6087240 w 10693106"/>
              <a:gd name="connsiteY54-1244" fmla="*/ 1465074 h 5376674"/>
              <a:gd name="connsiteX55-1245" fmla="*/ 6171906 w 10693106"/>
              <a:gd name="connsiteY55-1246" fmla="*/ 1566674 h 5376674"/>
              <a:gd name="connsiteX56-1247" fmla="*/ 6451306 w 10693106"/>
              <a:gd name="connsiteY56-1248" fmla="*/ 1778341 h 5376674"/>
              <a:gd name="connsiteX57-1249" fmla="*/ 6519040 w 10693106"/>
              <a:gd name="connsiteY57-1250" fmla="*/ 1786808 h 5376674"/>
              <a:gd name="connsiteX58-1251" fmla="*/ 6603706 w 10693106"/>
              <a:gd name="connsiteY58-1252" fmla="*/ 1820674 h 5376674"/>
              <a:gd name="connsiteX59-1253" fmla="*/ 6671440 w 10693106"/>
              <a:gd name="connsiteY59-1254" fmla="*/ 1854541 h 5376674"/>
              <a:gd name="connsiteX60-1255" fmla="*/ 6866173 w 10693106"/>
              <a:gd name="connsiteY60-1256" fmla="*/ 1879941 h 5376674"/>
              <a:gd name="connsiteX61-1257" fmla="*/ 7196373 w 10693106"/>
              <a:gd name="connsiteY61-1258" fmla="*/ 1863008 h 5376674"/>
              <a:gd name="connsiteX62-1259" fmla="*/ 7509640 w 10693106"/>
              <a:gd name="connsiteY62-1260" fmla="*/ 1786808 h 5376674"/>
              <a:gd name="connsiteX63-1261" fmla="*/ 7628173 w 10693106"/>
              <a:gd name="connsiteY63-1262" fmla="*/ 1761408 h 5376674"/>
              <a:gd name="connsiteX64-1263" fmla="*/ 7704373 w 10693106"/>
              <a:gd name="connsiteY64-1264" fmla="*/ 1719074 h 5376674"/>
              <a:gd name="connsiteX65-1265" fmla="*/ 7755173 w 10693106"/>
              <a:gd name="connsiteY65-1266" fmla="*/ 1710608 h 5376674"/>
              <a:gd name="connsiteX66-1267" fmla="*/ 7797506 w 10693106"/>
              <a:gd name="connsiteY66-1268" fmla="*/ 1676741 h 5376674"/>
              <a:gd name="connsiteX67-1269" fmla="*/ 7856773 w 10693106"/>
              <a:gd name="connsiteY67-1270" fmla="*/ 1659808 h 5376674"/>
              <a:gd name="connsiteX68-1271" fmla="*/ 7958373 w 10693106"/>
              <a:gd name="connsiteY68-1272" fmla="*/ 1592074 h 5376674"/>
              <a:gd name="connsiteX69-1273" fmla="*/ 8009173 w 10693106"/>
              <a:gd name="connsiteY69-1274" fmla="*/ 1541274 h 5376674"/>
              <a:gd name="connsiteX70-1275" fmla="*/ 8339373 w 10693106"/>
              <a:gd name="connsiteY70-1276" fmla="*/ 1295741 h 5376674"/>
              <a:gd name="connsiteX71-1277" fmla="*/ 8576440 w 10693106"/>
              <a:gd name="connsiteY71-1278" fmla="*/ 1041741 h 5376674"/>
              <a:gd name="connsiteX72-1279" fmla="*/ 8652640 w 10693106"/>
              <a:gd name="connsiteY72-1280" fmla="*/ 762341 h 5376674"/>
              <a:gd name="connsiteX73-1281" fmla="*/ 8847373 w 10693106"/>
              <a:gd name="connsiteY73-1282" fmla="*/ 576074 h 5376674"/>
              <a:gd name="connsiteX74-1283" fmla="*/ 8982840 w 10693106"/>
              <a:gd name="connsiteY74-1284" fmla="*/ 482941 h 5376674"/>
              <a:gd name="connsiteX75-1285" fmla="*/ 9084440 w 10693106"/>
              <a:gd name="connsiteY75-1286" fmla="*/ 449074 h 5376674"/>
              <a:gd name="connsiteX76-1287" fmla="*/ 9152173 w 10693106"/>
              <a:gd name="connsiteY76-1288" fmla="*/ 423674 h 5376674"/>
              <a:gd name="connsiteX77-1289" fmla="*/ 9380773 w 10693106"/>
              <a:gd name="connsiteY77-1290" fmla="*/ 440608 h 5376674"/>
              <a:gd name="connsiteX78-1291" fmla="*/ 9744840 w 10693106"/>
              <a:gd name="connsiteY78-1292" fmla="*/ 550674 h 5376674"/>
              <a:gd name="connsiteX79-1293" fmla="*/ 9888773 w 10693106"/>
              <a:gd name="connsiteY79-1294" fmla="*/ 593008 h 5376674"/>
              <a:gd name="connsiteX80-1295" fmla="*/ 9998840 w 10693106"/>
              <a:gd name="connsiteY80-1296" fmla="*/ 643808 h 5376674"/>
              <a:gd name="connsiteX81-1297" fmla="*/ 10083506 w 10693106"/>
              <a:gd name="connsiteY81-1298" fmla="*/ 703074 h 5376674"/>
              <a:gd name="connsiteX82-1299" fmla="*/ 10286706 w 10693106"/>
              <a:gd name="connsiteY82-1300" fmla="*/ 770808 h 5376674"/>
              <a:gd name="connsiteX83-1301" fmla="*/ 10388306 w 10693106"/>
              <a:gd name="connsiteY83-1302" fmla="*/ 974008 h 5376674"/>
              <a:gd name="connsiteX84-1303" fmla="*/ 10540706 w 10693106"/>
              <a:gd name="connsiteY84-1304" fmla="*/ 1346541 h 5376674"/>
              <a:gd name="connsiteX85-1305" fmla="*/ 10557640 w 10693106"/>
              <a:gd name="connsiteY85-1306" fmla="*/ 1431208 h 5376674"/>
              <a:gd name="connsiteX86-1307" fmla="*/ 10583040 w 10693106"/>
              <a:gd name="connsiteY86-1308" fmla="*/ 1532808 h 5376674"/>
              <a:gd name="connsiteX87-1309" fmla="*/ 10616906 w 10693106"/>
              <a:gd name="connsiteY87-1310" fmla="*/ 1736008 h 5376674"/>
              <a:gd name="connsiteX88-1311" fmla="*/ 10633840 w 10693106"/>
              <a:gd name="connsiteY88-1312" fmla="*/ 1820674 h 5376674"/>
              <a:gd name="connsiteX89-1313" fmla="*/ 10650773 w 10693106"/>
              <a:gd name="connsiteY89-1314" fmla="*/ 1854541 h 5376674"/>
              <a:gd name="connsiteX90-1315" fmla="*/ 10676173 w 10693106"/>
              <a:gd name="connsiteY90-1316" fmla="*/ 1939208 h 5376674"/>
              <a:gd name="connsiteX91-1317" fmla="*/ 10693106 w 10693106"/>
              <a:gd name="connsiteY91-1318" fmla="*/ 2091608 h 5376674"/>
              <a:gd name="connsiteX92-1319" fmla="*/ 10625373 w 10693106"/>
              <a:gd name="connsiteY92-1320" fmla="*/ 2311741 h 5376674"/>
              <a:gd name="connsiteX93-1321" fmla="*/ 10608440 w 10693106"/>
              <a:gd name="connsiteY93-1322" fmla="*/ 2337141 h 5376674"/>
              <a:gd name="connsiteX94-1323" fmla="*/ 10540706 w 10693106"/>
              <a:gd name="connsiteY94-1324" fmla="*/ 2481074 h 5376674"/>
              <a:gd name="connsiteX95-1325" fmla="*/ 10498373 w 10693106"/>
              <a:gd name="connsiteY95-1326" fmla="*/ 2565741 h 5376674"/>
              <a:gd name="connsiteX96-1327" fmla="*/ 10439106 w 10693106"/>
              <a:gd name="connsiteY96-1328" fmla="*/ 2752008 h 5376674"/>
              <a:gd name="connsiteX97-1329" fmla="*/ 10430640 w 10693106"/>
              <a:gd name="connsiteY97-1330" fmla="*/ 2794341 h 5376674"/>
              <a:gd name="connsiteX98-1331" fmla="*/ 10405240 w 10693106"/>
              <a:gd name="connsiteY98-1332" fmla="*/ 2870541 h 5376674"/>
              <a:gd name="connsiteX99-1333" fmla="*/ 10396773 w 10693106"/>
              <a:gd name="connsiteY99-1334" fmla="*/ 2904408 h 5376674"/>
              <a:gd name="connsiteX100-1335" fmla="*/ 10362906 w 10693106"/>
              <a:gd name="connsiteY100-1336" fmla="*/ 2997541 h 5376674"/>
              <a:gd name="connsiteX101-1337" fmla="*/ 10329040 w 10693106"/>
              <a:gd name="connsiteY101-1338" fmla="*/ 3039874 h 5376674"/>
              <a:gd name="connsiteX102-1339" fmla="*/ 10227440 w 10693106"/>
              <a:gd name="connsiteY102-1340" fmla="*/ 3141474 h 5376674"/>
              <a:gd name="connsiteX103-1341" fmla="*/ 10168173 w 10693106"/>
              <a:gd name="connsiteY103-1342" fmla="*/ 3209208 h 5376674"/>
              <a:gd name="connsiteX104-1343" fmla="*/ 10117373 w 10693106"/>
              <a:gd name="connsiteY104-1344" fmla="*/ 3260008 h 5376674"/>
              <a:gd name="connsiteX105-1345" fmla="*/ 10032706 w 10693106"/>
              <a:gd name="connsiteY105-1346" fmla="*/ 3361608 h 5376674"/>
              <a:gd name="connsiteX106-1347" fmla="*/ 9948040 w 10693106"/>
              <a:gd name="connsiteY106-1348" fmla="*/ 3420874 h 5376674"/>
              <a:gd name="connsiteX107-1349" fmla="*/ 9905706 w 10693106"/>
              <a:gd name="connsiteY107-1350" fmla="*/ 3446274 h 5376674"/>
              <a:gd name="connsiteX108-1351" fmla="*/ 9829506 w 10693106"/>
              <a:gd name="connsiteY108-1352" fmla="*/ 3463208 h 5376674"/>
              <a:gd name="connsiteX109-1353" fmla="*/ 9727906 w 10693106"/>
              <a:gd name="connsiteY109-1354" fmla="*/ 3505541 h 5376674"/>
              <a:gd name="connsiteX110-1355" fmla="*/ 9634773 w 10693106"/>
              <a:gd name="connsiteY110-1356" fmla="*/ 3530941 h 5376674"/>
              <a:gd name="connsiteX111-1357" fmla="*/ 9456973 w 10693106"/>
              <a:gd name="connsiteY111-1358" fmla="*/ 3624074 h 5376674"/>
              <a:gd name="connsiteX112-1359" fmla="*/ 9313040 w 10693106"/>
              <a:gd name="connsiteY112-1360" fmla="*/ 3751074 h 5376674"/>
              <a:gd name="connsiteX113-1361" fmla="*/ 9279173 w 10693106"/>
              <a:gd name="connsiteY113-1362" fmla="*/ 3768008 h 5376674"/>
              <a:gd name="connsiteX114-1363" fmla="*/ 9067506 w 10693106"/>
              <a:gd name="connsiteY114-1364" fmla="*/ 3945808 h 5376674"/>
              <a:gd name="connsiteX115-1365" fmla="*/ 8999773 w 10693106"/>
              <a:gd name="connsiteY115-1366" fmla="*/ 4013541 h 5376674"/>
              <a:gd name="connsiteX116-1367" fmla="*/ 8813506 w 10693106"/>
              <a:gd name="connsiteY116-1368" fmla="*/ 4149008 h 5376674"/>
              <a:gd name="connsiteX117-1369" fmla="*/ 8728840 w 10693106"/>
              <a:gd name="connsiteY117-1370" fmla="*/ 4191341 h 5376674"/>
              <a:gd name="connsiteX118-1371" fmla="*/ 8373240 w 10693106"/>
              <a:gd name="connsiteY118-1372" fmla="*/ 4225208 h 5376674"/>
              <a:gd name="connsiteX119-1373" fmla="*/ 7966840 w 10693106"/>
              <a:gd name="connsiteY119-1374" fmla="*/ 4318341 h 5376674"/>
              <a:gd name="connsiteX120-1375" fmla="*/ 7687440 w 10693106"/>
              <a:gd name="connsiteY120-1376" fmla="*/ 4479208 h 5376674"/>
              <a:gd name="connsiteX121-1377" fmla="*/ 7551973 w 10693106"/>
              <a:gd name="connsiteY121-1378" fmla="*/ 4563874 h 5376674"/>
              <a:gd name="connsiteX122-1379" fmla="*/ 7374173 w 10693106"/>
              <a:gd name="connsiteY122-1380" fmla="*/ 4741674 h 5376674"/>
              <a:gd name="connsiteX123-1381" fmla="*/ 7374173 w 10693106"/>
              <a:gd name="connsiteY123-1382" fmla="*/ 4741674 h 5376674"/>
              <a:gd name="connsiteX124-1383" fmla="*/ 7221773 w 10693106"/>
              <a:gd name="connsiteY124-1384" fmla="*/ 4860208 h 5376674"/>
              <a:gd name="connsiteX125-1385" fmla="*/ 7027040 w 10693106"/>
              <a:gd name="connsiteY125-1386" fmla="*/ 4987208 h 5376674"/>
              <a:gd name="connsiteX126-1387" fmla="*/ 6883106 w 10693106"/>
              <a:gd name="connsiteY126-1388" fmla="*/ 5054941 h 5376674"/>
              <a:gd name="connsiteX127-1389" fmla="*/ 6815373 w 10693106"/>
              <a:gd name="connsiteY127-1390" fmla="*/ 5097274 h 5376674"/>
              <a:gd name="connsiteX128-1391" fmla="*/ 6646040 w 10693106"/>
              <a:gd name="connsiteY128-1392" fmla="*/ 5190408 h 5376674"/>
              <a:gd name="connsiteX129-1393" fmla="*/ 6527506 w 10693106"/>
              <a:gd name="connsiteY129-1394" fmla="*/ 5249674 h 5376674"/>
              <a:gd name="connsiteX130-1395" fmla="*/ 6298906 w 10693106"/>
              <a:gd name="connsiteY130-1396" fmla="*/ 5325874 h 5376674"/>
              <a:gd name="connsiteX131-1397" fmla="*/ 6197306 w 10693106"/>
              <a:gd name="connsiteY131-1398" fmla="*/ 5351274 h 5376674"/>
              <a:gd name="connsiteX132-1399" fmla="*/ 6061840 w 10693106"/>
              <a:gd name="connsiteY132-1400" fmla="*/ 5359741 h 5376674"/>
              <a:gd name="connsiteX133-1401" fmla="*/ 5917906 w 10693106"/>
              <a:gd name="connsiteY133-1402" fmla="*/ 5376674 h 5376674"/>
              <a:gd name="connsiteX134-1403" fmla="*/ 5748573 w 10693106"/>
              <a:gd name="connsiteY134-1404" fmla="*/ 5368208 h 5376674"/>
              <a:gd name="connsiteX135-1405" fmla="*/ 5282906 w 10693106"/>
              <a:gd name="connsiteY135-1406" fmla="*/ 5258141 h 5376674"/>
              <a:gd name="connsiteX136-1407" fmla="*/ 5138973 w 10693106"/>
              <a:gd name="connsiteY136-1408" fmla="*/ 5156541 h 5376674"/>
              <a:gd name="connsiteX137-1409" fmla="*/ 5020440 w 10693106"/>
              <a:gd name="connsiteY137-1410" fmla="*/ 5004141 h 5376674"/>
              <a:gd name="connsiteX138-1411" fmla="*/ 4952706 w 10693106"/>
              <a:gd name="connsiteY138-1412" fmla="*/ 4927941 h 5376674"/>
              <a:gd name="connsiteX139-1413" fmla="*/ 4884973 w 10693106"/>
              <a:gd name="connsiteY139-1414" fmla="*/ 4860208 h 5376674"/>
              <a:gd name="connsiteX140-1415" fmla="*/ 4732573 w 10693106"/>
              <a:gd name="connsiteY140-1416" fmla="*/ 4682408 h 5376674"/>
              <a:gd name="connsiteX141-1417" fmla="*/ 4673306 w 10693106"/>
              <a:gd name="connsiteY141-1418" fmla="*/ 4614674 h 5376674"/>
              <a:gd name="connsiteX142-1419" fmla="*/ 4487040 w 10693106"/>
              <a:gd name="connsiteY142-1420" fmla="*/ 4487674 h 5376674"/>
              <a:gd name="connsiteX143-1421" fmla="*/ 4427773 w 10693106"/>
              <a:gd name="connsiteY143-1422" fmla="*/ 4453808 h 5376674"/>
              <a:gd name="connsiteX144-1423" fmla="*/ 4343106 w 10693106"/>
              <a:gd name="connsiteY144-1424" fmla="*/ 4419941 h 5376674"/>
              <a:gd name="connsiteX145-1425" fmla="*/ 4224573 w 10693106"/>
              <a:gd name="connsiteY145-1426" fmla="*/ 4343741 h 5376674"/>
              <a:gd name="connsiteX146-1427" fmla="*/ 4156840 w 10693106"/>
              <a:gd name="connsiteY146-1428" fmla="*/ 4284474 h 5376674"/>
              <a:gd name="connsiteX147-1429" fmla="*/ 4021373 w 10693106"/>
              <a:gd name="connsiteY147-1430" fmla="*/ 4140541 h 5376674"/>
              <a:gd name="connsiteX148-1431" fmla="*/ 3919773 w 10693106"/>
              <a:gd name="connsiteY148-1432" fmla="*/ 4005074 h 5376674"/>
              <a:gd name="connsiteX149-1433" fmla="*/ 3877440 w 10693106"/>
              <a:gd name="connsiteY149-1434" fmla="*/ 3708741 h 5376674"/>
              <a:gd name="connsiteX150-1435" fmla="*/ 3852040 w 10693106"/>
              <a:gd name="connsiteY150-1436" fmla="*/ 3615608 h 5376674"/>
              <a:gd name="connsiteX151-1437" fmla="*/ 3801240 w 10693106"/>
              <a:gd name="connsiteY151-1438" fmla="*/ 3505541 h 5376674"/>
              <a:gd name="connsiteX152-1439" fmla="*/ 3733506 w 10693106"/>
              <a:gd name="connsiteY152-1440" fmla="*/ 3403941 h 5376674"/>
              <a:gd name="connsiteX153-1441" fmla="*/ 3242440 w 10693106"/>
              <a:gd name="connsiteY153-1442" fmla="*/ 3183808 h 5376674"/>
              <a:gd name="connsiteX154-1443" fmla="*/ 3123906 w 10693106"/>
              <a:gd name="connsiteY154-1444" fmla="*/ 3082208 h 5376674"/>
              <a:gd name="connsiteX155-1445" fmla="*/ 2988440 w 10693106"/>
              <a:gd name="connsiteY155-1446" fmla="*/ 2887474 h 5376674"/>
              <a:gd name="connsiteX156-1447" fmla="*/ 2971506 w 10693106"/>
              <a:gd name="connsiteY156-1448" fmla="*/ 2828208 h 5376674"/>
              <a:gd name="connsiteX157-1449" fmla="*/ 2996906 w 10693106"/>
              <a:gd name="connsiteY157-1450" fmla="*/ 2616541 h 5376674"/>
              <a:gd name="connsiteX158-1451" fmla="*/ 3013840 w 10693106"/>
              <a:gd name="connsiteY158-1452" fmla="*/ 2514941 h 5376674"/>
              <a:gd name="connsiteX159-1453" fmla="*/ 3005373 w 10693106"/>
              <a:gd name="connsiteY159-1454" fmla="*/ 2396408 h 5376674"/>
              <a:gd name="connsiteX160-1455" fmla="*/ 2988440 w 10693106"/>
              <a:gd name="connsiteY160-1456" fmla="*/ 2345608 h 5376674"/>
              <a:gd name="connsiteX161-1457" fmla="*/ 2802173 w 10693106"/>
              <a:gd name="connsiteY161-1458" fmla="*/ 2091608 h 5376674"/>
              <a:gd name="connsiteX162-1459" fmla="*/ 2641306 w 10693106"/>
              <a:gd name="connsiteY162-1460" fmla="*/ 1947674 h 5376674"/>
              <a:gd name="connsiteX163-1461" fmla="*/ 2590506 w 10693106"/>
              <a:gd name="connsiteY163-1462" fmla="*/ 1922274 h 5376674"/>
              <a:gd name="connsiteX164-1463" fmla="*/ 2531240 w 10693106"/>
              <a:gd name="connsiteY164-1464" fmla="*/ 1913808 h 5376674"/>
              <a:gd name="connsiteX165-1465" fmla="*/ 2446573 w 10693106"/>
              <a:gd name="connsiteY165-1466" fmla="*/ 1896874 h 5376674"/>
              <a:gd name="connsiteX166-1467" fmla="*/ 2251840 w 10693106"/>
              <a:gd name="connsiteY166-1468" fmla="*/ 1922274 h 5376674"/>
              <a:gd name="connsiteX167-1469" fmla="*/ 2167173 w 10693106"/>
              <a:gd name="connsiteY167-1470" fmla="*/ 1964608 h 5376674"/>
              <a:gd name="connsiteX168-1471" fmla="*/ 1980906 w 10693106"/>
              <a:gd name="connsiteY168-1472" fmla="*/ 2023874 h 5376674"/>
              <a:gd name="connsiteX169-1473" fmla="*/ 1904706 w 10693106"/>
              <a:gd name="connsiteY169-1474" fmla="*/ 2057741 h 5376674"/>
              <a:gd name="connsiteX170-1475" fmla="*/ 1828506 w 10693106"/>
              <a:gd name="connsiteY170-1476" fmla="*/ 2074674 h 5376674"/>
              <a:gd name="connsiteX171-1477" fmla="*/ 1726906 w 10693106"/>
              <a:gd name="connsiteY171-1478" fmla="*/ 2125474 h 5376674"/>
              <a:gd name="connsiteX172-1479" fmla="*/ 1659173 w 10693106"/>
              <a:gd name="connsiteY172-1480" fmla="*/ 2159341 h 5376674"/>
              <a:gd name="connsiteX173-1481" fmla="*/ 1498306 w 10693106"/>
              <a:gd name="connsiteY173-1482" fmla="*/ 2184741 h 5376674"/>
              <a:gd name="connsiteX174-1483" fmla="*/ 914106 w 10693106"/>
              <a:gd name="connsiteY174-1484" fmla="*/ 2117008 h 5376674"/>
              <a:gd name="connsiteX175-1485" fmla="*/ 617773 w 10693106"/>
              <a:gd name="connsiteY175-1486" fmla="*/ 2006941 h 5376674"/>
              <a:gd name="connsiteX176-1487" fmla="*/ 516173 w 10693106"/>
              <a:gd name="connsiteY176-1488" fmla="*/ 1922274 h 5376674"/>
              <a:gd name="connsiteX177-1489" fmla="*/ 355306 w 10693106"/>
              <a:gd name="connsiteY177-1490" fmla="*/ 1710608 h 5376674"/>
              <a:gd name="connsiteX178-1491" fmla="*/ 296040 w 10693106"/>
              <a:gd name="connsiteY178-1492" fmla="*/ 1609008 h 5376674"/>
              <a:gd name="connsiteX179-1493" fmla="*/ 253706 w 10693106"/>
              <a:gd name="connsiteY179-1494" fmla="*/ 1431208 h 5376674"/>
              <a:gd name="connsiteX180-1495" fmla="*/ 245240 w 10693106"/>
              <a:gd name="connsiteY180-1496" fmla="*/ 1304208 h 5376674"/>
              <a:gd name="connsiteX181-1497" fmla="*/ 236773 w 10693106"/>
              <a:gd name="connsiteY181-1498" fmla="*/ 1202608 h 5376674"/>
              <a:gd name="connsiteX182-1499" fmla="*/ 245240 w 10693106"/>
              <a:gd name="connsiteY182-1500" fmla="*/ 931674 h 5376674"/>
              <a:gd name="connsiteX183-1501" fmla="*/ 236773 w 10693106"/>
              <a:gd name="connsiteY183-1502" fmla="*/ 787741 h 5376674"/>
              <a:gd name="connsiteX184-1503" fmla="*/ 109773 w 10693106"/>
              <a:gd name="connsiteY184-1504" fmla="*/ 643808 h 5376674"/>
              <a:gd name="connsiteX185-1505" fmla="*/ 58973 w 10693106"/>
              <a:gd name="connsiteY185-1506" fmla="*/ 567608 h 5376674"/>
              <a:gd name="connsiteX186-1507" fmla="*/ 16640 w 10693106"/>
              <a:gd name="connsiteY186-1508" fmla="*/ 516808 h 5376674"/>
              <a:gd name="connsiteX187-1509" fmla="*/ 8173 w 10693106"/>
              <a:gd name="connsiteY187-1510" fmla="*/ 474474 h 5376674"/>
              <a:gd name="connsiteX188-1511" fmla="*/ 16640 w 10693106"/>
              <a:gd name="connsiteY188-1512" fmla="*/ 423674 h 5376674"/>
              <a:gd name="connsiteX0-1513" fmla="*/ 16640 w 10693106"/>
              <a:gd name="connsiteY0-1514" fmla="*/ 428745 h 5381745"/>
              <a:gd name="connsiteX1-1515" fmla="*/ 58973 w 10693106"/>
              <a:gd name="connsiteY1-1516" fmla="*/ 335612 h 5381745"/>
              <a:gd name="connsiteX2-1517" fmla="*/ 109773 w 10693106"/>
              <a:gd name="connsiteY2-1518" fmla="*/ 267879 h 5381745"/>
              <a:gd name="connsiteX3-1519" fmla="*/ 202906 w 10693106"/>
              <a:gd name="connsiteY3-1520" fmla="*/ 183212 h 5381745"/>
              <a:gd name="connsiteX4-1521" fmla="*/ 236773 w 10693106"/>
              <a:gd name="connsiteY4-1522" fmla="*/ 157812 h 5381745"/>
              <a:gd name="connsiteX5-1523" fmla="*/ 346840 w 10693106"/>
              <a:gd name="connsiteY5-1524" fmla="*/ 98545 h 5381745"/>
              <a:gd name="connsiteX6-1525" fmla="*/ 397640 w 10693106"/>
              <a:gd name="connsiteY6-1526" fmla="*/ 64679 h 5381745"/>
              <a:gd name="connsiteX7-1527" fmla="*/ 456906 w 10693106"/>
              <a:gd name="connsiteY7-1528" fmla="*/ 47745 h 5381745"/>
              <a:gd name="connsiteX8-1529" fmla="*/ 482306 w 10693106"/>
              <a:gd name="connsiteY8-1530" fmla="*/ 39279 h 5381745"/>
              <a:gd name="connsiteX9-1531" fmla="*/ 812506 w 10693106"/>
              <a:gd name="connsiteY9-1532" fmla="*/ 47745 h 5381745"/>
              <a:gd name="connsiteX10-1533" fmla="*/ 1091906 w 10693106"/>
              <a:gd name="connsiteY10-1534" fmla="*/ 90079 h 5381745"/>
              <a:gd name="connsiteX11-1535" fmla="*/ 1235840 w 10693106"/>
              <a:gd name="connsiteY11-1536" fmla="*/ 149345 h 5381745"/>
              <a:gd name="connsiteX12-1537" fmla="*/ 1337440 w 10693106"/>
              <a:gd name="connsiteY12-1538" fmla="*/ 225545 h 5381745"/>
              <a:gd name="connsiteX13-1539" fmla="*/ 1422106 w 10693106"/>
              <a:gd name="connsiteY13-1540" fmla="*/ 335612 h 5381745"/>
              <a:gd name="connsiteX14-1541" fmla="*/ 1481373 w 10693106"/>
              <a:gd name="connsiteY14-1542" fmla="*/ 403345 h 5381745"/>
              <a:gd name="connsiteX15-1543" fmla="*/ 1532173 w 10693106"/>
              <a:gd name="connsiteY15-1544" fmla="*/ 437212 h 5381745"/>
              <a:gd name="connsiteX16-1545" fmla="*/ 1684573 w 10693106"/>
              <a:gd name="connsiteY16-1546" fmla="*/ 496479 h 5381745"/>
              <a:gd name="connsiteX17-1547" fmla="*/ 1760773 w 10693106"/>
              <a:gd name="connsiteY17-1548" fmla="*/ 513412 h 5381745"/>
              <a:gd name="connsiteX18-1549" fmla="*/ 1997840 w 10693106"/>
              <a:gd name="connsiteY18-1550" fmla="*/ 504945 h 5381745"/>
              <a:gd name="connsiteX19-1551" fmla="*/ 2116373 w 10693106"/>
              <a:gd name="connsiteY19-1552" fmla="*/ 488012 h 5381745"/>
              <a:gd name="connsiteX20-1553" fmla="*/ 2260306 w 10693106"/>
              <a:gd name="connsiteY20-1554" fmla="*/ 471079 h 5381745"/>
              <a:gd name="connsiteX21-1555" fmla="*/ 2404240 w 10693106"/>
              <a:gd name="connsiteY21-1556" fmla="*/ 445679 h 5381745"/>
              <a:gd name="connsiteX22-1557" fmla="*/ 2455040 w 10693106"/>
              <a:gd name="connsiteY22-1558" fmla="*/ 420279 h 5381745"/>
              <a:gd name="connsiteX23-1559" fmla="*/ 2531240 w 10693106"/>
              <a:gd name="connsiteY23-1560" fmla="*/ 394879 h 5381745"/>
              <a:gd name="connsiteX24-1561" fmla="*/ 2683640 w 10693106"/>
              <a:gd name="connsiteY24-1562" fmla="*/ 267879 h 5381745"/>
              <a:gd name="connsiteX25-1563" fmla="*/ 2768306 w 10693106"/>
              <a:gd name="connsiteY25-1564" fmla="*/ 200145 h 5381745"/>
              <a:gd name="connsiteX26-1565" fmla="*/ 2836040 w 10693106"/>
              <a:gd name="connsiteY26-1566" fmla="*/ 140879 h 5381745"/>
              <a:gd name="connsiteX27-1567" fmla="*/ 2929173 w 10693106"/>
              <a:gd name="connsiteY27-1568" fmla="*/ 90079 h 5381745"/>
              <a:gd name="connsiteX28-1569" fmla="*/ 3064640 w 10693106"/>
              <a:gd name="connsiteY28-1570" fmla="*/ 5412 h 5381745"/>
              <a:gd name="connsiteX29-1571" fmla="*/ 3142763 w 10693106"/>
              <a:gd name="connsiteY29-1572" fmla="*/ 200144 h 5381745"/>
              <a:gd name="connsiteX30-1573" fmla="*/ 3459878 w 10693106"/>
              <a:gd name="connsiteY30-1574" fmla="*/ 60445 h 5381745"/>
              <a:gd name="connsiteX31-1575" fmla="*/ 3606506 w 10693106"/>
              <a:gd name="connsiteY31-1576" fmla="*/ 150116 h 5381745"/>
              <a:gd name="connsiteX32-1577" fmla="*/ 3708106 w 10693106"/>
              <a:gd name="connsiteY32-1578" fmla="*/ 22345 h 5381745"/>
              <a:gd name="connsiteX33-1579" fmla="*/ 3741973 w 10693106"/>
              <a:gd name="connsiteY33-1580" fmla="*/ 176284 h 5381745"/>
              <a:gd name="connsiteX34-1581" fmla="*/ 3818173 w 10693106"/>
              <a:gd name="connsiteY34-1582" fmla="*/ 90079 h 5381745"/>
              <a:gd name="connsiteX35-1583" fmla="*/ 3852040 w 10693106"/>
              <a:gd name="connsiteY35-1584" fmla="*/ 115479 h 5381745"/>
              <a:gd name="connsiteX36-1585" fmla="*/ 3885906 w 10693106"/>
              <a:gd name="connsiteY36-1586" fmla="*/ 132412 h 5381745"/>
              <a:gd name="connsiteX37-1587" fmla="*/ 3945173 w 10693106"/>
              <a:gd name="connsiteY37-1588" fmla="*/ 174745 h 5381745"/>
              <a:gd name="connsiteX38-1589" fmla="*/ 3995973 w 10693106"/>
              <a:gd name="connsiteY38-1590" fmla="*/ 200145 h 5381745"/>
              <a:gd name="connsiteX39-1591" fmla="*/ 4021373 w 10693106"/>
              <a:gd name="connsiteY39-1592" fmla="*/ 234012 h 5381745"/>
              <a:gd name="connsiteX40-1593" fmla="*/ 4055240 w 10693106"/>
              <a:gd name="connsiteY40-1594" fmla="*/ 242479 h 5381745"/>
              <a:gd name="connsiteX41-1595" fmla="*/ 4275373 w 10693106"/>
              <a:gd name="connsiteY41-1596" fmla="*/ 284812 h 5381745"/>
              <a:gd name="connsiteX42-1597" fmla="*/ 4402373 w 10693106"/>
              <a:gd name="connsiteY42-1598" fmla="*/ 318679 h 5381745"/>
              <a:gd name="connsiteX43-1599" fmla="*/ 4529373 w 10693106"/>
              <a:gd name="connsiteY43-1600" fmla="*/ 361012 h 5381745"/>
              <a:gd name="connsiteX44-1601" fmla="*/ 4859573 w 10693106"/>
              <a:gd name="connsiteY44-1602" fmla="*/ 437212 h 5381745"/>
              <a:gd name="connsiteX45-1603" fmla="*/ 5045840 w 10693106"/>
              <a:gd name="connsiteY45-1604" fmla="*/ 513412 h 5381745"/>
              <a:gd name="connsiteX46-1605" fmla="*/ 5325240 w 10693106"/>
              <a:gd name="connsiteY46-1606" fmla="*/ 674279 h 5381745"/>
              <a:gd name="connsiteX47-1607" fmla="*/ 5494573 w 10693106"/>
              <a:gd name="connsiteY47-1608" fmla="*/ 826679 h 5381745"/>
              <a:gd name="connsiteX48-1609" fmla="*/ 5562306 w 10693106"/>
              <a:gd name="connsiteY48-1610" fmla="*/ 902879 h 5381745"/>
              <a:gd name="connsiteX49-1611" fmla="*/ 5621573 w 10693106"/>
              <a:gd name="connsiteY49-1612" fmla="*/ 953679 h 5381745"/>
              <a:gd name="connsiteX50-1613" fmla="*/ 5672373 w 10693106"/>
              <a:gd name="connsiteY50-1614" fmla="*/ 1021412 h 5381745"/>
              <a:gd name="connsiteX51-1615" fmla="*/ 5757040 w 10693106"/>
              <a:gd name="connsiteY51-1616" fmla="*/ 1123012 h 5381745"/>
              <a:gd name="connsiteX52-1617" fmla="*/ 5833240 w 10693106"/>
              <a:gd name="connsiteY52-1618" fmla="*/ 1216145 h 5381745"/>
              <a:gd name="connsiteX53-1619" fmla="*/ 6019506 w 10693106"/>
              <a:gd name="connsiteY53-1620" fmla="*/ 1419345 h 5381745"/>
              <a:gd name="connsiteX54-1621" fmla="*/ 6087240 w 10693106"/>
              <a:gd name="connsiteY54-1622" fmla="*/ 1470145 h 5381745"/>
              <a:gd name="connsiteX55-1623" fmla="*/ 6171906 w 10693106"/>
              <a:gd name="connsiteY55-1624" fmla="*/ 1571745 h 5381745"/>
              <a:gd name="connsiteX56-1625" fmla="*/ 6451306 w 10693106"/>
              <a:gd name="connsiteY56-1626" fmla="*/ 1783412 h 5381745"/>
              <a:gd name="connsiteX57-1627" fmla="*/ 6519040 w 10693106"/>
              <a:gd name="connsiteY57-1628" fmla="*/ 1791879 h 5381745"/>
              <a:gd name="connsiteX58-1629" fmla="*/ 6603706 w 10693106"/>
              <a:gd name="connsiteY58-1630" fmla="*/ 1825745 h 5381745"/>
              <a:gd name="connsiteX59-1631" fmla="*/ 6671440 w 10693106"/>
              <a:gd name="connsiteY59-1632" fmla="*/ 1859612 h 5381745"/>
              <a:gd name="connsiteX60-1633" fmla="*/ 6866173 w 10693106"/>
              <a:gd name="connsiteY60-1634" fmla="*/ 1885012 h 5381745"/>
              <a:gd name="connsiteX61-1635" fmla="*/ 7196373 w 10693106"/>
              <a:gd name="connsiteY61-1636" fmla="*/ 1868079 h 5381745"/>
              <a:gd name="connsiteX62-1637" fmla="*/ 7509640 w 10693106"/>
              <a:gd name="connsiteY62-1638" fmla="*/ 1791879 h 5381745"/>
              <a:gd name="connsiteX63-1639" fmla="*/ 7628173 w 10693106"/>
              <a:gd name="connsiteY63-1640" fmla="*/ 1766479 h 5381745"/>
              <a:gd name="connsiteX64-1641" fmla="*/ 7704373 w 10693106"/>
              <a:gd name="connsiteY64-1642" fmla="*/ 1724145 h 5381745"/>
              <a:gd name="connsiteX65-1643" fmla="*/ 7755173 w 10693106"/>
              <a:gd name="connsiteY65-1644" fmla="*/ 1715679 h 5381745"/>
              <a:gd name="connsiteX66-1645" fmla="*/ 7797506 w 10693106"/>
              <a:gd name="connsiteY66-1646" fmla="*/ 1681812 h 5381745"/>
              <a:gd name="connsiteX67-1647" fmla="*/ 7856773 w 10693106"/>
              <a:gd name="connsiteY67-1648" fmla="*/ 1664879 h 5381745"/>
              <a:gd name="connsiteX68-1649" fmla="*/ 7958373 w 10693106"/>
              <a:gd name="connsiteY68-1650" fmla="*/ 1597145 h 5381745"/>
              <a:gd name="connsiteX69-1651" fmla="*/ 8009173 w 10693106"/>
              <a:gd name="connsiteY69-1652" fmla="*/ 1546345 h 5381745"/>
              <a:gd name="connsiteX70-1653" fmla="*/ 8339373 w 10693106"/>
              <a:gd name="connsiteY70-1654" fmla="*/ 1300812 h 5381745"/>
              <a:gd name="connsiteX71-1655" fmla="*/ 8576440 w 10693106"/>
              <a:gd name="connsiteY71-1656" fmla="*/ 1046812 h 5381745"/>
              <a:gd name="connsiteX72-1657" fmla="*/ 8652640 w 10693106"/>
              <a:gd name="connsiteY72-1658" fmla="*/ 767412 h 5381745"/>
              <a:gd name="connsiteX73-1659" fmla="*/ 8847373 w 10693106"/>
              <a:gd name="connsiteY73-1660" fmla="*/ 581145 h 5381745"/>
              <a:gd name="connsiteX74-1661" fmla="*/ 8982840 w 10693106"/>
              <a:gd name="connsiteY74-1662" fmla="*/ 488012 h 5381745"/>
              <a:gd name="connsiteX75-1663" fmla="*/ 9084440 w 10693106"/>
              <a:gd name="connsiteY75-1664" fmla="*/ 454145 h 5381745"/>
              <a:gd name="connsiteX76-1665" fmla="*/ 9152173 w 10693106"/>
              <a:gd name="connsiteY76-1666" fmla="*/ 428745 h 5381745"/>
              <a:gd name="connsiteX77-1667" fmla="*/ 9380773 w 10693106"/>
              <a:gd name="connsiteY77-1668" fmla="*/ 445679 h 5381745"/>
              <a:gd name="connsiteX78-1669" fmla="*/ 9744840 w 10693106"/>
              <a:gd name="connsiteY78-1670" fmla="*/ 555745 h 5381745"/>
              <a:gd name="connsiteX79-1671" fmla="*/ 9888773 w 10693106"/>
              <a:gd name="connsiteY79-1672" fmla="*/ 598079 h 5381745"/>
              <a:gd name="connsiteX80-1673" fmla="*/ 9998840 w 10693106"/>
              <a:gd name="connsiteY80-1674" fmla="*/ 648879 h 5381745"/>
              <a:gd name="connsiteX81-1675" fmla="*/ 10083506 w 10693106"/>
              <a:gd name="connsiteY81-1676" fmla="*/ 708145 h 5381745"/>
              <a:gd name="connsiteX82-1677" fmla="*/ 10286706 w 10693106"/>
              <a:gd name="connsiteY82-1678" fmla="*/ 775879 h 5381745"/>
              <a:gd name="connsiteX83-1679" fmla="*/ 10388306 w 10693106"/>
              <a:gd name="connsiteY83-1680" fmla="*/ 979079 h 5381745"/>
              <a:gd name="connsiteX84-1681" fmla="*/ 10540706 w 10693106"/>
              <a:gd name="connsiteY84-1682" fmla="*/ 1351612 h 5381745"/>
              <a:gd name="connsiteX85-1683" fmla="*/ 10557640 w 10693106"/>
              <a:gd name="connsiteY85-1684" fmla="*/ 1436279 h 5381745"/>
              <a:gd name="connsiteX86-1685" fmla="*/ 10583040 w 10693106"/>
              <a:gd name="connsiteY86-1686" fmla="*/ 1537879 h 5381745"/>
              <a:gd name="connsiteX87-1687" fmla="*/ 10616906 w 10693106"/>
              <a:gd name="connsiteY87-1688" fmla="*/ 1741079 h 5381745"/>
              <a:gd name="connsiteX88-1689" fmla="*/ 10633840 w 10693106"/>
              <a:gd name="connsiteY88-1690" fmla="*/ 1825745 h 5381745"/>
              <a:gd name="connsiteX89-1691" fmla="*/ 10650773 w 10693106"/>
              <a:gd name="connsiteY89-1692" fmla="*/ 1859612 h 5381745"/>
              <a:gd name="connsiteX90-1693" fmla="*/ 10676173 w 10693106"/>
              <a:gd name="connsiteY90-1694" fmla="*/ 1944279 h 5381745"/>
              <a:gd name="connsiteX91-1695" fmla="*/ 10693106 w 10693106"/>
              <a:gd name="connsiteY91-1696" fmla="*/ 2096679 h 5381745"/>
              <a:gd name="connsiteX92-1697" fmla="*/ 10625373 w 10693106"/>
              <a:gd name="connsiteY92-1698" fmla="*/ 2316812 h 5381745"/>
              <a:gd name="connsiteX93-1699" fmla="*/ 10608440 w 10693106"/>
              <a:gd name="connsiteY93-1700" fmla="*/ 2342212 h 5381745"/>
              <a:gd name="connsiteX94-1701" fmla="*/ 10540706 w 10693106"/>
              <a:gd name="connsiteY94-1702" fmla="*/ 2486145 h 5381745"/>
              <a:gd name="connsiteX95-1703" fmla="*/ 10498373 w 10693106"/>
              <a:gd name="connsiteY95-1704" fmla="*/ 2570812 h 5381745"/>
              <a:gd name="connsiteX96-1705" fmla="*/ 10439106 w 10693106"/>
              <a:gd name="connsiteY96-1706" fmla="*/ 2757079 h 5381745"/>
              <a:gd name="connsiteX97-1707" fmla="*/ 10430640 w 10693106"/>
              <a:gd name="connsiteY97-1708" fmla="*/ 2799412 h 5381745"/>
              <a:gd name="connsiteX98-1709" fmla="*/ 10405240 w 10693106"/>
              <a:gd name="connsiteY98-1710" fmla="*/ 2875612 h 5381745"/>
              <a:gd name="connsiteX99-1711" fmla="*/ 10396773 w 10693106"/>
              <a:gd name="connsiteY99-1712" fmla="*/ 2909479 h 5381745"/>
              <a:gd name="connsiteX100-1713" fmla="*/ 10362906 w 10693106"/>
              <a:gd name="connsiteY100-1714" fmla="*/ 3002612 h 5381745"/>
              <a:gd name="connsiteX101-1715" fmla="*/ 10329040 w 10693106"/>
              <a:gd name="connsiteY101-1716" fmla="*/ 3044945 h 5381745"/>
              <a:gd name="connsiteX102-1717" fmla="*/ 10227440 w 10693106"/>
              <a:gd name="connsiteY102-1718" fmla="*/ 3146545 h 5381745"/>
              <a:gd name="connsiteX103-1719" fmla="*/ 10168173 w 10693106"/>
              <a:gd name="connsiteY103-1720" fmla="*/ 3214279 h 5381745"/>
              <a:gd name="connsiteX104-1721" fmla="*/ 10117373 w 10693106"/>
              <a:gd name="connsiteY104-1722" fmla="*/ 3265079 h 5381745"/>
              <a:gd name="connsiteX105-1723" fmla="*/ 10032706 w 10693106"/>
              <a:gd name="connsiteY105-1724" fmla="*/ 3366679 h 5381745"/>
              <a:gd name="connsiteX106-1725" fmla="*/ 9948040 w 10693106"/>
              <a:gd name="connsiteY106-1726" fmla="*/ 3425945 h 5381745"/>
              <a:gd name="connsiteX107-1727" fmla="*/ 9905706 w 10693106"/>
              <a:gd name="connsiteY107-1728" fmla="*/ 3451345 h 5381745"/>
              <a:gd name="connsiteX108-1729" fmla="*/ 9829506 w 10693106"/>
              <a:gd name="connsiteY108-1730" fmla="*/ 3468279 h 5381745"/>
              <a:gd name="connsiteX109-1731" fmla="*/ 9727906 w 10693106"/>
              <a:gd name="connsiteY109-1732" fmla="*/ 3510612 h 5381745"/>
              <a:gd name="connsiteX110-1733" fmla="*/ 9634773 w 10693106"/>
              <a:gd name="connsiteY110-1734" fmla="*/ 3536012 h 5381745"/>
              <a:gd name="connsiteX111-1735" fmla="*/ 9456973 w 10693106"/>
              <a:gd name="connsiteY111-1736" fmla="*/ 3629145 h 5381745"/>
              <a:gd name="connsiteX112-1737" fmla="*/ 9313040 w 10693106"/>
              <a:gd name="connsiteY112-1738" fmla="*/ 3756145 h 5381745"/>
              <a:gd name="connsiteX113-1739" fmla="*/ 9279173 w 10693106"/>
              <a:gd name="connsiteY113-1740" fmla="*/ 3773079 h 5381745"/>
              <a:gd name="connsiteX114-1741" fmla="*/ 9067506 w 10693106"/>
              <a:gd name="connsiteY114-1742" fmla="*/ 3950879 h 5381745"/>
              <a:gd name="connsiteX115-1743" fmla="*/ 8999773 w 10693106"/>
              <a:gd name="connsiteY115-1744" fmla="*/ 4018612 h 5381745"/>
              <a:gd name="connsiteX116-1745" fmla="*/ 8813506 w 10693106"/>
              <a:gd name="connsiteY116-1746" fmla="*/ 4154079 h 5381745"/>
              <a:gd name="connsiteX117-1747" fmla="*/ 8728840 w 10693106"/>
              <a:gd name="connsiteY117-1748" fmla="*/ 4196412 h 5381745"/>
              <a:gd name="connsiteX118-1749" fmla="*/ 8373240 w 10693106"/>
              <a:gd name="connsiteY118-1750" fmla="*/ 4230279 h 5381745"/>
              <a:gd name="connsiteX119-1751" fmla="*/ 7966840 w 10693106"/>
              <a:gd name="connsiteY119-1752" fmla="*/ 4323412 h 5381745"/>
              <a:gd name="connsiteX120-1753" fmla="*/ 7687440 w 10693106"/>
              <a:gd name="connsiteY120-1754" fmla="*/ 4484279 h 5381745"/>
              <a:gd name="connsiteX121-1755" fmla="*/ 7551973 w 10693106"/>
              <a:gd name="connsiteY121-1756" fmla="*/ 4568945 h 5381745"/>
              <a:gd name="connsiteX122-1757" fmla="*/ 7374173 w 10693106"/>
              <a:gd name="connsiteY122-1758" fmla="*/ 4746745 h 5381745"/>
              <a:gd name="connsiteX123-1759" fmla="*/ 7374173 w 10693106"/>
              <a:gd name="connsiteY123-1760" fmla="*/ 4746745 h 5381745"/>
              <a:gd name="connsiteX124-1761" fmla="*/ 7221773 w 10693106"/>
              <a:gd name="connsiteY124-1762" fmla="*/ 4865279 h 5381745"/>
              <a:gd name="connsiteX125-1763" fmla="*/ 7027040 w 10693106"/>
              <a:gd name="connsiteY125-1764" fmla="*/ 4992279 h 5381745"/>
              <a:gd name="connsiteX126-1765" fmla="*/ 6883106 w 10693106"/>
              <a:gd name="connsiteY126-1766" fmla="*/ 5060012 h 5381745"/>
              <a:gd name="connsiteX127-1767" fmla="*/ 6815373 w 10693106"/>
              <a:gd name="connsiteY127-1768" fmla="*/ 5102345 h 5381745"/>
              <a:gd name="connsiteX128-1769" fmla="*/ 6646040 w 10693106"/>
              <a:gd name="connsiteY128-1770" fmla="*/ 5195479 h 5381745"/>
              <a:gd name="connsiteX129-1771" fmla="*/ 6527506 w 10693106"/>
              <a:gd name="connsiteY129-1772" fmla="*/ 5254745 h 5381745"/>
              <a:gd name="connsiteX130-1773" fmla="*/ 6298906 w 10693106"/>
              <a:gd name="connsiteY130-1774" fmla="*/ 5330945 h 5381745"/>
              <a:gd name="connsiteX131-1775" fmla="*/ 6197306 w 10693106"/>
              <a:gd name="connsiteY131-1776" fmla="*/ 5356345 h 5381745"/>
              <a:gd name="connsiteX132-1777" fmla="*/ 6061840 w 10693106"/>
              <a:gd name="connsiteY132-1778" fmla="*/ 5364812 h 5381745"/>
              <a:gd name="connsiteX133-1779" fmla="*/ 5917906 w 10693106"/>
              <a:gd name="connsiteY133-1780" fmla="*/ 5381745 h 5381745"/>
              <a:gd name="connsiteX134-1781" fmla="*/ 5748573 w 10693106"/>
              <a:gd name="connsiteY134-1782" fmla="*/ 5373279 h 5381745"/>
              <a:gd name="connsiteX135-1783" fmla="*/ 5282906 w 10693106"/>
              <a:gd name="connsiteY135-1784" fmla="*/ 5263212 h 5381745"/>
              <a:gd name="connsiteX136-1785" fmla="*/ 5138973 w 10693106"/>
              <a:gd name="connsiteY136-1786" fmla="*/ 5161612 h 5381745"/>
              <a:gd name="connsiteX137-1787" fmla="*/ 5020440 w 10693106"/>
              <a:gd name="connsiteY137-1788" fmla="*/ 5009212 h 5381745"/>
              <a:gd name="connsiteX138-1789" fmla="*/ 4952706 w 10693106"/>
              <a:gd name="connsiteY138-1790" fmla="*/ 4933012 h 5381745"/>
              <a:gd name="connsiteX139-1791" fmla="*/ 4884973 w 10693106"/>
              <a:gd name="connsiteY139-1792" fmla="*/ 4865279 h 5381745"/>
              <a:gd name="connsiteX140-1793" fmla="*/ 4732573 w 10693106"/>
              <a:gd name="connsiteY140-1794" fmla="*/ 4687479 h 5381745"/>
              <a:gd name="connsiteX141-1795" fmla="*/ 4673306 w 10693106"/>
              <a:gd name="connsiteY141-1796" fmla="*/ 4619745 h 5381745"/>
              <a:gd name="connsiteX142-1797" fmla="*/ 4487040 w 10693106"/>
              <a:gd name="connsiteY142-1798" fmla="*/ 4492745 h 5381745"/>
              <a:gd name="connsiteX143-1799" fmla="*/ 4427773 w 10693106"/>
              <a:gd name="connsiteY143-1800" fmla="*/ 4458879 h 5381745"/>
              <a:gd name="connsiteX144-1801" fmla="*/ 4343106 w 10693106"/>
              <a:gd name="connsiteY144-1802" fmla="*/ 4425012 h 5381745"/>
              <a:gd name="connsiteX145-1803" fmla="*/ 4224573 w 10693106"/>
              <a:gd name="connsiteY145-1804" fmla="*/ 4348812 h 5381745"/>
              <a:gd name="connsiteX146-1805" fmla="*/ 4156840 w 10693106"/>
              <a:gd name="connsiteY146-1806" fmla="*/ 4289545 h 5381745"/>
              <a:gd name="connsiteX147-1807" fmla="*/ 4021373 w 10693106"/>
              <a:gd name="connsiteY147-1808" fmla="*/ 4145612 h 5381745"/>
              <a:gd name="connsiteX148-1809" fmla="*/ 3919773 w 10693106"/>
              <a:gd name="connsiteY148-1810" fmla="*/ 4010145 h 5381745"/>
              <a:gd name="connsiteX149-1811" fmla="*/ 3877440 w 10693106"/>
              <a:gd name="connsiteY149-1812" fmla="*/ 3713812 h 5381745"/>
              <a:gd name="connsiteX150-1813" fmla="*/ 3852040 w 10693106"/>
              <a:gd name="connsiteY150-1814" fmla="*/ 3620679 h 5381745"/>
              <a:gd name="connsiteX151-1815" fmla="*/ 3801240 w 10693106"/>
              <a:gd name="connsiteY151-1816" fmla="*/ 3510612 h 5381745"/>
              <a:gd name="connsiteX152-1817" fmla="*/ 3733506 w 10693106"/>
              <a:gd name="connsiteY152-1818" fmla="*/ 3409012 h 5381745"/>
              <a:gd name="connsiteX153-1819" fmla="*/ 3242440 w 10693106"/>
              <a:gd name="connsiteY153-1820" fmla="*/ 3188879 h 5381745"/>
              <a:gd name="connsiteX154-1821" fmla="*/ 3123906 w 10693106"/>
              <a:gd name="connsiteY154-1822" fmla="*/ 3087279 h 5381745"/>
              <a:gd name="connsiteX155-1823" fmla="*/ 2988440 w 10693106"/>
              <a:gd name="connsiteY155-1824" fmla="*/ 2892545 h 5381745"/>
              <a:gd name="connsiteX156-1825" fmla="*/ 2971506 w 10693106"/>
              <a:gd name="connsiteY156-1826" fmla="*/ 2833279 h 5381745"/>
              <a:gd name="connsiteX157-1827" fmla="*/ 2996906 w 10693106"/>
              <a:gd name="connsiteY157-1828" fmla="*/ 2621612 h 5381745"/>
              <a:gd name="connsiteX158-1829" fmla="*/ 3013840 w 10693106"/>
              <a:gd name="connsiteY158-1830" fmla="*/ 2520012 h 5381745"/>
              <a:gd name="connsiteX159-1831" fmla="*/ 3005373 w 10693106"/>
              <a:gd name="connsiteY159-1832" fmla="*/ 2401479 h 5381745"/>
              <a:gd name="connsiteX160-1833" fmla="*/ 2988440 w 10693106"/>
              <a:gd name="connsiteY160-1834" fmla="*/ 2350679 h 5381745"/>
              <a:gd name="connsiteX161-1835" fmla="*/ 2802173 w 10693106"/>
              <a:gd name="connsiteY161-1836" fmla="*/ 2096679 h 5381745"/>
              <a:gd name="connsiteX162-1837" fmla="*/ 2641306 w 10693106"/>
              <a:gd name="connsiteY162-1838" fmla="*/ 1952745 h 5381745"/>
              <a:gd name="connsiteX163-1839" fmla="*/ 2590506 w 10693106"/>
              <a:gd name="connsiteY163-1840" fmla="*/ 1927345 h 5381745"/>
              <a:gd name="connsiteX164-1841" fmla="*/ 2531240 w 10693106"/>
              <a:gd name="connsiteY164-1842" fmla="*/ 1918879 h 5381745"/>
              <a:gd name="connsiteX165-1843" fmla="*/ 2446573 w 10693106"/>
              <a:gd name="connsiteY165-1844" fmla="*/ 1901945 h 5381745"/>
              <a:gd name="connsiteX166-1845" fmla="*/ 2251840 w 10693106"/>
              <a:gd name="connsiteY166-1846" fmla="*/ 1927345 h 5381745"/>
              <a:gd name="connsiteX167-1847" fmla="*/ 2167173 w 10693106"/>
              <a:gd name="connsiteY167-1848" fmla="*/ 1969679 h 5381745"/>
              <a:gd name="connsiteX168-1849" fmla="*/ 1980906 w 10693106"/>
              <a:gd name="connsiteY168-1850" fmla="*/ 2028945 h 5381745"/>
              <a:gd name="connsiteX169-1851" fmla="*/ 1904706 w 10693106"/>
              <a:gd name="connsiteY169-1852" fmla="*/ 2062812 h 5381745"/>
              <a:gd name="connsiteX170-1853" fmla="*/ 1828506 w 10693106"/>
              <a:gd name="connsiteY170-1854" fmla="*/ 2079745 h 5381745"/>
              <a:gd name="connsiteX171-1855" fmla="*/ 1726906 w 10693106"/>
              <a:gd name="connsiteY171-1856" fmla="*/ 2130545 h 5381745"/>
              <a:gd name="connsiteX172-1857" fmla="*/ 1659173 w 10693106"/>
              <a:gd name="connsiteY172-1858" fmla="*/ 2164412 h 5381745"/>
              <a:gd name="connsiteX173-1859" fmla="*/ 1498306 w 10693106"/>
              <a:gd name="connsiteY173-1860" fmla="*/ 2189812 h 5381745"/>
              <a:gd name="connsiteX174-1861" fmla="*/ 914106 w 10693106"/>
              <a:gd name="connsiteY174-1862" fmla="*/ 2122079 h 5381745"/>
              <a:gd name="connsiteX175-1863" fmla="*/ 617773 w 10693106"/>
              <a:gd name="connsiteY175-1864" fmla="*/ 2012012 h 5381745"/>
              <a:gd name="connsiteX176-1865" fmla="*/ 516173 w 10693106"/>
              <a:gd name="connsiteY176-1866" fmla="*/ 1927345 h 5381745"/>
              <a:gd name="connsiteX177-1867" fmla="*/ 355306 w 10693106"/>
              <a:gd name="connsiteY177-1868" fmla="*/ 1715679 h 5381745"/>
              <a:gd name="connsiteX178-1869" fmla="*/ 296040 w 10693106"/>
              <a:gd name="connsiteY178-1870" fmla="*/ 1614079 h 5381745"/>
              <a:gd name="connsiteX179-1871" fmla="*/ 253706 w 10693106"/>
              <a:gd name="connsiteY179-1872" fmla="*/ 1436279 h 5381745"/>
              <a:gd name="connsiteX180-1873" fmla="*/ 245240 w 10693106"/>
              <a:gd name="connsiteY180-1874" fmla="*/ 1309279 h 5381745"/>
              <a:gd name="connsiteX181-1875" fmla="*/ 236773 w 10693106"/>
              <a:gd name="connsiteY181-1876" fmla="*/ 1207679 h 5381745"/>
              <a:gd name="connsiteX182-1877" fmla="*/ 245240 w 10693106"/>
              <a:gd name="connsiteY182-1878" fmla="*/ 936745 h 5381745"/>
              <a:gd name="connsiteX183-1879" fmla="*/ 236773 w 10693106"/>
              <a:gd name="connsiteY183-1880" fmla="*/ 792812 h 5381745"/>
              <a:gd name="connsiteX184-1881" fmla="*/ 109773 w 10693106"/>
              <a:gd name="connsiteY184-1882" fmla="*/ 648879 h 5381745"/>
              <a:gd name="connsiteX185-1883" fmla="*/ 58973 w 10693106"/>
              <a:gd name="connsiteY185-1884" fmla="*/ 572679 h 5381745"/>
              <a:gd name="connsiteX186-1885" fmla="*/ 16640 w 10693106"/>
              <a:gd name="connsiteY186-1886" fmla="*/ 521879 h 5381745"/>
              <a:gd name="connsiteX187-1887" fmla="*/ 8173 w 10693106"/>
              <a:gd name="connsiteY187-1888" fmla="*/ 479545 h 5381745"/>
              <a:gd name="connsiteX188-1889" fmla="*/ 16640 w 10693106"/>
              <a:gd name="connsiteY188-1890" fmla="*/ 428745 h 5381745"/>
              <a:gd name="connsiteX0-1891" fmla="*/ 16640 w 10693106"/>
              <a:gd name="connsiteY0-1892" fmla="*/ 406493 h 5359493"/>
              <a:gd name="connsiteX1-1893" fmla="*/ 58973 w 10693106"/>
              <a:gd name="connsiteY1-1894" fmla="*/ 313360 h 5359493"/>
              <a:gd name="connsiteX2-1895" fmla="*/ 109773 w 10693106"/>
              <a:gd name="connsiteY2-1896" fmla="*/ 245627 h 5359493"/>
              <a:gd name="connsiteX3-1897" fmla="*/ 202906 w 10693106"/>
              <a:gd name="connsiteY3-1898" fmla="*/ 160960 h 5359493"/>
              <a:gd name="connsiteX4-1899" fmla="*/ 236773 w 10693106"/>
              <a:gd name="connsiteY4-1900" fmla="*/ 135560 h 5359493"/>
              <a:gd name="connsiteX5-1901" fmla="*/ 346840 w 10693106"/>
              <a:gd name="connsiteY5-1902" fmla="*/ 76293 h 5359493"/>
              <a:gd name="connsiteX6-1903" fmla="*/ 397640 w 10693106"/>
              <a:gd name="connsiteY6-1904" fmla="*/ 42427 h 5359493"/>
              <a:gd name="connsiteX7-1905" fmla="*/ 456906 w 10693106"/>
              <a:gd name="connsiteY7-1906" fmla="*/ 25493 h 5359493"/>
              <a:gd name="connsiteX8-1907" fmla="*/ 482306 w 10693106"/>
              <a:gd name="connsiteY8-1908" fmla="*/ 17027 h 5359493"/>
              <a:gd name="connsiteX9-1909" fmla="*/ 812506 w 10693106"/>
              <a:gd name="connsiteY9-1910" fmla="*/ 25493 h 5359493"/>
              <a:gd name="connsiteX10-1911" fmla="*/ 1091906 w 10693106"/>
              <a:gd name="connsiteY10-1912" fmla="*/ 67827 h 5359493"/>
              <a:gd name="connsiteX11-1913" fmla="*/ 1235840 w 10693106"/>
              <a:gd name="connsiteY11-1914" fmla="*/ 127093 h 5359493"/>
              <a:gd name="connsiteX12-1915" fmla="*/ 1337440 w 10693106"/>
              <a:gd name="connsiteY12-1916" fmla="*/ 203293 h 5359493"/>
              <a:gd name="connsiteX13-1917" fmla="*/ 1422106 w 10693106"/>
              <a:gd name="connsiteY13-1918" fmla="*/ 313360 h 5359493"/>
              <a:gd name="connsiteX14-1919" fmla="*/ 1481373 w 10693106"/>
              <a:gd name="connsiteY14-1920" fmla="*/ 381093 h 5359493"/>
              <a:gd name="connsiteX15-1921" fmla="*/ 1532173 w 10693106"/>
              <a:gd name="connsiteY15-1922" fmla="*/ 414960 h 5359493"/>
              <a:gd name="connsiteX16-1923" fmla="*/ 1684573 w 10693106"/>
              <a:gd name="connsiteY16-1924" fmla="*/ 474227 h 5359493"/>
              <a:gd name="connsiteX17-1925" fmla="*/ 1760773 w 10693106"/>
              <a:gd name="connsiteY17-1926" fmla="*/ 491160 h 5359493"/>
              <a:gd name="connsiteX18-1927" fmla="*/ 1997840 w 10693106"/>
              <a:gd name="connsiteY18-1928" fmla="*/ 482693 h 5359493"/>
              <a:gd name="connsiteX19-1929" fmla="*/ 2116373 w 10693106"/>
              <a:gd name="connsiteY19-1930" fmla="*/ 465760 h 5359493"/>
              <a:gd name="connsiteX20-1931" fmla="*/ 2260306 w 10693106"/>
              <a:gd name="connsiteY20-1932" fmla="*/ 448827 h 5359493"/>
              <a:gd name="connsiteX21-1933" fmla="*/ 2404240 w 10693106"/>
              <a:gd name="connsiteY21-1934" fmla="*/ 423427 h 5359493"/>
              <a:gd name="connsiteX22-1935" fmla="*/ 2455040 w 10693106"/>
              <a:gd name="connsiteY22-1936" fmla="*/ 398027 h 5359493"/>
              <a:gd name="connsiteX23-1937" fmla="*/ 2531240 w 10693106"/>
              <a:gd name="connsiteY23-1938" fmla="*/ 372627 h 5359493"/>
              <a:gd name="connsiteX24-1939" fmla="*/ 2683640 w 10693106"/>
              <a:gd name="connsiteY24-1940" fmla="*/ 245627 h 5359493"/>
              <a:gd name="connsiteX25-1941" fmla="*/ 2768306 w 10693106"/>
              <a:gd name="connsiteY25-1942" fmla="*/ 177893 h 5359493"/>
              <a:gd name="connsiteX26-1943" fmla="*/ 2836040 w 10693106"/>
              <a:gd name="connsiteY26-1944" fmla="*/ 118627 h 5359493"/>
              <a:gd name="connsiteX27-1945" fmla="*/ 2929173 w 10693106"/>
              <a:gd name="connsiteY27-1946" fmla="*/ 67827 h 5359493"/>
              <a:gd name="connsiteX28-1947" fmla="*/ 3002294 w 10693106"/>
              <a:gd name="connsiteY28-1948" fmla="*/ 128633 h 5359493"/>
              <a:gd name="connsiteX29-1949" fmla="*/ 3142763 w 10693106"/>
              <a:gd name="connsiteY29-1950" fmla="*/ 177892 h 5359493"/>
              <a:gd name="connsiteX30-1951" fmla="*/ 3459878 w 10693106"/>
              <a:gd name="connsiteY30-1952" fmla="*/ 38193 h 5359493"/>
              <a:gd name="connsiteX31-1953" fmla="*/ 3606506 w 10693106"/>
              <a:gd name="connsiteY31-1954" fmla="*/ 127864 h 5359493"/>
              <a:gd name="connsiteX32-1955" fmla="*/ 3708106 w 10693106"/>
              <a:gd name="connsiteY32-1956" fmla="*/ 93 h 5359493"/>
              <a:gd name="connsiteX33-1957" fmla="*/ 3741973 w 10693106"/>
              <a:gd name="connsiteY33-1958" fmla="*/ 154032 h 5359493"/>
              <a:gd name="connsiteX34-1959" fmla="*/ 3818173 w 10693106"/>
              <a:gd name="connsiteY34-1960" fmla="*/ 67827 h 5359493"/>
              <a:gd name="connsiteX35-1961" fmla="*/ 3852040 w 10693106"/>
              <a:gd name="connsiteY35-1962" fmla="*/ 93227 h 5359493"/>
              <a:gd name="connsiteX36-1963" fmla="*/ 3885906 w 10693106"/>
              <a:gd name="connsiteY36-1964" fmla="*/ 110160 h 5359493"/>
              <a:gd name="connsiteX37-1965" fmla="*/ 3945173 w 10693106"/>
              <a:gd name="connsiteY37-1966" fmla="*/ 152493 h 5359493"/>
              <a:gd name="connsiteX38-1967" fmla="*/ 3995973 w 10693106"/>
              <a:gd name="connsiteY38-1968" fmla="*/ 177893 h 5359493"/>
              <a:gd name="connsiteX39-1969" fmla="*/ 4021373 w 10693106"/>
              <a:gd name="connsiteY39-1970" fmla="*/ 211760 h 5359493"/>
              <a:gd name="connsiteX40-1971" fmla="*/ 4055240 w 10693106"/>
              <a:gd name="connsiteY40-1972" fmla="*/ 220227 h 5359493"/>
              <a:gd name="connsiteX41-1973" fmla="*/ 4275373 w 10693106"/>
              <a:gd name="connsiteY41-1974" fmla="*/ 262560 h 5359493"/>
              <a:gd name="connsiteX42-1975" fmla="*/ 4402373 w 10693106"/>
              <a:gd name="connsiteY42-1976" fmla="*/ 296427 h 5359493"/>
              <a:gd name="connsiteX43-1977" fmla="*/ 4529373 w 10693106"/>
              <a:gd name="connsiteY43-1978" fmla="*/ 338760 h 5359493"/>
              <a:gd name="connsiteX44-1979" fmla="*/ 4859573 w 10693106"/>
              <a:gd name="connsiteY44-1980" fmla="*/ 414960 h 5359493"/>
              <a:gd name="connsiteX45-1981" fmla="*/ 5045840 w 10693106"/>
              <a:gd name="connsiteY45-1982" fmla="*/ 491160 h 5359493"/>
              <a:gd name="connsiteX46-1983" fmla="*/ 5325240 w 10693106"/>
              <a:gd name="connsiteY46-1984" fmla="*/ 652027 h 5359493"/>
              <a:gd name="connsiteX47-1985" fmla="*/ 5494573 w 10693106"/>
              <a:gd name="connsiteY47-1986" fmla="*/ 804427 h 5359493"/>
              <a:gd name="connsiteX48-1987" fmla="*/ 5562306 w 10693106"/>
              <a:gd name="connsiteY48-1988" fmla="*/ 880627 h 5359493"/>
              <a:gd name="connsiteX49-1989" fmla="*/ 5621573 w 10693106"/>
              <a:gd name="connsiteY49-1990" fmla="*/ 931427 h 5359493"/>
              <a:gd name="connsiteX50-1991" fmla="*/ 5672373 w 10693106"/>
              <a:gd name="connsiteY50-1992" fmla="*/ 999160 h 5359493"/>
              <a:gd name="connsiteX51-1993" fmla="*/ 5757040 w 10693106"/>
              <a:gd name="connsiteY51-1994" fmla="*/ 1100760 h 5359493"/>
              <a:gd name="connsiteX52-1995" fmla="*/ 5833240 w 10693106"/>
              <a:gd name="connsiteY52-1996" fmla="*/ 1193893 h 5359493"/>
              <a:gd name="connsiteX53-1997" fmla="*/ 6019506 w 10693106"/>
              <a:gd name="connsiteY53-1998" fmla="*/ 1397093 h 5359493"/>
              <a:gd name="connsiteX54-1999" fmla="*/ 6087240 w 10693106"/>
              <a:gd name="connsiteY54-2000" fmla="*/ 1447893 h 5359493"/>
              <a:gd name="connsiteX55-2001" fmla="*/ 6171906 w 10693106"/>
              <a:gd name="connsiteY55-2002" fmla="*/ 1549493 h 5359493"/>
              <a:gd name="connsiteX56-2003" fmla="*/ 6451306 w 10693106"/>
              <a:gd name="connsiteY56-2004" fmla="*/ 1761160 h 5359493"/>
              <a:gd name="connsiteX57-2005" fmla="*/ 6519040 w 10693106"/>
              <a:gd name="connsiteY57-2006" fmla="*/ 1769627 h 5359493"/>
              <a:gd name="connsiteX58-2007" fmla="*/ 6603706 w 10693106"/>
              <a:gd name="connsiteY58-2008" fmla="*/ 1803493 h 5359493"/>
              <a:gd name="connsiteX59-2009" fmla="*/ 6671440 w 10693106"/>
              <a:gd name="connsiteY59-2010" fmla="*/ 1837360 h 5359493"/>
              <a:gd name="connsiteX60-2011" fmla="*/ 6866173 w 10693106"/>
              <a:gd name="connsiteY60-2012" fmla="*/ 1862760 h 5359493"/>
              <a:gd name="connsiteX61-2013" fmla="*/ 7196373 w 10693106"/>
              <a:gd name="connsiteY61-2014" fmla="*/ 1845827 h 5359493"/>
              <a:gd name="connsiteX62-2015" fmla="*/ 7509640 w 10693106"/>
              <a:gd name="connsiteY62-2016" fmla="*/ 1769627 h 5359493"/>
              <a:gd name="connsiteX63-2017" fmla="*/ 7628173 w 10693106"/>
              <a:gd name="connsiteY63-2018" fmla="*/ 1744227 h 5359493"/>
              <a:gd name="connsiteX64-2019" fmla="*/ 7704373 w 10693106"/>
              <a:gd name="connsiteY64-2020" fmla="*/ 1701893 h 5359493"/>
              <a:gd name="connsiteX65-2021" fmla="*/ 7755173 w 10693106"/>
              <a:gd name="connsiteY65-2022" fmla="*/ 1693427 h 5359493"/>
              <a:gd name="connsiteX66-2023" fmla="*/ 7797506 w 10693106"/>
              <a:gd name="connsiteY66-2024" fmla="*/ 1659560 h 5359493"/>
              <a:gd name="connsiteX67-2025" fmla="*/ 7856773 w 10693106"/>
              <a:gd name="connsiteY67-2026" fmla="*/ 1642627 h 5359493"/>
              <a:gd name="connsiteX68-2027" fmla="*/ 7958373 w 10693106"/>
              <a:gd name="connsiteY68-2028" fmla="*/ 1574893 h 5359493"/>
              <a:gd name="connsiteX69-2029" fmla="*/ 8009173 w 10693106"/>
              <a:gd name="connsiteY69-2030" fmla="*/ 1524093 h 5359493"/>
              <a:gd name="connsiteX70-2031" fmla="*/ 8339373 w 10693106"/>
              <a:gd name="connsiteY70-2032" fmla="*/ 1278560 h 5359493"/>
              <a:gd name="connsiteX71-2033" fmla="*/ 8576440 w 10693106"/>
              <a:gd name="connsiteY71-2034" fmla="*/ 1024560 h 5359493"/>
              <a:gd name="connsiteX72-2035" fmla="*/ 8652640 w 10693106"/>
              <a:gd name="connsiteY72-2036" fmla="*/ 745160 h 5359493"/>
              <a:gd name="connsiteX73-2037" fmla="*/ 8847373 w 10693106"/>
              <a:gd name="connsiteY73-2038" fmla="*/ 558893 h 5359493"/>
              <a:gd name="connsiteX74-2039" fmla="*/ 8982840 w 10693106"/>
              <a:gd name="connsiteY74-2040" fmla="*/ 465760 h 5359493"/>
              <a:gd name="connsiteX75-2041" fmla="*/ 9084440 w 10693106"/>
              <a:gd name="connsiteY75-2042" fmla="*/ 431893 h 5359493"/>
              <a:gd name="connsiteX76-2043" fmla="*/ 9152173 w 10693106"/>
              <a:gd name="connsiteY76-2044" fmla="*/ 406493 h 5359493"/>
              <a:gd name="connsiteX77-2045" fmla="*/ 9380773 w 10693106"/>
              <a:gd name="connsiteY77-2046" fmla="*/ 423427 h 5359493"/>
              <a:gd name="connsiteX78-2047" fmla="*/ 9744840 w 10693106"/>
              <a:gd name="connsiteY78-2048" fmla="*/ 533493 h 5359493"/>
              <a:gd name="connsiteX79-2049" fmla="*/ 9888773 w 10693106"/>
              <a:gd name="connsiteY79-2050" fmla="*/ 575827 h 5359493"/>
              <a:gd name="connsiteX80-2051" fmla="*/ 9998840 w 10693106"/>
              <a:gd name="connsiteY80-2052" fmla="*/ 626627 h 5359493"/>
              <a:gd name="connsiteX81-2053" fmla="*/ 10083506 w 10693106"/>
              <a:gd name="connsiteY81-2054" fmla="*/ 685893 h 5359493"/>
              <a:gd name="connsiteX82-2055" fmla="*/ 10286706 w 10693106"/>
              <a:gd name="connsiteY82-2056" fmla="*/ 753627 h 5359493"/>
              <a:gd name="connsiteX83-2057" fmla="*/ 10388306 w 10693106"/>
              <a:gd name="connsiteY83-2058" fmla="*/ 956827 h 5359493"/>
              <a:gd name="connsiteX84-2059" fmla="*/ 10540706 w 10693106"/>
              <a:gd name="connsiteY84-2060" fmla="*/ 1329360 h 5359493"/>
              <a:gd name="connsiteX85-2061" fmla="*/ 10557640 w 10693106"/>
              <a:gd name="connsiteY85-2062" fmla="*/ 1414027 h 5359493"/>
              <a:gd name="connsiteX86-2063" fmla="*/ 10583040 w 10693106"/>
              <a:gd name="connsiteY86-2064" fmla="*/ 1515627 h 5359493"/>
              <a:gd name="connsiteX87-2065" fmla="*/ 10616906 w 10693106"/>
              <a:gd name="connsiteY87-2066" fmla="*/ 1718827 h 5359493"/>
              <a:gd name="connsiteX88-2067" fmla="*/ 10633840 w 10693106"/>
              <a:gd name="connsiteY88-2068" fmla="*/ 1803493 h 5359493"/>
              <a:gd name="connsiteX89-2069" fmla="*/ 10650773 w 10693106"/>
              <a:gd name="connsiteY89-2070" fmla="*/ 1837360 h 5359493"/>
              <a:gd name="connsiteX90-2071" fmla="*/ 10676173 w 10693106"/>
              <a:gd name="connsiteY90-2072" fmla="*/ 1922027 h 5359493"/>
              <a:gd name="connsiteX91-2073" fmla="*/ 10693106 w 10693106"/>
              <a:gd name="connsiteY91-2074" fmla="*/ 2074427 h 5359493"/>
              <a:gd name="connsiteX92-2075" fmla="*/ 10625373 w 10693106"/>
              <a:gd name="connsiteY92-2076" fmla="*/ 2294560 h 5359493"/>
              <a:gd name="connsiteX93-2077" fmla="*/ 10608440 w 10693106"/>
              <a:gd name="connsiteY93-2078" fmla="*/ 2319960 h 5359493"/>
              <a:gd name="connsiteX94-2079" fmla="*/ 10540706 w 10693106"/>
              <a:gd name="connsiteY94-2080" fmla="*/ 2463893 h 5359493"/>
              <a:gd name="connsiteX95-2081" fmla="*/ 10498373 w 10693106"/>
              <a:gd name="connsiteY95-2082" fmla="*/ 2548560 h 5359493"/>
              <a:gd name="connsiteX96-2083" fmla="*/ 10439106 w 10693106"/>
              <a:gd name="connsiteY96-2084" fmla="*/ 2734827 h 5359493"/>
              <a:gd name="connsiteX97-2085" fmla="*/ 10430640 w 10693106"/>
              <a:gd name="connsiteY97-2086" fmla="*/ 2777160 h 5359493"/>
              <a:gd name="connsiteX98-2087" fmla="*/ 10405240 w 10693106"/>
              <a:gd name="connsiteY98-2088" fmla="*/ 2853360 h 5359493"/>
              <a:gd name="connsiteX99-2089" fmla="*/ 10396773 w 10693106"/>
              <a:gd name="connsiteY99-2090" fmla="*/ 2887227 h 5359493"/>
              <a:gd name="connsiteX100-2091" fmla="*/ 10362906 w 10693106"/>
              <a:gd name="connsiteY100-2092" fmla="*/ 2980360 h 5359493"/>
              <a:gd name="connsiteX101-2093" fmla="*/ 10329040 w 10693106"/>
              <a:gd name="connsiteY101-2094" fmla="*/ 3022693 h 5359493"/>
              <a:gd name="connsiteX102-2095" fmla="*/ 10227440 w 10693106"/>
              <a:gd name="connsiteY102-2096" fmla="*/ 3124293 h 5359493"/>
              <a:gd name="connsiteX103-2097" fmla="*/ 10168173 w 10693106"/>
              <a:gd name="connsiteY103-2098" fmla="*/ 3192027 h 5359493"/>
              <a:gd name="connsiteX104-2099" fmla="*/ 10117373 w 10693106"/>
              <a:gd name="connsiteY104-2100" fmla="*/ 3242827 h 5359493"/>
              <a:gd name="connsiteX105-2101" fmla="*/ 10032706 w 10693106"/>
              <a:gd name="connsiteY105-2102" fmla="*/ 3344427 h 5359493"/>
              <a:gd name="connsiteX106-2103" fmla="*/ 9948040 w 10693106"/>
              <a:gd name="connsiteY106-2104" fmla="*/ 3403693 h 5359493"/>
              <a:gd name="connsiteX107-2105" fmla="*/ 9905706 w 10693106"/>
              <a:gd name="connsiteY107-2106" fmla="*/ 3429093 h 5359493"/>
              <a:gd name="connsiteX108-2107" fmla="*/ 9829506 w 10693106"/>
              <a:gd name="connsiteY108-2108" fmla="*/ 3446027 h 5359493"/>
              <a:gd name="connsiteX109-2109" fmla="*/ 9727906 w 10693106"/>
              <a:gd name="connsiteY109-2110" fmla="*/ 3488360 h 5359493"/>
              <a:gd name="connsiteX110-2111" fmla="*/ 9634773 w 10693106"/>
              <a:gd name="connsiteY110-2112" fmla="*/ 3513760 h 5359493"/>
              <a:gd name="connsiteX111-2113" fmla="*/ 9456973 w 10693106"/>
              <a:gd name="connsiteY111-2114" fmla="*/ 3606893 h 5359493"/>
              <a:gd name="connsiteX112-2115" fmla="*/ 9313040 w 10693106"/>
              <a:gd name="connsiteY112-2116" fmla="*/ 3733893 h 5359493"/>
              <a:gd name="connsiteX113-2117" fmla="*/ 9279173 w 10693106"/>
              <a:gd name="connsiteY113-2118" fmla="*/ 3750827 h 5359493"/>
              <a:gd name="connsiteX114-2119" fmla="*/ 9067506 w 10693106"/>
              <a:gd name="connsiteY114-2120" fmla="*/ 3928627 h 5359493"/>
              <a:gd name="connsiteX115-2121" fmla="*/ 8999773 w 10693106"/>
              <a:gd name="connsiteY115-2122" fmla="*/ 3996360 h 5359493"/>
              <a:gd name="connsiteX116-2123" fmla="*/ 8813506 w 10693106"/>
              <a:gd name="connsiteY116-2124" fmla="*/ 4131827 h 5359493"/>
              <a:gd name="connsiteX117-2125" fmla="*/ 8728840 w 10693106"/>
              <a:gd name="connsiteY117-2126" fmla="*/ 4174160 h 5359493"/>
              <a:gd name="connsiteX118-2127" fmla="*/ 8373240 w 10693106"/>
              <a:gd name="connsiteY118-2128" fmla="*/ 4208027 h 5359493"/>
              <a:gd name="connsiteX119-2129" fmla="*/ 7966840 w 10693106"/>
              <a:gd name="connsiteY119-2130" fmla="*/ 4301160 h 5359493"/>
              <a:gd name="connsiteX120-2131" fmla="*/ 7687440 w 10693106"/>
              <a:gd name="connsiteY120-2132" fmla="*/ 4462027 h 5359493"/>
              <a:gd name="connsiteX121-2133" fmla="*/ 7551973 w 10693106"/>
              <a:gd name="connsiteY121-2134" fmla="*/ 4546693 h 5359493"/>
              <a:gd name="connsiteX122-2135" fmla="*/ 7374173 w 10693106"/>
              <a:gd name="connsiteY122-2136" fmla="*/ 4724493 h 5359493"/>
              <a:gd name="connsiteX123-2137" fmla="*/ 7374173 w 10693106"/>
              <a:gd name="connsiteY123-2138" fmla="*/ 4724493 h 5359493"/>
              <a:gd name="connsiteX124-2139" fmla="*/ 7221773 w 10693106"/>
              <a:gd name="connsiteY124-2140" fmla="*/ 4843027 h 5359493"/>
              <a:gd name="connsiteX125-2141" fmla="*/ 7027040 w 10693106"/>
              <a:gd name="connsiteY125-2142" fmla="*/ 4970027 h 5359493"/>
              <a:gd name="connsiteX126-2143" fmla="*/ 6883106 w 10693106"/>
              <a:gd name="connsiteY126-2144" fmla="*/ 5037760 h 5359493"/>
              <a:gd name="connsiteX127-2145" fmla="*/ 6815373 w 10693106"/>
              <a:gd name="connsiteY127-2146" fmla="*/ 5080093 h 5359493"/>
              <a:gd name="connsiteX128-2147" fmla="*/ 6646040 w 10693106"/>
              <a:gd name="connsiteY128-2148" fmla="*/ 5173227 h 5359493"/>
              <a:gd name="connsiteX129-2149" fmla="*/ 6527506 w 10693106"/>
              <a:gd name="connsiteY129-2150" fmla="*/ 5232493 h 5359493"/>
              <a:gd name="connsiteX130-2151" fmla="*/ 6298906 w 10693106"/>
              <a:gd name="connsiteY130-2152" fmla="*/ 5308693 h 5359493"/>
              <a:gd name="connsiteX131-2153" fmla="*/ 6197306 w 10693106"/>
              <a:gd name="connsiteY131-2154" fmla="*/ 5334093 h 5359493"/>
              <a:gd name="connsiteX132-2155" fmla="*/ 6061840 w 10693106"/>
              <a:gd name="connsiteY132-2156" fmla="*/ 5342560 h 5359493"/>
              <a:gd name="connsiteX133-2157" fmla="*/ 5917906 w 10693106"/>
              <a:gd name="connsiteY133-2158" fmla="*/ 5359493 h 5359493"/>
              <a:gd name="connsiteX134-2159" fmla="*/ 5748573 w 10693106"/>
              <a:gd name="connsiteY134-2160" fmla="*/ 5351027 h 5359493"/>
              <a:gd name="connsiteX135-2161" fmla="*/ 5282906 w 10693106"/>
              <a:gd name="connsiteY135-2162" fmla="*/ 5240960 h 5359493"/>
              <a:gd name="connsiteX136-2163" fmla="*/ 5138973 w 10693106"/>
              <a:gd name="connsiteY136-2164" fmla="*/ 5139360 h 5359493"/>
              <a:gd name="connsiteX137-2165" fmla="*/ 5020440 w 10693106"/>
              <a:gd name="connsiteY137-2166" fmla="*/ 4986960 h 5359493"/>
              <a:gd name="connsiteX138-2167" fmla="*/ 4952706 w 10693106"/>
              <a:gd name="connsiteY138-2168" fmla="*/ 4910760 h 5359493"/>
              <a:gd name="connsiteX139-2169" fmla="*/ 4884973 w 10693106"/>
              <a:gd name="connsiteY139-2170" fmla="*/ 4843027 h 5359493"/>
              <a:gd name="connsiteX140-2171" fmla="*/ 4732573 w 10693106"/>
              <a:gd name="connsiteY140-2172" fmla="*/ 4665227 h 5359493"/>
              <a:gd name="connsiteX141-2173" fmla="*/ 4673306 w 10693106"/>
              <a:gd name="connsiteY141-2174" fmla="*/ 4597493 h 5359493"/>
              <a:gd name="connsiteX142-2175" fmla="*/ 4487040 w 10693106"/>
              <a:gd name="connsiteY142-2176" fmla="*/ 4470493 h 5359493"/>
              <a:gd name="connsiteX143-2177" fmla="*/ 4427773 w 10693106"/>
              <a:gd name="connsiteY143-2178" fmla="*/ 4436627 h 5359493"/>
              <a:gd name="connsiteX144-2179" fmla="*/ 4343106 w 10693106"/>
              <a:gd name="connsiteY144-2180" fmla="*/ 4402760 h 5359493"/>
              <a:gd name="connsiteX145-2181" fmla="*/ 4224573 w 10693106"/>
              <a:gd name="connsiteY145-2182" fmla="*/ 4326560 h 5359493"/>
              <a:gd name="connsiteX146-2183" fmla="*/ 4156840 w 10693106"/>
              <a:gd name="connsiteY146-2184" fmla="*/ 4267293 h 5359493"/>
              <a:gd name="connsiteX147-2185" fmla="*/ 4021373 w 10693106"/>
              <a:gd name="connsiteY147-2186" fmla="*/ 4123360 h 5359493"/>
              <a:gd name="connsiteX148-2187" fmla="*/ 3919773 w 10693106"/>
              <a:gd name="connsiteY148-2188" fmla="*/ 3987893 h 5359493"/>
              <a:gd name="connsiteX149-2189" fmla="*/ 3877440 w 10693106"/>
              <a:gd name="connsiteY149-2190" fmla="*/ 3691560 h 5359493"/>
              <a:gd name="connsiteX150-2191" fmla="*/ 3852040 w 10693106"/>
              <a:gd name="connsiteY150-2192" fmla="*/ 3598427 h 5359493"/>
              <a:gd name="connsiteX151-2193" fmla="*/ 3801240 w 10693106"/>
              <a:gd name="connsiteY151-2194" fmla="*/ 3488360 h 5359493"/>
              <a:gd name="connsiteX152-2195" fmla="*/ 3733506 w 10693106"/>
              <a:gd name="connsiteY152-2196" fmla="*/ 3386760 h 5359493"/>
              <a:gd name="connsiteX153-2197" fmla="*/ 3242440 w 10693106"/>
              <a:gd name="connsiteY153-2198" fmla="*/ 3166627 h 5359493"/>
              <a:gd name="connsiteX154-2199" fmla="*/ 3123906 w 10693106"/>
              <a:gd name="connsiteY154-2200" fmla="*/ 3065027 h 5359493"/>
              <a:gd name="connsiteX155-2201" fmla="*/ 2988440 w 10693106"/>
              <a:gd name="connsiteY155-2202" fmla="*/ 2870293 h 5359493"/>
              <a:gd name="connsiteX156-2203" fmla="*/ 2971506 w 10693106"/>
              <a:gd name="connsiteY156-2204" fmla="*/ 2811027 h 5359493"/>
              <a:gd name="connsiteX157-2205" fmla="*/ 2996906 w 10693106"/>
              <a:gd name="connsiteY157-2206" fmla="*/ 2599360 h 5359493"/>
              <a:gd name="connsiteX158-2207" fmla="*/ 3013840 w 10693106"/>
              <a:gd name="connsiteY158-2208" fmla="*/ 2497760 h 5359493"/>
              <a:gd name="connsiteX159-2209" fmla="*/ 3005373 w 10693106"/>
              <a:gd name="connsiteY159-2210" fmla="*/ 2379227 h 5359493"/>
              <a:gd name="connsiteX160-2211" fmla="*/ 2988440 w 10693106"/>
              <a:gd name="connsiteY160-2212" fmla="*/ 2328427 h 5359493"/>
              <a:gd name="connsiteX161-2213" fmla="*/ 2802173 w 10693106"/>
              <a:gd name="connsiteY161-2214" fmla="*/ 2074427 h 5359493"/>
              <a:gd name="connsiteX162-2215" fmla="*/ 2641306 w 10693106"/>
              <a:gd name="connsiteY162-2216" fmla="*/ 1930493 h 5359493"/>
              <a:gd name="connsiteX163-2217" fmla="*/ 2590506 w 10693106"/>
              <a:gd name="connsiteY163-2218" fmla="*/ 1905093 h 5359493"/>
              <a:gd name="connsiteX164-2219" fmla="*/ 2531240 w 10693106"/>
              <a:gd name="connsiteY164-2220" fmla="*/ 1896627 h 5359493"/>
              <a:gd name="connsiteX165-2221" fmla="*/ 2446573 w 10693106"/>
              <a:gd name="connsiteY165-2222" fmla="*/ 1879693 h 5359493"/>
              <a:gd name="connsiteX166-2223" fmla="*/ 2251840 w 10693106"/>
              <a:gd name="connsiteY166-2224" fmla="*/ 1905093 h 5359493"/>
              <a:gd name="connsiteX167-2225" fmla="*/ 2167173 w 10693106"/>
              <a:gd name="connsiteY167-2226" fmla="*/ 1947427 h 5359493"/>
              <a:gd name="connsiteX168-2227" fmla="*/ 1980906 w 10693106"/>
              <a:gd name="connsiteY168-2228" fmla="*/ 2006693 h 5359493"/>
              <a:gd name="connsiteX169-2229" fmla="*/ 1904706 w 10693106"/>
              <a:gd name="connsiteY169-2230" fmla="*/ 2040560 h 5359493"/>
              <a:gd name="connsiteX170-2231" fmla="*/ 1828506 w 10693106"/>
              <a:gd name="connsiteY170-2232" fmla="*/ 2057493 h 5359493"/>
              <a:gd name="connsiteX171-2233" fmla="*/ 1726906 w 10693106"/>
              <a:gd name="connsiteY171-2234" fmla="*/ 2108293 h 5359493"/>
              <a:gd name="connsiteX172-2235" fmla="*/ 1659173 w 10693106"/>
              <a:gd name="connsiteY172-2236" fmla="*/ 2142160 h 5359493"/>
              <a:gd name="connsiteX173-2237" fmla="*/ 1498306 w 10693106"/>
              <a:gd name="connsiteY173-2238" fmla="*/ 2167560 h 5359493"/>
              <a:gd name="connsiteX174-2239" fmla="*/ 914106 w 10693106"/>
              <a:gd name="connsiteY174-2240" fmla="*/ 2099827 h 5359493"/>
              <a:gd name="connsiteX175-2241" fmla="*/ 617773 w 10693106"/>
              <a:gd name="connsiteY175-2242" fmla="*/ 1989760 h 5359493"/>
              <a:gd name="connsiteX176-2243" fmla="*/ 516173 w 10693106"/>
              <a:gd name="connsiteY176-2244" fmla="*/ 1905093 h 5359493"/>
              <a:gd name="connsiteX177-2245" fmla="*/ 355306 w 10693106"/>
              <a:gd name="connsiteY177-2246" fmla="*/ 1693427 h 5359493"/>
              <a:gd name="connsiteX178-2247" fmla="*/ 296040 w 10693106"/>
              <a:gd name="connsiteY178-2248" fmla="*/ 1591827 h 5359493"/>
              <a:gd name="connsiteX179-2249" fmla="*/ 253706 w 10693106"/>
              <a:gd name="connsiteY179-2250" fmla="*/ 1414027 h 5359493"/>
              <a:gd name="connsiteX180-2251" fmla="*/ 245240 w 10693106"/>
              <a:gd name="connsiteY180-2252" fmla="*/ 1287027 h 5359493"/>
              <a:gd name="connsiteX181-2253" fmla="*/ 236773 w 10693106"/>
              <a:gd name="connsiteY181-2254" fmla="*/ 1185427 h 5359493"/>
              <a:gd name="connsiteX182-2255" fmla="*/ 245240 w 10693106"/>
              <a:gd name="connsiteY182-2256" fmla="*/ 914493 h 5359493"/>
              <a:gd name="connsiteX183-2257" fmla="*/ 236773 w 10693106"/>
              <a:gd name="connsiteY183-2258" fmla="*/ 770560 h 5359493"/>
              <a:gd name="connsiteX184-2259" fmla="*/ 109773 w 10693106"/>
              <a:gd name="connsiteY184-2260" fmla="*/ 626627 h 5359493"/>
              <a:gd name="connsiteX185-2261" fmla="*/ 58973 w 10693106"/>
              <a:gd name="connsiteY185-2262" fmla="*/ 550427 h 5359493"/>
              <a:gd name="connsiteX186-2263" fmla="*/ 16640 w 10693106"/>
              <a:gd name="connsiteY186-2264" fmla="*/ 499627 h 5359493"/>
              <a:gd name="connsiteX187-2265" fmla="*/ 8173 w 10693106"/>
              <a:gd name="connsiteY187-2266" fmla="*/ 457293 h 5359493"/>
              <a:gd name="connsiteX188-2267" fmla="*/ 16640 w 10693106"/>
              <a:gd name="connsiteY188-2268" fmla="*/ 406493 h 5359493"/>
              <a:gd name="connsiteX0-2269" fmla="*/ 16640 w 10693106"/>
              <a:gd name="connsiteY0-2270" fmla="*/ 406493 h 5359493"/>
              <a:gd name="connsiteX1-2271" fmla="*/ 58973 w 10693106"/>
              <a:gd name="connsiteY1-2272" fmla="*/ 313360 h 5359493"/>
              <a:gd name="connsiteX2-2273" fmla="*/ 109773 w 10693106"/>
              <a:gd name="connsiteY2-2274" fmla="*/ 245627 h 5359493"/>
              <a:gd name="connsiteX3-2275" fmla="*/ 202906 w 10693106"/>
              <a:gd name="connsiteY3-2276" fmla="*/ 160960 h 5359493"/>
              <a:gd name="connsiteX4-2277" fmla="*/ 236773 w 10693106"/>
              <a:gd name="connsiteY4-2278" fmla="*/ 135560 h 5359493"/>
              <a:gd name="connsiteX5-2279" fmla="*/ 346840 w 10693106"/>
              <a:gd name="connsiteY5-2280" fmla="*/ 76293 h 5359493"/>
              <a:gd name="connsiteX6-2281" fmla="*/ 397640 w 10693106"/>
              <a:gd name="connsiteY6-2282" fmla="*/ 42427 h 5359493"/>
              <a:gd name="connsiteX7-2283" fmla="*/ 456906 w 10693106"/>
              <a:gd name="connsiteY7-2284" fmla="*/ 25493 h 5359493"/>
              <a:gd name="connsiteX8-2285" fmla="*/ 482306 w 10693106"/>
              <a:gd name="connsiteY8-2286" fmla="*/ 17027 h 5359493"/>
              <a:gd name="connsiteX9-2287" fmla="*/ 822897 w 10693106"/>
              <a:gd name="connsiteY9-2288" fmla="*/ 150184 h 5359493"/>
              <a:gd name="connsiteX10-2289" fmla="*/ 1091906 w 10693106"/>
              <a:gd name="connsiteY10-2290" fmla="*/ 67827 h 5359493"/>
              <a:gd name="connsiteX11-2291" fmla="*/ 1235840 w 10693106"/>
              <a:gd name="connsiteY11-2292" fmla="*/ 127093 h 5359493"/>
              <a:gd name="connsiteX12-2293" fmla="*/ 1337440 w 10693106"/>
              <a:gd name="connsiteY12-2294" fmla="*/ 203293 h 5359493"/>
              <a:gd name="connsiteX13-2295" fmla="*/ 1422106 w 10693106"/>
              <a:gd name="connsiteY13-2296" fmla="*/ 313360 h 5359493"/>
              <a:gd name="connsiteX14-2297" fmla="*/ 1481373 w 10693106"/>
              <a:gd name="connsiteY14-2298" fmla="*/ 381093 h 5359493"/>
              <a:gd name="connsiteX15-2299" fmla="*/ 1532173 w 10693106"/>
              <a:gd name="connsiteY15-2300" fmla="*/ 414960 h 5359493"/>
              <a:gd name="connsiteX16-2301" fmla="*/ 1684573 w 10693106"/>
              <a:gd name="connsiteY16-2302" fmla="*/ 474227 h 5359493"/>
              <a:gd name="connsiteX17-2303" fmla="*/ 1760773 w 10693106"/>
              <a:gd name="connsiteY17-2304" fmla="*/ 491160 h 5359493"/>
              <a:gd name="connsiteX18-2305" fmla="*/ 1997840 w 10693106"/>
              <a:gd name="connsiteY18-2306" fmla="*/ 482693 h 5359493"/>
              <a:gd name="connsiteX19-2307" fmla="*/ 2116373 w 10693106"/>
              <a:gd name="connsiteY19-2308" fmla="*/ 465760 h 5359493"/>
              <a:gd name="connsiteX20-2309" fmla="*/ 2260306 w 10693106"/>
              <a:gd name="connsiteY20-2310" fmla="*/ 448827 h 5359493"/>
              <a:gd name="connsiteX21-2311" fmla="*/ 2404240 w 10693106"/>
              <a:gd name="connsiteY21-2312" fmla="*/ 423427 h 5359493"/>
              <a:gd name="connsiteX22-2313" fmla="*/ 2455040 w 10693106"/>
              <a:gd name="connsiteY22-2314" fmla="*/ 398027 h 5359493"/>
              <a:gd name="connsiteX23-2315" fmla="*/ 2531240 w 10693106"/>
              <a:gd name="connsiteY23-2316" fmla="*/ 372627 h 5359493"/>
              <a:gd name="connsiteX24-2317" fmla="*/ 2683640 w 10693106"/>
              <a:gd name="connsiteY24-2318" fmla="*/ 245627 h 5359493"/>
              <a:gd name="connsiteX25-2319" fmla="*/ 2768306 w 10693106"/>
              <a:gd name="connsiteY25-2320" fmla="*/ 177893 h 5359493"/>
              <a:gd name="connsiteX26-2321" fmla="*/ 2836040 w 10693106"/>
              <a:gd name="connsiteY26-2322" fmla="*/ 118627 h 5359493"/>
              <a:gd name="connsiteX27-2323" fmla="*/ 2929173 w 10693106"/>
              <a:gd name="connsiteY27-2324" fmla="*/ 67827 h 5359493"/>
              <a:gd name="connsiteX28-2325" fmla="*/ 3002294 w 10693106"/>
              <a:gd name="connsiteY28-2326" fmla="*/ 128633 h 5359493"/>
              <a:gd name="connsiteX29-2327" fmla="*/ 3142763 w 10693106"/>
              <a:gd name="connsiteY29-2328" fmla="*/ 177892 h 5359493"/>
              <a:gd name="connsiteX30-2329" fmla="*/ 3459878 w 10693106"/>
              <a:gd name="connsiteY30-2330" fmla="*/ 38193 h 5359493"/>
              <a:gd name="connsiteX31-2331" fmla="*/ 3606506 w 10693106"/>
              <a:gd name="connsiteY31-2332" fmla="*/ 127864 h 5359493"/>
              <a:gd name="connsiteX32-2333" fmla="*/ 3708106 w 10693106"/>
              <a:gd name="connsiteY32-2334" fmla="*/ 93 h 5359493"/>
              <a:gd name="connsiteX33-2335" fmla="*/ 3741973 w 10693106"/>
              <a:gd name="connsiteY33-2336" fmla="*/ 154032 h 5359493"/>
              <a:gd name="connsiteX34-2337" fmla="*/ 3818173 w 10693106"/>
              <a:gd name="connsiteY34-2338" fmla="*/ 67827 h 5359493"/>
              <a:gd name="connsiteX35-2339" fmla="*/ 3852040 w 10693106"/>
              <a:gd name="connsiteY35-2340" fmla="*/ 93227 h 5359493"/>
              <a:gd name="connsiteX36-2341" fmla="*/ 3885906 w 10693106"/>
              <a:gd name="connsiteY36-2342" fmla="*/ 110160 h 5359493"/>
              <a:gd name="connsiteX37-2343" fmla="*/ 3945173 w 10693106"/>
              <a:gd name="connsiteY37-2344" fmla="*/ 152493 h 5359493"/>
              <a:gd name="connsiteX38-2345" fmla="*/ 3995973 w 10693106"/>
              <a:gd name="connsiteY38-2346" fmla="*/ 177893 h 5359493"/>
              <a:gd name="connsiteX39-2347" fmla="*/ 4021373 w 10693106"/>
              <a:gd name="connsiteY39-2348" fmla="*/ 211760 h 5359493"/>
              <a:gd name="connsiteX40-2349" fmla="*/ 4055240 w 10693106"/>
              <a:gd name="connsiteY40-2350" fmla="*/ 220227 h 5359493"/>
              <a:gd name="connsiteX41-2351" fmla="*/ 4275373 w 10693106"/>
              <a:gd name="connsiteY41-2352" fmla="*/ 262560 h 5359493"/>
              <a:gd name="connsiteX42-2353" fmla="*/ 4402373 w 10693106"/>
              <a:gd name="connsiteY42-2354" fmla="*/ 296427 h 5359493"/>
              <a:gd name="connsiteX43-2355" fmla="*/ 4529373 w 10693106"/>
              <a:gd name="connsiteY43-2356" fmla="*/ 338760 h 5359493"/>
              <a:gd name="connsiteX44-2357" fmla="*/ 4859573 w 10693106"/>
              <a:gd name="connsiteY44-2358" fmla="*/ 414960 h 5359493"/>
              <a:gd name="connsiteX45-2359" fmla="*/ 5045840 w 10693106"/>
              <a:gd name="connsiteY45-2360" fmla="*/ 491160 h 5359493"/>
              <a:gd name="connsiteX46-2361" fmla="*/ 5325240 w 10693106"/>
              <a:gd name="connsiteY46-2362" fmla="*/ 652027 h 5359493"/>
              <a:gd name="connsiteX47-2363" fmla="*/ 5494573 w 10693106"/>
              <a:gd name="connsiteY47-2364" fmla="*/ 804427 h 5359493"/>
              <a:gd name="connsiteX48-2365" fmla="*/ 5562306 w 10693106"/>
              <a:gd name="connsiteY48-2366" fmla="*/ 880627 h 5359493"/>
              <a:gd name="connsiteX49-2367" fmla="*/ 5621573 w 10693106"/>
              <a:gd name="connsiteY49-2368" fmla="*/ 931427 h 5359493"/>
              <a:gd name="connsiteX50-2369" fmla="*/ 5672373 w 10693106"/>
              <a:gd name="connsiteY50-2370" fmla="*/ 999160 h 5359493"/>
              <a:gd name="connsiteX51-2371" fmla="*/ 5757040 w 10693106"/>
              <a:gd name="connsiteY51-2372" fmla="*/ 1100760 h 5359493"/>
              <a:gd name="connsiteX52-2373" fmla="*/ 5833240 w 10693106"/>
              <a:gd name="connsiteY52-2374" fmla="*/ 1193893 h 5359493"/>
              <a:gd name="connsiteX53-2375" fmla="*/ 6019506 w 10693106"/>
              <a:gd name="connsiteY53-2376" fmla="*/ 1397093 h 5359493"/>
              <a:gd name="connsiteX54-2377" fmla="*/ 6087240 w 10693106"/>
              <a:gd name="connsiteY54-2378" fmla="*/ 1447893 h 5359493"/>
              <a:gd name="connsiteX55-2379" fmla="*/ 6171906 w 10693106"/>
              <a:gd name="connsiteY55-2380" fmla="*/ 1549493 h 5359493"/>
              <a:gd name="connsiteX56-2381" fmla="*/ 6451306 w 10693106"/>
              <a:gd name="connsiteY56-2382" fmla="*/ 1761160 h 5359493"/>
              <a:gd name="connsiteX57-2383" fmla="*/ 6519040 w 10693106"/>
              <a:gd name="connsiteY57-2384" fmla="*/ 1769627 h 5359493"/>
              <a:gd name="connsiteX58-2385" fmla="*/ 6603706 w 10693106"/>
              <a:gd name="connsiteY58-2386" fmla="*/ 1803493 h 5359493"/>
              <a:gd name="connsiteX59-2387" fmla="*/ 6671440 w 10693106"/>
              <a:gd name="connsiteY59-2388" fmla="*/ 1837360 h 5359493"/>
              <a:gd name="connsiteX60-2389" fmla="*/ 6866173 w 10693106"/>
              <a:gd name="connsiteY60-2390" fmla="*/ 1862760 h 5359493"/>
              <a:gd name="connsiteX61-2391" fmla="*/ 7196373 w 10693106"/>
              <a:gd name="connsiteY61-2392" fmla="*/ 1845827 h 5359493"/>
              <a:gd name="connsiteX62-2393" fmla="*/ 7509640 w 10693106"/>
              <a:gd name="connsiteY62-2394" fmla="*/ 1769627 h 5359493"/>
              <a:gd name="connsiteX63-2395" fmla="*/ 7628173 w 10693106"/>
              <a:gd name="connsiteY63-2396" fmla="*/ 1744227 h 5359493"/>
              <a:gd name="connsiteX64-2397" fmla="*/ 7704373 w 10693106"/>
              <a:gd name="connsiteY64-2398" fmla="*/ 1701893 h 5359493"/>
              <a:gd name="connsiteX65-2399" fmla="*/ 7755173 w 10693106"/>
              <a:gd name="connsiteY65-2400" fmla="*/ 1693427 h 5359493"/>
              <a:gd name="connsiteX66-2401" fmla="*/ 7797506 w 10693106"/>
              <a:gd name="connsiteY66-2402" fmla="*/ 1659560 h 5359493"/>
              <a:gd name="connsiteX67-2403" fmla="*/ 7856773 w 10693106"/>
              <a:gd name="connsiteY67-2404" fmla="*/ 1642627 h 5359493"/>
              <a:gd name="connsiteX68-2405" fmla="*/ 7958373 w 10693106"/>
              <a:gd name="connsiteY68-2406" fmla="*/ 1574893 h 5359493"/>
              <a:gd name="connsiteX69-2407" fmla="*/ 8009173 w 10693106"/>
              <a:gd name="connsiteY69-2408" fmla="*/ 1524093 h 5359493"/>
              <a:gd name="connsiteX70-2409" fmla="*/ 8339373 w 10693106"/>
              <a:gd name="connsiteY70-2410" fmla="*/ 1278560 h 5359493"/>
              <a:gd name="connsiteX71-2411" fmla="*/ 8576440 w 10693106"/>
              <a:gd name="connsiteY71-2412" fmla="*/ 1024560 h 5359493"/>
              <a:gd name="connsiteX72-2413" fmla="*/ 8652640 w 10693106"/>
              <a:gd name="connsiteY72-2414" fmla="*/ 745160 h 5359493"/>
              <a:gd name="connsiteX73-2415" fmla="*/ 8847373 w 10693106"/>
              <a:gd name="connsiteY73-2416" fmla="*/ 558893 h 5359493"/>
              <a:gd name="connsiteX74-2417" fmla="*/ 8982840 w 10693106"/>
              <a:gd name="connsiteY74-2418" fmla="*/ 465760 h 5359493"/>
              <a:gd name="connsiteX75-2419" fmla="*/ 9084440 w 10693106"/>
              <a:gd name="connsiteY75-2420" fmla="*/ 431893 h 5359493"/>
              <a:gd name="connsiteX76-2421" fmla="*/ 9152173 w 10693106"/>
              <a:gd name="connsiteY76-2422" fmla="*/ 406493 h 5359493"/>
              <a:gd name="connsiteX77-2423" fmla="*/ 9380773 w 10693106"/>
              <a:gd name="connsiteY77-2424" fmla="*/ 423427 h 5359493"/>
              <a:gd name="connsiteX78-2425" fmla="*/ 9744840 w 10693106"/>
              <a:gd name="connsiteY78-2426" fmla="*/ 533493 h 5359493"/>
              <a:gd name="connsiteX79-2427" fmla="*/ 9888773 w 10693106"/>
              <a:gd name="connsiteY79-2428" fmla="*/ 575827 h 5359493"/>
              <a:gd name="connsiteX80-2429" fmla="*/ 9998840 w 10693106"/>
              <a:gd name="connsiteY80-2430" fmla="*/ 626627 h 5359493"/>
              <a:gd name="connsiteX81-2431" fmla="*/ 10083506 w 10693106"/>
              <a:gd name="connsiteY81-2432" fmla="*/ 685893 h 5359493"/>
              <a:gd name="connsiteX82-2433" fmla="*/ 10286706 w 10693106"/>
              <a:gd name="connsiteY82-2434" fmla="*/ 753627 h 5359493"/>
              <a:gd name="connsiteX83-2435" fmla="*/ 10388306 w 10693106"/>
              <a:gd name="connsiteY83-2436" fmla="*/ 956827 h 5359493"/>
              <a:gd name="connsiteX84-2437" fmla="*/ 10540706 w 10693106"/>
              <a:gd name="connsiteY84-2438" fmla="*/ 1329360 h 5359493"/>
              <a:gd name="connsiteX85-2439" fmla="*/ 10557640 w 10693106"/>
              <a:gd name="connsiteY85-2440" fmla="*/ 1414027 h 5359493"/>
              <a:gd name="connsiteX86-2441" fmla="*/ 10583040 w 10693106"/>
              <a:gd name="connsiteY86-2442" fmla="*/ 1515627 h 5359493"/>
              <a:gd name="connsiteX87-2443" fmla="*/ 10616906 w 10693106"/>
              <a:gd name="connsiteY87-2444" fmla="*/ 1718827 h 5359493"/>
              <a:gd name="connsiteX88-2445" fmla="*/ 10633840 w 10693106"/>
              <a:gd name="connsiteY88-2446" fmla="*/ 1803493 h 5359493"/>
              <a:gd name="connsiteX89-2447" fmla="*/ 10650773 w 10693106"/>
              <a:gd name="connsiteY89-2448" fmla="*/ 1837360 h 5359493"/>
              <a:gd name="connsiteX90-2449" fmla="*/ 10676173 w 10693106"/>
              <a:gd name="connsiteY90-2450" fmla="*/ 1922027 h 5359493"/>
              <a:gd name="connsiteX91-2451" fmla="*/ 10693106 w 10693106"/>
              <a:gd name="connsiteY91-2452" fmla="*/ 2074427 h 5359493"/>
              <a:gd name="connsiteX92-2453" fmla="*/ 10625373 w 10693106"/>
              <a:gd name="connsiteY92-2454" fmla="*/ 2294560 h 5359493"/>
              <a:gd name="connsiteX93-2455" fmla="*/ 10608440 w 10693106"/>
              <a:gd name="connsiteY93-2456" fmla="*/ 2319960 h 5359493"/>
              <a:gd name="connsiteX94-2457" fmla="*/ 10540706 w 10693106"/>
              <a:gd name="connsiteY94-2458" fmla="*/ 2463893 h 5359493"/>
              <a:gd name="connsiteX95-2459" fmla="*/ 10498373 w 10693106"/>
              <a:gd name="connsiteY95-2460" fmla="*/ 2548560 h 5359493"/>
              <a:gd name="connsiteX96-2461" fmla="*/ 10439106 w 10693106"/>
              <a:gd name="connsiteY96-2462" fmla="*/ 2734827 h 5359493"/>
              <a:gd name="connsiteX97-2463" fmla="*/ 10430640 w 10693106"/>
              <a:gd name="connsiteY97-2464" fmla="*/ 2777160 h 5359493"/>
              <a:gd name="connsiteX98-2465" fmla="*/ 10405240 w 10693106"/>
              <a:gd name="connsiteY98-2466" fmla="*/ 2853360 h 5359493"/>
              <a:gd name="connsiteX99-2467" fmla="*/ 10396773 w 10693106"/>
              <a:gd name="connsiteY99-2468" fmla="*/ 2887227 h 5359493"/>
              <a:gd name="connsiteX100-2469" fmla="*/ 10362906 w 10693106"/>
              <a:gd name="connsiteY100-2470" fmla="*/ 2980360 h 5359493"/>
              <a:gd name="connsiteX101-2471" fmla="*/ 10329040 w 10693106"/>
              <a:gd name="connsiteY101-2472" fmla="*/ 3022693 h 5359493"/>
              <a:gd name="connsiteX102-2473" fmla="*/ 10227440 w 10693106"/>
              <a:gd name="connsiteY102-2474" fmla="*/ 3124293 h 5359493"/>
              <a:gd name="connsiteX103-2475" fmla="*/ 10168173 w 10693106"/>
              <a:gd name="connsiteY103-2476" fmla="*/ 3192027 h 5359493"/>
              <a:gd name="connsiteX104-2477" fmla="*/ 10117373 w 10693106"/>
              <a:gd name="connsiteY104-2478" fmla="*/ 3242827 h 5359493"/>
              <a:gd name="connsiteX105-2479" fmla="*/ 10032706 w 10693106"/>
              <a:gd name="connsiteY105-2480" fmla="*/ 3344427 h 5359493"/>
              <a:gd name="connsiteX106-2481" fmla="*/ 9948040 w 10693106"/>
              <a:gd name="connsiteY106-2482" fmla="*/ 3403693 h 5359493"/>
              <a:gd name="connsiteX107-2483" fmla="*/ 9905706 w 10693106"/>
              <a:gd name="connsiteY107-2484" fmla="*/ 3429093 h 5359493"/>
              <a:gd name="connsiteX108-2485" fmla="*/ 9829506 w 10693106"/>
              <a:gd name="connsiteY108-2486" fmla="*/ 3446027 h 5359493"/>
              <a:gd name="connsiteX109-2487" fmla="*/ 9727906 w 10693106"/>
              <a:gd name="connsiteY109-2488" fmla="*/ 3488360 h 5359493"/>
              <a:gd name="connsiteX110-2489" fmla="*/ 9634773 w 10693106"/>
              <a:gd name="connsiteY110-2490" fmla="*/ 3513760 h 5359493"/>
              <a:gd name="connsiteX111-2491" fmla="*/ 9456973 w 10693106"/>
              <a:gd name="connsiteY111-2492" fmla="*/ 3606893 h 5359493"/>
              <a:gd name="connsiteX112-2493" fmla="*/ 9313040 w 10693106"/>
              <a:gd name="connsiteY112-2494" fmla="*/ 3733893 h 5359493"/>
              <a:gd name="connsiteX113-2495" fmla="*/ 9279173 w 10693106"/>
              <a:gd name="connsiteY113-2496" fmla="*/ 3750827 h 5359493"/>
              <a:gd name="connsiteX114-2497" fmla="*/ 9067506 w 10693106"/>
              <a:gd name="connsiteY114-2498" fmla="*/ 3928627 h 5359493"/>
              <a:gd name="connsiteX115-2499" fmla="*/ 8999773 w 10693106"/>
              <a:gd name="connsiteY115-2500" fmla="*/ 3996360 h 5359493"/>
              <a:gd name="connsiteX116-2501" fmla="*/ 8813506 w 10693106"/>
              <a:gd name="connsiteY116-2502" fmla="*/ 4131827 h 5359493"/>
              <a:gd name="connsiteX117-2503" fmla="*/ 8728840 w 10693106"/>
              <a:gd name="connsiteY117-2504" fmla="*/ 4174160 h 5359493"/>
              <a:gd name="connsiteX118-2505" fmla="*/ 8373240 w 10693106"/>
              <a:gd name="connsiteY118-2506" fmla="*/ 4208027 h 5359493"/>
              <a:gd name="connsiteX119-2507" fmla="*/ 7966840 w 10693106"/>
              <a:gd name="connsiteY119-2508" fmla="*/ 4301160 h 5359493"/>
              <a:gd name="connsiteX120-2509" fmla="*/ 7687440 w 10693106"/>
              <a:gd name="connsiteY120-2510" fmla="*/ 4462027 h 5359493"/>
              <a:gd name="connsiteX121-2511" fmla="*/ 7551973 w 10693106"/>
              <a:gd name="connsiteY121-2512" fmla="*/ 4546693 h 5359493"/>
              <a:gd name="connsiteX122-2513" fmla="*/ 7374173 w 10693106"/>
              <a:gd name="connsiteY122-2514" fmla="*/ 4724493 h 5359493"/>
              <a:gd name="connsiteX123-2515" fmla="*/ 7374173 w 10693106"/>
              <a:gd name="connsiteY123-2516" fmla="*/ 4724493 h 5359493"/>
              <a:gd name="connsiteX124-2517" fmla="*/ 7221773 w 10693106"/>
              <a:gd name="connsiteY124-2518" fmla="*/ 4843027 h 5359493"/>
              <a:gd name="connsiteX125-2519" fmla="*/ 7027040 w 10693106"/>
              <a:gd name="connsiteY125-2520" fmla="*/ 4970027 h 5359493"/>
              <a:gd name="connsiteX126-2521" fmla="*/ 6883106 w 10693106"/>
              <a:gd name="connsiteY126-2522" fmla="*/ 5037760 h 5359493"/>
              <a:gd name="connsiteX127-2523" fmla="*/ 6815373 w 10693106"/>
              <a:gd name="connsiteY127-2524" fmla="*/ 5080093 h 5359493"/>
              <a:gd name="connsiteX128-2525" fmla="*/ 6646040 w 10693106"/>
              <a:gd name="connsiteY128-2526" fmla="*/ 5173227 h 5359493"/>
              <a:gd name="connsiteX129-2527" fmla="*/ 6527506 w 10693106"/>
              <a:gd name="connsiteY129-2528" fmla="*/ 5232493 h 5359493"/>
              <a:gd name="connsiteX130-2529" fmla="*/ 6298906 w 10693106"/>
              <a:gd name="connsiteY130-2530" fmla="*/ 5308693 h 5359493"/>
              <a:gd name="connsiteX131-2531" fmla="*/ 6197306 w 10693106"/>
              <a:gd name="connsiteY131-2532" fmla="*/ 5334093 h 5359493"/>
              <a:gd name="connsiteX132-2533" fmla="*/ 6061840 w 10693106"/>
              <a:gd name="connsiteY132-2534" fmla="*/ 5342560 h 5359493"/>
              <a:gd name="connsiteX133-2535" fmla="*/ 5917906 w 10693106"/>
              <a:gd name="connsiteY133-2536" fmla="*/ 5359493 h 5359493"/>
              <a:gd name="connsiteX134-2537" fmla="*/ 5748573 w 10693106"/>
              <a:gd name="connsiteY134-2538" fmla="*/ 5351027 h 5359493"/>
              <a:gd name="connsiteX135-2539" fmla="*/ 5282906 w 10693106"/>
              <a:gd name="connsiteY135-2540" fmla="*/ 5240960 h 5359493"/>
              <a:gd name="connsiteX136-2541" fmla="*/ 5138973 w 10693106"/>
              <a:gd name="connsiteY136-2542" fmla="*/ 5139360 h 5359493"/>
              <a:gd name="connsiteX137-2543" fmla="*/ 5020440 w 10693106"/>
              <a:gd name="connsiteY137-2544" fmla="*/ 4986960 h 5359493"/>
              <a:gd name="connsiteX138-2545" fmla="*/ 4952706 w 10693106"/>
              <a:gd name="connsiteY138-2546" fmla="*/ 4910760 h 5359493"/>
              <a:gd name="connsiteX139-2547" fmla="*/ 4884973 w 10693106"/>
              <a:gd name="connsiteY139-2548" fmla="*/ 4843027 h 5359493"/>
              <a:gd name="connsiteX140-2549" fmla="*/ 4732573 w 10693106"/>
              <a:gd name="connsiteY140-2550" fmla="*/ 4665227 h 5359493"/>
              <a:gd name="connsiteX141-2551" fmla="*/ 4673306 w 10693106"/>
              <a:gd name="connsiteY141-2552" fmla="*/ 4597493 h 5359493"/>
              <a:gd name="connsiteX142-2553" fmla="*/ 4487040 w 10693106"/>
              <a:gd name="connsiteY142-2554" fmla="*/ 4470493 h 5359493"/>
              <a:gd name="connsiteX143-2555" fmla="*/ 4427773 w 10693106"/>
              <a:gd name="connsiteY143-2556" fmla="*/ 4436627 h 5359493"/>
              <a:gd name="connsiteX144-2557" fmla="*/ 4343106 w 10693106"/>
              <a:gd name="connsiteY144-2558" fmla="*/ 4402760 h 5359493"/>
              <a:gd name="connsiteX145-2559" fmla="*/ 4224573 w 10693106"/>
              <a:gd name="connsiteY145-2560" fmla="*/ 4326560 h 5359493"/>
              <a:gd name="connsiteX146-2561" fmla="*/ 4156840 w 10693106"/>
              <a:gd name="connsiteY146-2562" fmla="*/ 4267293 h 5359493"/>
              <a:gd name="connsiteX147-2563" fmla="*/ 4021373 w 10693106"/>
              <a:gd name="connsiteY147-2564" fmla="*/ 4123360 h 5359493"/>
              <a:gd name="connsiteX148-2565" fmla="*/ 3919773 w 10693106"/>
              <a:gd name="connsiteY148-2566" fmla="*/ 3987893 h 5359493"/>
              <a:gd name="connsiteX149-2567" fmla="*/ 3877440 w 10693106"/>
              <a:gd name="connsiteY149-2568" fmla="*/ 3691560 h 5359493"/>
              <a:gd name="connsiteX150-2569" fmla="*/ 3852040 w 10693106"/>
              <a:gd name="connsiteY150-2570" fmla="*/ 3598427 h 5359493"/>
              <a:gd name="connsiteX151-2571" fmla="*/ 3801240 w 10693106"/>
              <a:gd name="connsiteY151-2572" fmla="*/ 3488360 h 5359493"/>
              <a:gd name="connsiteX152-2573" fmla="*/ 3733506 w 10693106"/>
              <a:gd name="connsiteY152-2574" fmla="*/ 3386760 h 5359493"/>
              <a:gd name="connsiteX153-2575" fmla="*/ 3242440 w 10693106"/>
              <a:gd name="connsiteY153-2576" fmla="*/ 3166627 h 5359493"/>
              <a:gd name="connsiteX154-2577" fmla="*/ 3123906 w 10693106"/>
              <a:gd name="connsiteY154-2578" fmla="*/ 3065027 h 5359493"/>
              <a:gd name="connsiteX155-2579" fmla="*/ 2988440 w 10693106"/>
              <a:gd name="connsiteY155-2580" fmla="*/ 2870293 h 5359493"/>
              <a:gd name="connsiteX156-2581" fmla="*/ 2971506 w 10693106"/>
              <a:gd name="connsiteY156-2582" fmla="*/ 2811027 h 5359493"/>
              <a:gd name="connsiteX157-2583" fmla="*/ 2996906 w 10693106"/>
              <a:gd name="connsiteY157-2584" fmla="*/ 2599360 h 5359493"/>
              <a:gd name="connsiteX158-2585" fmla="*/ 3013840 w 10693106"/>
              <a:gd name="connsiteY158-2586" fmla="*/ 2497760 h 5359493"/>
              <a:gd name="connsiteX159-2587" fmla="*/ 3005373 w 10693106"/>
              <a:gd name="connsiteY159-2588" fmla="*/ 2379227 h 5359493"/>
              <a:gd name="connsiteX160-2589" fmla="*/ 2988440 w 10693106"/>
              <a:gd name="connsiteY160-2590" fmla="*/ 2328427 h 5359493"/>
              <a:gd name="connsiteX161-2591" fmla="*/ 2802173 w 10693106"/>
              <a:gd name="connsiteY161-2592" fmla="*/ 2074427 h 5359493"/>
              <a:gd name="connsiteX162-2593" fmla="*/ 2641306 w 10693106"/>
              <a:gd name="connsiteY162-2594" fmla="*/ 1930493 h 5359493"/>
              <a:gd name="connsiteX163-2595" fmla="*/ 2590506 w 10693106"/>
              <a:gd name="connsiteY163-2596" fmla="*/ 1905093 h 5359493"/>
              <a:gd name="connsiteX164-2597" fmla="*/ 2531240 w 10693106"/>
              <a:gd name="connsiteY164-2598" fmla="*/ 1896627 h 5359493"/>
              <a:gd name="connsiteX165-2599" fmla="*/ 2446573 w 10693106"/>
              <a:gd name="connsiteY165-2600" fmla="*/ 1879693 h 5359493"/>
              <a:gd name="connsiteX166-2601" fmla="*/ 2251840 w 10693106"/>
              <a:gd name="connsiteY166-2602" fmla="*/ 1905093 h 5359493"/>
              <a:gd name="connsiteX167-2603" fmla="*/ 2167173 w 10693106"/>
              <a:gd name="connsiteY167-2604" fmla="*/ 1947427 h 5359493"/>
              <a:gd name="connsiteX168-2605" fmla="*/ 1980906 w 10693106"/>
              <a:gd name="connsiteY168-2606" fmla="*/ 2006693 h 5359493"/>
              <a:gd name="connsiteX169-2607" fmla="*/ 1904706 w 10693106"/>
              <a:gd name="connsiteY169-2608" fmla="*/ 2040560 h 5359493"/>
              <a:gd name="connsiteX170-2609" fmla="*/ 1828506 w 10693106"/>
              <a:gd name="connsiteY170-2610" fmla="*/ 2057493 h 5359493"/>
              <a:gd name="connsiteX171-2611" fmla="*/ 1726906 w 10693106"/>
              <a:gd name="connsiteY171-2612" fmla="*/ 2108293 h 5359493"/>
              <a:gd name="connsiteX172-2613" fmla="*/ 1659173 w 10693106"/>
              <a:gd name="connsiteY172-2614" fmla="*/ 2142160 h 5359493"/>
              <a:gd name="connsiteX173-2615" fmla="*/ 1498306 w 10693106"/>
              <a:gd name="connsiteY173-2616" fmla="*/ 2167560 h 5359493"/>
              <a:gd name="connsiteX174-2617" fmla="*/ 914106 w 10693106"/>
              <a:gd name="connsiteY174-2618" fmla="*/ 2099827 h 5359493"/>
              <a:gd name="connsiteX175-2619" fmla="*/ 617773 w 10693106"/>
              <a:gd name="connsiteY175-2620" fmla="*/ 1989760 h 5359493"/>
              <a:gd name="connsiteX176-2621" fmla="*/ 516173 w 10693106"/>
              <a:gd name="connsiteY176-2622" fmla="*/ 1905093 h 5359493"/>
              <a:gd name="connsiteX177-2623" fmla="*/ 355306 w 10693106"/>
              <a:gd name="connsiteY177-2624" fmla="*/ 1693427 h 5359493"/>
              <a:gd name="connsiteX178-2625" fmla="*/ 296040 w 10693106"/>
              <a:gd name="connsiteY178-2626" fmla="*/ 1591827 h 5359493"/>
              <a:gd name="connsiteX179-2627" fmla="*/ 253706 w 10693106"/>
              <a:gd name="connsiteY179-2628" fmla="*/ 1414027 h 5359493"/>
              <a:gd name="connsiteX180-2629" fmla="*/ 245240 w 10693106"/>
              <a:gd name="connsiteY180-2630" fmla="*/ 1287027 h 5359493"/>
              <a:gd name="connsiteX181-2631" fmla="*/ 236773 w 10693106"/>
              <a:gd name="connsiteY181-2632" fmla="*/ 1185427 h 5359493"/>
              <a:gd name="connsiteX182-2633" fmla="*/ 245240 w 10693106"/>
              <a:gd name="connsiteY182-2634" fmla="*/ 914493 h 5359493"/>
              <a:gd name="connsiteX183-2635" fmla="*/ 236773 w 10693106"/>
              <a:gd name="connsiteY183-2636" fmla="*/ 770560 h 5359493"/>
              <a:gd name="connsiteX184-2637" fmla="*/ 109773 w 10693106"/>
              <a:gd name="connsiteY184-2638" fmla="*/ 626627 h 5359493"/>
              <a:gd name="connsiteX185-2639" fmla="*/ 58973 w 10693106"/>
              <a:gd name="connsiteY185-2640" fmla="*/ 550427 h 5359493"/>
              <a:gd name="connsiteX186-2641" fmla="*/ 16640 w 10693106"/>
              <a:gd name="connsiteY186-2642" fmla="*/ 499627 h 5359493"/>
              <a:gd name="connsiteX187-2643" fmla="*/ 8173 w 10693106"/>
              <a:gd name="connsiteY187-2644" fmla="*/ 457293 h 5359493"/>
              <a:gd name="connsiteX188-2645" fmla="*/ 16640 w 10693106"/>
              <a:gd name="connsiteY188-2646" fmla="*/ 406493 h 5359493"/>
              <a:gd name="connsiteX0-2647" fmla="*/ 16640 w 10693106"/>
              <a:gd name="connsiteY0-2648" fmla="*/ 406493 h 5359493"/>
              <a:gd name="connsiteX1-2649" fmla="*/ 58973 w 10693106"/>
              <a:gd name="connsiteY1-2650" fmla="*/ 313360 h 5359493"/>
              <a:gd name="connsiteX2-2651" fmla="*/ 109773 w 10693106"/>
              <a:gd name="connsiteY2-2652" fmla="*/ 245627 h 5359493"/>
              <a:gd name="connsiteX3-2653" fmla="*/ 202906 w 10693106"/>
              <a:gd name="connsiteY3-2654" fmla="*/ 160960 h 5359493"/>
              <a:gd name="connsiteX4-2655" fmla="*/ 236773 w 10693106"/>
              <a:gd name="connsiteY4-2656" fmla="*/ 135560 h 5359493"/>
              <a:gd name="connsiteX5-2657" fmla="*/ 346840 w 10693106"/>
              <a:gd name="connsiteY5-2658" fmla="*/ 76293 h 5359493"/>
              <a:gd name="connsiteX6-2659" fmla="*/ 397640 w 10693106"/>
              <a:gd name="connsiteY6-2660" fmla="*/ 42427 h 5359493"/>
              <a:gd name="connsiteX7-2661" fmla="*/ 467297 w 10693106"/>
              <a:gd name="connsiteY7-2662" fmla="*/ 181357 h 5359493"/>
              <a:gd name="connsiteX8-2663" fmla="*/ 482306 w 10693106"/>
              <a:gd name="connsiteY8-2664" fmla="*/ 17027 h 5359493"/>
              <a:gd name="connsiteX9-2665" fmla="*/ 822897 w 10693106"/>
              <a:gd name="connsiteY9-2666" fmla="*/ 150184 h 5359493"/>
              <a:gd name="connsiteX10-2667" fmla="*/ 1091906 w 10693106"/>
              <a:gd name="connsiteY10-2668" fmla="*/ 67827 h 5359493"/>
              <a:gd name="connsiteX11-2669" fmla="*/ 1235840 w 10693106"/>
              <a:gd name="connsiteY11-2670" fmla="*/ 127093 h 5359493"/>
              <a:gd name="connsiteX12-2671" fmla="*/ 1337440 w 10693106"/>
              <a:gd name="connsiteY12-2672" fmla="*/ 203293 h 5359493"/>
              <a:gd name="connsiteX13-2673" fmla="*/ 1422106 w 10693106"/>
              <a:gd name="connsiteY13-2674" fmla="*/ 313360 h 5359493"/>
              <a:gd name="connsiteX14-2675" fmla="*/ 1481373 w 10693106"/>
              <a:gd name="connsiteY14-2676" fmla="*/ 381093 h 5359493"/>
              <a:gd name="connsiteX15-2677" fmla="*/ 1532173 w 10693106"/>
              <a:gd name="connsiteY15-2678" fmla="*/ 414960 h 5359493"/>
              <a:gd name="connsiteX16-2679" fmla="*/ 1684573 w 10693106"/>
              <a:gd name="connsiteY16-2680" fmla="*/ 474227 h 5359493"/>
              <a:gd name="connsiteX17-2681" fmla="*/ 1760773 w 10693106"/>
              <a:gd name="connsiteY17-2682" fmla="*/ 491160 h 5359493"/>
              <a:gd name="connsiteX18-2683" fmla="*/ 1997840 w 10693106"/>
              <a:gd name="connsiteY18-2684" fmla="*/ 482693 h 5359493"/>
              <a:gd name="connsiteX19-2685" fmla="*/ 2116373 w 10693106"/>
              <a:gd name="connsiteY19-2686" fmla="*/ 465760 h 5359493"/>
              <a:gd name="connsiteX20-2687" fmla="*/ 2260306 w 10693106"/>
              <a:gd name="connsiteY20-2688" fmla="*/ 448827 h 5359493"/>
              <a:gd name="connsiteX21-2689" fmla="*/ 2404240 w 10693106"/>
              <a:gd name="connsiteY21-2690" fmla="*/ 423427 h 5359493"/>
              <a:gd name="connsiteX22-2691" fmla="*/ 2455040 w 10693106"/>
              <a:gd name="connsiteY22-2692" fmla="*/ 398027 h 5359493"/>
              <a:gd name="connsiteX23-2693" fmla="*/ 2531240 w 10693106"/>
              <a:gd name="connsiteY23-2694" fmla="*/ 372627 h 5359493"/>
              <a:gd name="connsiteX24-2695" fmla="*/ 2683640 w 10693106"/>
              <a:gd name="connsiteY24-2696" fmla="*/ 245627 h 5359493"/>
              <a:gd name="connsiteX25-2697" fmla="*/ 2768306 w 10693106"/>
              <a:gd name="connsiteY25-2698" fmla="*/ 177893 h 5359493"/>
              <a:gd name="connsiteX26-2699" fmla="*/ 2836040 w 10693106"/>
              <a:gd name="connsiteY26-2700" fmla="*/ 118627 h 5359493"/>
              <a:gd name="connsiteX27-2701" fmla="*/ 2929173 w 10693106"/>
              <a:gd name="connsiteY27-2702" fmla="*/ 67827 h 5359493"/>
              <a:gd name="connsiteX28-2703" fmla="*/ 3002294 w 10693106"/>
              <a:gd name="connsiteY28-2704" fmla="*/ 128633 h 5359493"/>
              <a:gd name="connsiteX29-2705" fmla="*/ 3142763 w 10693106"/>
              <a:gd name="connsiteY29-2706" fmla="*/ 177892 h 5359493"/>
              <a:gd name="connsiteX30-2707" fmla="*/ 3459878 w 10693106"/>
              <a:gd name="connsiteY30-2708" fmla="*/ 38193 h 5359493"/>
              <a:gd name="connsiteX31-2709" fmla="*/ 3606506 w 10693106"/>
              <a:gd name="connsiteY31-2710" fmla="*/ 127864 h 5359493"/>
              <a:gd name="connsiteX32-2711" fmla="*/ 3708106 w 10693106"/>
              <a:gd name="connsiteY32-2712" fmla="*/ 93 h 5359493"/>
              <a:gd name="connsiteX33-2713" fmla="*/ 3741973 w 10693106"/>
              <a:gd name="connsiteY33-2714" fmla="*/ 154032 h 5359493"/>
              <a:gd name="connsiteX34-2715" fmla="*/ 3818173 w 10693106"/>
              <a:gd name="connsiteY34-2716" fmla="*/ 67827 h 5359493"/>
              <a:gd name="connsiteX35-2717" fmla="*/ 3852040 w 10693106"/>
              <a:gd name="connsiteY35-2718" fmla="*/ 93227 h 5359493"/>
              <a:gd name="connsiteX36-2719" fmla="*/ 3885906 w 10693106"/>
              <a:gd name="connsiteY36-2720" fmla="*/ 110160 h 5359493"/>
              <a:gd name="connsiteX37-2721" fmla="*/ 3945173 w 10693106"/>
              <a:gd name="connsiteY37-2722" fmla="*/ 152493 h 5359493"/>
              <a:gd name="connsiteX38-2723" fmla="*/ 3995973 w 10693106"/>
              <a:gd name="connsiteY38-2724" fmla="*/ 177893 h 5359493"/>
              <a:gd name="connsiteX39-2725" fmla="*/ 4021373 w 10693106"/>
              <a:gd name="connsiteY39-2726" fmla="*/ 211760 h 5359493"/>
              <a:gd name="connsiteX40-2727" fmla="*/ 4055240 w 10693106"/>
              <a:gd name="connsiteY40-2728" fmla="*/ 220227 h 5359493"/>
              <a:gd name="connsiteX41-2729" fmla="*/ 4275373 w 10693106"/>
              <a:gd name="connsiteY41-2730" fmla="*/ 262560 h 5359493"/>
              <a:gd name="connsiteX42-2731" fmla="*/ 4402373 w 10693106"/>
              <a:gd name="connsiteY42-2732" fmla="*/ 296427 h 5359493"/>
              <a:gd name="connsiteX43-2733" fmla="*/ 4529373 w 10693106"/>
              <a:gd name="connsiteY43-2734" fmla="*/ 338760 h 5359493"/>
              <a:gd name="connsiteX44-2735" fmla="*/ 4859573 w 10693106"/>
              <a:gd name="connsiteY44-2736" fmla="*/ 414960 h 5359493"/>
              <a:gd name="connsiteX45-2737" fmla="*/ 5045840 w 10693106"/>
              <a:gd name="connsiteY45-2738" fmla="*/ 491160 h 5359493"/>
              <a:gd name="connsiteX46-2739" fmla="*/ 5325240 w 10693106"/>
              <a:gd name="connsiteY46-2740" fmla="*/ 652027 h 5359493"/>
              <a:gd name="connsiteX47-2741" fmla="*/ 5494573 w 10693106"/>
              <a:gd name="connsiteY47-2742" fmla="*/ 804427 h 5359493"/>
              <a:gd name="connsiteX48-2743" fmla="*/ 5562306 w 10693106"/>
              <a:gd name="connsiteY48-2744" fmla="*/ 880627 h 5359493"/>
              <a:gd name="connsiteX49-2745" fmla="*/ 5621573 w 10693106"/>
              <a:gd name="connsiteY49-2746" fmla="*/ 931427 h 5359493"/>
              <a:gd name="connsiteX50-2747" fmla="*/ 5672373 w 10693106"/>
              <a:gd name="connsiteY50-2748" fmla="*/ 999160 h 5359493"/>
              <a:gd name="connsiteX51-2749" fmla="*/ 5757040 w 10693106"/>
              <a:gd name="connsiteY51-2750" fmla="*/ 1100760 h 5359493"/>
              <a:gd name="connsiteX52-2751" fmla="*/ 5833240 w 10693106"/>
              <a:gd name="connsiteY52-2752" fmla="*/ 1193893 h 5359493"/>
              <a:gd name="connsiteX53-2753" fmla="*/ 6019506 w 10693106"/>
              <a:gd name="connsiteY53-2754" fmla="*/ 1397093 h 5359493"/>
              <a:gd name="connsiteX54-2755" fmla="*/ 6087240 w 10693106"/>
              <a:gd name="connsiteY54-2756" fmla="*/ 1447893 h 5359493"/>
              <a:gd name="connsiteX55-2757" fmla="*/ 6171906 w 10693106"/>
              <a:gd name="connsiteY55-2758" fmla="*/ 1549493 h 5359493"/>
              <a:gd name="connsiteX56-2759" fmla="*/ 6451306 w 10693106"/>
              <a:gd name="connsiteY56-2760" fmla="*/ 1761160 h 5359493"/>
              <a:gd name="connsiteX57-2761" fmla="*/ 6519040 w 10693106"/>
              <a:gd name="connsiteY57-2762" fmla="*/ 1769627 h 5359493"/>
              <a:gd name="connsiteX58-2763" fmla="*/ 6603706 w 10693106"/>
              <a:gd name="connsiteY58-2764" fmla="*/ 1803493 h 5359493"/>
              <a:gd name="connsiteX59-2765" fmla="*/ 6671440 w 10693106"/>
              <a:gd name="connsiteY59-2766" fmla="*/ 1837360 h 5359493"/>
              <a:gd name="connsiteX60-2767" fmla="*/ 6866173 w 10693106"/>
              <a:gd name="connsiteY60-2768" fmla="*/ 1862760 h 5359493"/>
              <a:gd name="connsiteX61-2769" fmla="*/ 7196373 w 10693106"/>
              <a:gd name="connsiteY61-2770" fmla="*/ 1845827 h 5359493"/>
              <a:gd name="connsiteX62-2771" fmla="*/ 7509640 w 10693106"/>
              <a:gd name="connsiteY62-2772" fmla="*/ 1769627 h 5359493"/>
              <a:gd name="connsiteX63-2773" fmla="*/ 7628173 w 10693106"/>
              <a:gd name="connsiteY63-2774" fmla="*/ 1744227 h 5359493"/>
              <a:gd name="connsiteX64-2775" fmla="*/ 7704373 w 10693106"/>
              <a:gd name="connsiteY64-2776" fmla="*/ 1701893 h 5359493"/>
              <a:gd name="connsiteX65-2777" fmla="*/ 7755173 w 10693106"/>
              <a:gd name="connsiteY65-2778" fmla="*/ 1693427 h 5359493"/>
              <a:gd name="connsiteX66-2779" fmla="*/ 7797506 w 10693106"/>
              <a:gd name="connsiteY66-2780" fmla="*/ 1659560 h 5359493"/>
              <a:gd name="connsiteX67-2781" fmla="*/ 7856773 w 10693106"/>
              <a:gd name="connsiteY67-2782" fmla="*/ 1642627 h 5359493"/>
              <a:gd name="connsiteX68-2783" fmla="*/ 7958373 w 10693106"/>
              <a:gd name="connsiteY68-2784" fmla="*/ 1574893 h 5359493"/>
              <a:gd name="connsiteX69-2785" fmla="*/ 8009173 w 10693106"/>
              <a:gd name="connsiteY69-2786" fmla="*/ 1524093 h 5359493"/>
              <a:gd name="connsiteX70-2787" fmla="*/ 8339373 w 10693106"/>
              <a:gd name="connsiteY70-2788" fmla="*/ 1278560 h 5359493"/>
              <a:gd name="connsiteX71-2789" fmla="*/ 8576440 w 10693106"/>
              <a:gd name="connsiteY71-2790" fmla="*/ 1024560 h 5359493"/>
              <a:gd name="connsiteX72-2791" fmla="*/ 8652640 w 10693106"/>
              <a:gd name="connsiteY72-2792" fmla="*/ 745160 h 5359493"/>
              <a:gd name="connsiteX73-2793" fmla="*/ 8847373 w 10693106"/>
              <a:gd name="connsiteY73-2794" fmla="*/ 558893 h 5359493"/>
              <a:gd name="connsiteX74-2795" fmla="*/ 8982840 w 10693106"/>
              <a:gd name="connsiteY74-2796" fmla="*/ 465760 h 5359493"/>
              <a:gd name="connsiteX75-2797" fmla="*/ 9084440 w 10693106"/>
              <a:gd name="connsiteY75-2798" fmla="*/ 431893 h 5359493"/>
              <a:gd name="connsiteX76-2799" fmla="*/ 9152173 w 10693106"/>
              <a:gd name="connsiteY76-2800" fmla="*/ 406493 h 5359493"/>
              <a:gd name="connsiteX77-2801" fmla="*/ 9380773 w 10693106"/>
              <a:gd name="connsiteY77-2802" fmla="*/ 423427 h 5359493"/>
              <a:gd name="connsiteX78-2803" fmla="*/ 9744840 w 10693106"/>
              <a:gd name="connsiteY78-2804" fmla="*/ 533493 h 5359493"/>
              <a:gd name="connsiteX79-2805" fmla="*/ 9888773 w 10693106"/>
              <a:gd name="connsiteY79-2806" fmla="*/ 575827 h 5359493"/>
              <a:gd name="connsiteX80-2807" fmla="*/ 9998840 w 10693106"/>
              <a:gd name="connsiteY80-2808" fmla="*/ 626627 h 5359493"/>
              <a:gd name="connsiteX81-2809" fmla="*/ 10083506 w 10693106"/>
              <a:gd name="connsiteY81-2810" fmla="*/ 685893 h 5359493"/>
              <a:gd name="connsiteX82-2811" fmla="*/ 10286706 w 10693106"/>
              <a:gd name="connsiteY82-2812" fmla="*/ 753627 h 5359493"/>
              <a:gd name="connsiteX83-2813" fmla="*/ 10388306 w 10693106"/>
              <a:gd name="connsiteY83-2814" fmla="*/ 956827 h 5359493"/>
              <a:gd name="connsiteX84-2815" fmla="*/ 10540706 w 10693106"/>
              <a:gd name="connsiteY84-2816" fmla="*/ 1329360 h 5359493"/>
              <a:gd name="connsiteX85-2817" fmla="*/ 10557640 w 10693106"/>
              <a:gd name="connsiteY85-2818" fmla="*/ 1414027 h 5359493"/>
              <a:gd name="connsiteX86-2819" fmla="*/ 10583040 w 10693106"/>
              <a:gd name="connsiteY86-2820" fmla="*/ 1515627 h 5359493"/>
              <a:gd name="connsiteX87-2821" fmla="*/ 10616906 w 10693106"/>
              <a:gd name="connsiteY87-2822" fmla="*/ 1718827 h 5359493"/>
              <a:gd name="connsiteX88-2823" fmla="*/ 10633840 w 10693106"/>
              <a:gd name="connsiteY88-2824" fmla="*/ 1803493 h 5359493"/>
              <a:gd name="connsiteX89-2825" fmla="*/ 10650773 w 10693106"/>
              <a:gd name="connsiteY89-2826" fmla="*/ 1837360 h 5359493"/>
              <a:gd name="connsiteX90-2827" fmla="*/ 10676173 w 10693106"/>
              <a:gd name="connsiteY90-2828" fmla="*/ 1922027 h 5359493"/>
              <a:gd name="connsiteX91-2829" fmla="*/ 10693106 w 10693106"/>
              <a:gd name="connsiteY91-2830" fmla="*/ 2074427 h 5359493"/>
              <a:gd name="connsiteX92-2831" fmla="*/ 10625373 w 10693106"/>
              <a:gd name="connsiteY92-2832" fmla="*/ 2294560 h 5359493"/>
              <a:gd name="connsiteX93-2833" fmla="*/ 10608440 w 10693106"/>
              <a:gd name="connsiteY93-2834" fmla="*/ 2319960 h 5359493"/>
              <a:gd name="connsiteX94-2835" fmla="*/ 10540706 w 10693106"/>
              <a:gd name="connsiteY94-2836" fmla="*/ 2463893 h 5359493"/>
              <a:gd name="connsiteX95-2837" fmla="*/ 10498373 w 10693106"/>
              <a:gd name="connsiteY95-2838" fmla="*/ 2548560 h 5359493"/>
              <a:gd name="connsiteX96-2839" fmla="*/ 10439106 w 10693106"/>
              <a:gd name="connsiteY96-2840" fmla="*/ 2734827 h 5359493"/>
              <a:gd name="connsiteX97-2841" fmla="*/ 10430640 w 10693106"/>
              <a:gd name="connsiteY97-2842" fmla="*/ 2777160 h 5359493"/>
              <a:gd name="connsiteX98-2843" fmla="*/ 10405240 w 10693106"/>
              <a:gd name="connsiteY98-2844" fmla="*/ 2853360 h 5359493"/>
              <a:gd name="connsiteX99-2845" fmla="*/ 10396773 w 10693106"/>
              <a:gd name="connsiteY99-2846" fmla="*/ 2887227 h 5359493"/>
              <a:gd name="connsiteX100-2847" fmla="*/ 10362906 w 10693106"/>
              <a:gd name="connsiteY100-2848" fmla="*/ 2980360 h 5359493"/>
              <a:gd name="connsiteX101-2849" fmla="*/ 10329040 w 10693106"/>
              <a:gd name="connsiteY101-2850" fmla="*/ 3022693 h 5359493"/>
              <a:gd name="connsiteX102-2851" fmla="*/ 10227440 w 10693106"/>
              <a:gd name="connsiteY102-2852" fmla="*/ 3124293 h 5359493"/>
              <a:gd name="connsiteX103-2853" fmla="*/ 10168173 w 10693106"/>
              <a:gd name="connsiteY103-2854" fmla="*/ 3192027 h 5359493"/>
              <a:gd name="connsiteX104-2855" fmla="*/ 10117373 w 10693106"/>
              <a:gd name="connsiteY104-2856" fmla="*/ 3242827 h 5359493"/>
              <a:gd name="connsiteX105-2857" fmla="*/ 10032706 w 10693106"/>
              <a:gd name="connsiteY105-2858" fmla="*/ 3344427 h 5359493"/>
              <a:gd name="connsiteX106-2859" fmla="*/ 9948040 w 10693106"/>
              <a:gd name="connsiteY106-2860" fmla="*/ 3403693 h 5359493"/>
              <a:gd name="connsiteX107-2861" fmla="*/ 9905706 w 10693106"/>
              <a:gd name="connsiteY107-2862" fmla="*/ 3429093 h 5359493"/>
              <a:gd name="connsiteX108-2863" fmla="*/ 9829506 w 10693106"/>
              <a:gd name="connsiteY108-2864" fmla="*/ 3446027 h 5359493"/>
              <a:gd name="connsiteX109-2865" fmla="*/ 9727906 w 10693106"/>
              <a:gd name="connsiteY109-2866" fmla="*/ 3488360 h 5359493"/>
              <a:gd name="connsiteX110-2867" fmla="*/ 9634773 w 10693106"/>
              <a:gd name="connsiteY110-2868" fmla="*/ 3513760 h 5359493"/>
              <a:gd name="connsiteX111-2869" fmla="*/ 9456973 w 10693106"/>
              <a:gd name="connsiteY111-2870" fmla="*/ 3606893 h 5359493"/>
              <a:gd name="connsiteX112-2871" fmla="*/ 9313040 w 10693106"/>
              <a:gd name="connsiteY112-2872" fmla="*/ 3733893 h 5359493"/>
              <a:gd name="connsiteX113-2873" fmla="*/ 9279173 w 10693106"/>
              <a:gd name="connsiteY113-2874" fmla="*/ 3750827 h 5359493"/>
              <a:gd name="connsiteX114-2875" fmla="*/ 9067506 w 10693106"/>
              <a:gd name="connsiteY114-2876" fmla="*/ 3928627 h 5359493"/>
              <a:gd name="connsiteX115-2877" fmla="*/ 8999773 w 10693106"/>
              <a:gd name="connsiteY115-2878" fmla="*/ 3996360 h 5359493"/>
              <a:gd name="connsiteX116-2879" fmla="*/ 8813506 w 10693106"/>
              <a:gd name="connsiteY116-2880" fmla="*/ 4131827 h 5359493"/>
              <a:gd name="connsiteX117-2881" fmla="*/ 8728840 w 10693106"/>
              <a:gd name="connsiteY117-2882" fmla="*/ 4174160 h 5359493"/>
              <a:gd name="connsiteX118-2883" fmla="*/ 8373240 w 10693106"/>
              <a:gd name="connsiteY118-2884" fmla="*/ 4208027 h 5359493"/>
              <a:gd name="connsiteX119-2885" fmla="*/ 7966840 w 10693106"/>
              <a:gd name="connsiteY119-2886" fmla="*/ 4301160 h 5359493"/>
              <a:gd name="connsiteX120-2887" fmla="*/ 7687440 w 10693106"/>
              <a:gd name="connsiteY120-2888" fmla="*/ 4462027 h 5359493"/>
              <a:gd name="connsiteX121-2889" fmla="*/ 7551973 w 10693106"/>
              <a:gd name="connsiteY121-2890" fmla="*/ 4546693 h 5359493"/>
              <a:gd name="connsiteX122-2891" fmla="*/ 7374173 w 10693106"/>
              <a:gd name="connsiteY122-2892" fmla="*/ 4724493 h 5359493"/>
              <a:gd name="connsiteX123-2893" fmla="*/ 7374173 w 10693106"/>
              <a:gd name="connsiteY123-2894" fmla="*/ 4724493 h 5359493"/>
              <a:gd name="connsiteX124-2895" fmla="*/ 7221773 w 10693106"/>
              <a:gd name="connsiteY124-2896" fmla="*/ 4843027 h 5359493"/>
              <a:gd name="connsiteX125-2897" fmla="*/ 7027040 w 10693106"/>
              <a:gd name="connsiteY125-2898" fmla="*/ 4970027 h 5359493"/>
              <a:gd name="connsiteX126-2899" fmla="*/ 6883106 w 10693106"/>
              <a:gd name="connsiteY126-2900" fmla="*/ 5037760 h 5359493"/>
              <a:gd name="connsiteX127-2901" fmla="*/ 6815373 w 10693106"/>
              <a:gd name="connsiteY127-2902" fmla="*/ 5080093 h 5359493"/>
              <a:gd name="connsiteX128-2903" fmla="*/ 6646040 w 10693106"/>
              <a:gd name="connsiteY128-2904" fmla="*/ 5173227 h 5359493"/>
              <a:gd name="connsiteX129-2905" fmla="*/ 6527506 w 10693106"/>
              <a:gd name="connsiteY129-2906" fmla="*/ 5232493 h 5359493"/>
              <a:gd name="connsiteX130-2907" fmla="*/ 6298906 w 10693106"/>
              <a:gd name="connsiteY130-2908" fmla="*/ 5308693 h 5359493"/>
              <a:gd name="connsiteX131-2909" fmla="*/ 6197306 w 10693106"/>
              <a:gd name="connsiteY131-2910" fmla="*/ 5334093 h 5359493"/>
              <a:gd name="connsiteX132-2911" fmla="*/ 6061840 w 10693106"/>
              <a:gd name="connsiteY132-2912" fmla="*/ 5342560 h 5359493"/>
              <a:gd name="connsiteX133-2913" fmla="*/ 5917906 w 10693106"/>
              <a:gd name="connsiteY133-2914" fmla="*/ 5359493 h 5359493"/>
              <a:gd name="connsiteX134-2915" fmla="*/ 5748573 w 10693106"/>
              <a:gd name="connsiteY134-2916" fmla="*/ 5351027 h 5359493"/>
              <a:gd name="connsiteX135-2917" fmla="*/ 5282906 w 10693106"/>
              <a:gd name="connsiteY135-2918" fmla="*/ 5240960 h 5359493"/>
              <a:gd name="connsiteX136-2919" fmla="*/ 5138973 w 10693106"/>
              <a:gd name="connsiteY136-2920" fmla="*/ 5139360 h 5359493"/>
              <a:gd name="connsiteX137-2921" fmla="*/ 5020440 w 10693106"/>
              <a:gd name="connsiteY137-2922" fmla="*/ 4986960 h 5359493"/>
              <a:gd name="connsiteX138-2923" fmla="*/ 4952706 w 10693106"/>
              <a:gd name="connsiteY138-2924" fmla="*/ 4910760 h 5359493"/>
              <a:gd name="connsiteX139-2925" fmla="*/ 4884973 w 10693106"/>
              <a:gd name="connsiteY139-2926" fmla="*/ 4843027 h 5359493"/>
              <a:gd name="connsiteX140-2927" fmla="*/ 4732573 w 10693106"/>
              <a:gd name="connsiteY140-2928" fmla="*/ 4665227 h 5359493"/>
              <a:gd name="connsiteX141-2929" fmla="*/ 4673306 w 10693106"/>
              <a:gd name="connsiteY141-2930" fmla="*/ 4597493 h 5359493"/>
              <a:gd name="connsiteX142-2931" fmla="*/ 4487040 w 10693106"/>
              <a:gd name="connsiteY142-2932" fmla="*/ 4470493 h 5359493"/>
              <a:gd name="connsiteX143-2933" fmla="*/ 4427773 w 10693106"/>
              <a:gd name="connsiteY143-2934" fmla="*/ 4436627 h 5359493"/>
              <a:gd name="connsiteX144-2935" fmla="*/ 4343106 w 10693106"/>
              <a:gd name="connsiteY144-2936" fmla="*/ 4402760 h 5359493"/>
              <a:gd name="connsiteX145-2937" fmla="*/ 4224573 w 10693106"/>
              <a:gd name="connsiteY145-2938" fmla="*/ 4326560 h 5359493"/>
              <a:gd name="connsiteX146-2939" fmla="*/ 4156840 w 10693106"/>
              <a:gd name="connsiteY146-2940" fmla="*/ 4267293 h 5359493"/>
              <a:gd name="connsiteX147-2941" fmla="*/ 4021373 w 10693106"/>
              <a:gd name="connsiteY147-2942" fmla="*/ 4123360 h 5359493"/>
              <a:gd name="connsiteX148-2943" fmla="*/ 3919773 w 10693106"/>
              <a:gd name="connsiteY148-2944" fmla="*/ 3987893 h 5359493"/>
              <a:gd name="connsiteX149-2945" fmla="*/ 3877440 w 10693106"/>
              <a:gd name="connsiteY149-2946" fmla="*/ 3691560 h 5359493"/>
              <a:gd name="connsiteX150-2947" fmla="*/ 3852040 w 10693106"/>
              <a:gd name="connsiteY150-2948" fmla="*/ 3598427 h 5359493"/>
              <a:gd name="connsiteX151-2949" fmla="*/ 3801240 w 10693106"/>
              <a:gd name="connsiteY151-2950" fmla="*/ 3488360 h 5359493"/>
              <a:gd name="connsiteX152-2951" fmla="*/ 3733506 w 10693106"/>
              <a:gd name="connsiteY152-2952" fmla="*/ 3386760 h 5359493"/>
              <a:gd name="connsiteX153-2953" fmla="*/ 3242440 w 10693106"/>
              <a:gd name="connsiteY153-2954" fmla="*/ 3166627 h 5359493"/>
              <a:gd name="connsiteX154-2955" fmla="*/ 3123906 w 10693106"/>
              <a:gd name="connsiteY154-2956" fmla="*/ 3065027 h 5359493"/>
              <a:gd name="connsiteX155-2957" fmla="*/ 2988440 w 10693106"/>
              <a:gd name="connsiteY155-2958" fmla="*/ 2870293 h 5359493"/>
              <a:gd name="connsiteX156-2959" fmla="*/ 2971506 w 10693106"/>
              <a:gd name="connsiteY156-2960" fmla="*/ 2811027 h 5359493"/>
              <a:gd name="connsiteX157-2961" fmla="*/ 2996906 w 10693106"/>
              <a:gd name="connsiteY157-2962" fmla="*/ 2599360 h 5359493"/>
              <a:gd name="connsiteX158-2963" fmla="*/ 3013840 w 10693106"/>
              <a:gd name="connsiteY158-2964" fmla="*/ 2497760 h 5359493"/>
              <a:gd name="connsiteX159-2965" fmla="*/ 3005373 w 10693106"/>
              <a:gd name="connsiteY159-2966" fmla="*/ 2379227 h 5359493"/>
              <a:gd name="connsiteX160-2967" fmla="*/ 2988440 w 10693106"/>
              <a:gd name="connsiteY160-2968" fmla="*/ 2328427 h 5359493"/>
              <a:gd name="connsiteX161-2969" fmla="*/ 2802173 w 10693106"/>
              <a:gd name="connsiteY161-2970" fmla="*/ 2074427 h 5359493"/>
              <a:gd name="connsiteX162-2971" fmla="*/ 2641306 w 10693106"/>
              <a:gd name="connsiteY162-2972" fmla="*/ 1930493 h 5359493"/>
              <a:gd name="connsiteX163-2973" fmla="*/ 2590506 w 10693106"/>
              <a:gd name="connsiteY163-2974" fmla="*/ 1905093 h 5359493"/>
              <a:gd name="connsiteX164-2975" fmla="*/ 2531240 w 10693106"/>
              <a:gd name="connsiteY164-2976" fmla="*/ 1896627 h 5359493"/>
              <a:gd name="connsiteX165-2977" fmla="*/ 2446573 w 10693106"/>
              <a:gd name="connsiteY165-2978" fmla="*/ 1879693 h 5359493"/>
              <a:gd name="connsiteX166-2979" fmla="*/ 2251840 w 10693106"/>
              <a:gd name="connsiteY166-2980" fmla="*/ 1905093 h 5359493"/>
              <a:gd name="connsiteX167-2981" fmla="*/ 2167173 w 10693106"/>
              <a:gd name="connsiteY167-2982" fmla="*/ 1947427 h 5359493"/>
              <a:gd name="connsiteX168-2983" fmla="*/ 1980906 w 10693106"/>
              <a:gd name="connsiteY168-2984" fmla="*/ 2006693 h 5359493"/>
              <a:gd name="connsiteX169-2985" fmla="*/ 1904706 w 10693106"/>
              <a:gd name="connsiteY169-2986" fmla="*/ 2040560 h 5359493"/>
              <a:gd name="connsiteX170-2987" fmla="*/ 1828506 w 10693106"/>
              <a:gd name="connsiteY170-2988" fmla="*/ 2057493 h 5359493"/>
              <a:gd name="connsiteX171-2989" fmla="*/ 1726906 w 10693106"/>
              <a:gd name="connsiteY171-2990" fmla="*/ 2108293 h 5359493"/>
              <a:gd name="connsiteX172-2991" fmla="*/ 1659173 w 10693106"/>
              <a:gd name="connsiteY172-2992" fmla="*/ 2142160 h 5359493"/>
              <a:gd name="connsiteX173-2993" fmla="*/ 1498306 w 10693106"/>
              <a:gd name="connsiteY173-2994" fmla="*/ 2167560 h 5359493"/>
              <a:gd name="connsiteX174-2995" fmla="*/ 914106 w 10693106"/>
              <a:gd name="connsiteY174-2996" fmla="*/ 2099827 h 5359493"/>
              <a:gd name="connsiteX175-2997" fmla="*/ 617773 w 10693106"/>
              <a:gd name="connsiteY175-2998" fmla="*/ 1989760 h 5359493"/>
              <a:gd name="connsiteX176-2999" fmla="*/ 516173 w 10693106"/>
              <a:gd name="connsiteY176-3000" fmla="*/ 1905093 h 5359493"/>
              <a:gd name="connsiteX177-3001" fmla="*/ 355306 w 10693106"/>
              <a:gd name="connsiteY177-3002" fmla="*/ 1693427 h 5359493"/>
              <a:gd name="connsiteX178-3003" fmla="*/ 296040 w 10693106"/>
              <a:gd name="connsiteY178-3004" fmla="*/ 1591827 h 5359493"/>
              <a:gd name="connsiteX179-3005" fmla="*/ 253706 w 10693106"/>
              <a:gd name="connsiteY179-3006" fmla="*/ 1414027 h 5359493"/>
              <a:gd name="connsiteX180-3007" fmla="*/ 245240 w 10693106"/>
              <a:gd name="connsiteY180-3008" fmla="*/ 1287027 h 5359493"/>
              <a:gd name="connsiteX181-3009" fmla="*/ 236773 w 10693106"/>
              <a:gd name="connsiteY181-3010" fmla="*/ 1185427 h 5359493"/>
              <a:gd name="connsiteX182-3011" fmla="*/ 245240 w 10693106"/>
              <a:gd name="connsiteY182-3012" fmla="*/ 914493 h 5359493"/>
              <a:gd name="connsiteX183-3013" fmla="*/ 236773 w 10693106"/>
              <a:gd name="connsiteY183-3014" fmla="*/ 770560 h 5359493"/>
              <a:gd name="connsiteX184-3015" fmla="*/ 109773 w 10693106"/>
              <a:gd name="connsiteY184-3016" fmla="*/ 626627 h 5359493"/>
              <a:gd name="connsiteX185-3017" fmla="*/ 58973 w 10693106"/>
              <a:gd name="connsiteY185-3018" fmla="*/ 550427 h 5359493"/>
              <a:gd name="connsiteX186-3019" fmla="*/ 16640 w 10693106"/>
              <a:gd name="connsiteY186-3020" fmla="*/ 499627 h 5359493"/>
              <a:gd name="connsiteX187-3021" fmla="*/ 8173 w 10693106"/>
              <a:gd name="connsiteY187-3022" fmla="*/ 457293 h 5359493"/>
              <a:gd name="connsiteX188-3023" fmla="*/ 16640 w 10693106"/>
              <a:gd name="connsiteY188-3024" fmla="*/ 406493 h 5359493"/>
              <a:gd name="connsiteX0-3025" fmla="*/ 16640 w 10693106"/>
              <a:gd name="connsiteY0-3026" fmla="*/ 406493 h 5359493"/>
              <a:gd name="connsiteX1-3027" fmla="*/ 58973 w 10693106"/>
              <a:gd name="connsiteY1-3028" fmla="*/ 313360 h 5359493"/>
              <a:gd name="connsiteX2-3029" fmla="*/ 109773 w 10693106"/>
              <a:gd name="connsiteY2-3030" fmla="*/ 245627 h 5359493"/>
              <a:gd name="connsiteX3-3031" fmla="*/ 202906 w 10693106"/>
              <a:gd name="connsiteY3-3032" fmla="*/ 160960 h 5359493"/>
              <a:gd name="connsiteX4-3033" fmla="*/ 236773 w 10693106"/>
              <a:gd name="connsiteY4-3034" fmla="*/ 135560 h 5359493"/>
              <a:gd name="connsiteX5-3035" fmla="*/ 346840 w 10693106"/>
              <a:gd name="connsiteY5-3036" fmla="*/ 76293 h 5359493"/>
              <a:gd name="connsiteX6-3037" fmla="*/ 397640 w 10693106"/>
              <a:gd name="connsiteY6-3038" fmla="*/ 42427 h 5359493"/>
              <a:gd name="connsiteX7-3039" fmla="*/ 467297 w 10693106"/>
              <a:gd name="connsiteY7-3040" fmla="*/ 181357 h 5359493"/>
              <a:gd name="connsiteX8-3041" fmla="*/ 492697 w 10693106"/>
              <a:gd name="connsiteY8-3042" fmla="*/ 141718 h 5359493"/>
              <a:gd name="connsiteX9-3043" fmla="*/ 822897 w 10693106"/>
              <a:gd name="connsiteY9-3044" fmla="*/ 150184 h 5359493"/>
              <a:gd name="connsiteX10-3045" fmla="*/ 1091906 w 10693106"/>
              <a:gd name="connsiteY10-3046" fmla="*/ 67827 h 5359493"/>
              <a:gd name="connsiteX11-3047" fmla="*/ 1235840 w 10693106"/>
              <a:gd name="connsiteY11-3048" fmla="*/ 127093 h 5359493"/>
              <a:gd name="connsiteX12-3049" fmla="*/ 1337440 w 10693106"/>
              <a:gd name="connsiteY12-3050" fmla="*/ 203293 h 5359493"/>
              <a:gd name="connsiteX13-3051" fmla="*/ 1422106 w 10693106"/>
              <a:gd name="connsiteY13-3052" fmla="*/ 313360 h 5359493"/>
              <a:gd name="connsiteX14-3053" fmla="*/ 1481373 w 10693106"/>
              <a:gd name="connsiteY14-3054" fmla="*/ 381093 h 5359493"/>
              <a:gd name="connsiteX15-3055" fmla="*/ 1532173 w 10693106"/>
              <a:gd name="connsiteY15-3056" fmla="*/ 414960 h 5359493"/>
              <a:gd name="connsiteX16-3057" fmla="*/ 1684573 w 10693106"/>
              <a:gd name="connsiteY16-3058" fmla="*/ 474227 h 5359493"/>
              <a:gd name="connsiteX17-3059" fmla="*/ 1760773 w 10693106"/>
              <a:gd name="connsiteY17-3060" fmla="*/ 491160 h 5359493"/>
              <a:gd name="connsiteX18-3061" fmla="*/ 1997840 w 10693106"/>
              <a:gd name="connsiteY18-3062" fmla="*/ 482693 h 5359493"/>
              <a:gd name="connsiteX19-3063" fmla="*/ 2116373 w 10693106"/>
              <a:gd name="connsiteY19-3064" fmla="*/ 465760 h 5359493"/>
              <a:gd name="connsiteX20-3065" fmla="*/ 2260306 w 10693106"/>
              <a:gd name="connsiteY20-3066" fmla="*/ 448827 h 5359493"/>
              <a:gd name="connsiteX21-3067" fmla="*/ 2404240 w 10693106"/>
              <a:gd name="connsiteY21-3068" fmla="*/ 423427 h 5359493"/>
              <a:gd name="connsiteX22-3069" fmla="*/ 2455040 w 10693106"/>
              <a:gd name="connsiteY22-3070" fmla="*/ 398027 h 5359493"/>
              <a:gd name="connsiteX23-3071" fmla="*/ 2531240 w 10693106"/>
              <a:gd name="connsiteY23-3072" fmla="*/ 372627 h 5359493"/>
              <a:gd name="connsiteX24-3073" fmla="*/ 2683640 w 10693106"/>
              <a:gd name="connsiteY24-3074" fmla="*/ 245627 h 5359493"/>
              <a:gd name="connsiteX25-3075" fmla="*/ 2768306 w 10693106"/>
              <a:gd name="connsiteY25-3076" fmla="*/ 177893 h 5359493"/>
              <a:gd name="connsiteX26-3077" fmla="*/ 2836040 w 10693106"/>
              <a:gd name="connsiteY26-3078" fmla="*/ 118627 h 5359493"/>
              <a:gd name="connsiteX27-3079" fmla="*/ 2929173 w 10693106"/>
              <a:gd name="connsiteY27-3080" fmla="*/ 67827 h 5359493"/>
              <a:gd name="connsiteX28-3081" fmla="*/ 3002294 w 10693106"/>
              <a:gd name="connsiteY28-3082" fmla="*/ 128633 h 5359493"/>
              <a:gd name="connsiteX29-3083" fmla="*/ 3142763 w 10693106"/>
              <a:gd name="connsiteY29-3084" fmla="*/ 177892 h 5359493"/>
              <a:gd name="connsiteX30-3085" fmla="*/ 3459878 w 10693106"/>
              <a:gd name="connsiteY30-3086" fmla="*/ 38193 h 5359493"/>
              <a:gd name="connsiteX31-3087" fmla="*/ 3606506 w 10693106"/>
              <a:gd name="connsiteY31-3088" fmla="*/ 127864 h 5359493"/>
              <a:gd name="connsiteX32-3089" fmla="*/ 3708106 w 10693106"/>
              <a:gd name="connsiteY32-3090" fmla="*/ 93 h 5359493"/>
              <a:gd name="connsiteX33-3091" fmla="*/ 3741973 w 10693106"/>
              <a:gd name="connsiteY33-3092" fmla="*/ 154032 h 5359493"/>
              <a:gd name="connsiteX34-3093" fmla="*/ 3818173 w 10693106"/>
              <a:gd name="connsiteY34-3094" fmla="*/ 67827 h 5359493"/>
              <a:gd name="connsiteX35-3095" fmla="*/ 3852040 w 10693106"/>
              <a:gd name="connsiteY35-3096" fmla="*/ 93227 h 5359493"/>
              <a:gd name="connsiteX36-3097" fmla="*/ 3885906 w 10693106"/>
              <a:gd name="connsiteY36-3098" fmla="*/ 110160 h 5359493"/>
              <a:gd name="connsiteX37-3099" fmla="*/ 3945173 w 10693106"/>
              <a:gd name="connsiteY37-3100" fmla="*/ 152493 h 5359493"/>
              <a:gd name="connsiteX38-3101" fmla="*/ 3995973 w 10693106"/>
              <a:gd name="connsiteY38-3102" fmla="*/ 177893 h 5359493"/>
              <a:gd name="connsiteX39-3103" fmla="*/ 4021373 w 10693106"/>
              <a:gd name="connsiteY39-3104" fmla="*/ 211760 h 5359493"/>
              <a:gd name="connsiteX40-3105" fmla="*/ 4055240 w 10693106"/>
              <a:gd name="connsiteY40-3106" fmla="*/ 220227 h 5359493"/>
              <a:gd name="connsiteX41-3107" fmla="*/ 4275373 w 10693106"/>
              <a:gd name="connsiteY41-3108" fmla="*/ 262560 h 5359493"/>
              <a:gd name="connsiteX42-3109" fmla="*/ 4402373 w 10693106"/>
              <a:gd name="connsiteY42-3110" fmla="*/ 296427 h 5359493"/>
              <a:gd name="connsiteX43-3111" fmla="*/ 4529373 w 10693106"/>
              <a:gd name="connsiteY43-3112" fmla="*/ 338760 h 5359493"/>
              <a:gd name="connsiteX44-3113" fmla="*/ 4859573 w 10693106"/>
              <a:gd name="connsiteY44-3114" fmla="*/ 414960 h 5359493"/>
              <a:gd name="connsiteX45-3115" fmla="*/ 5045840 w 10693106"/>
              <a:gd name="connsiteY45-3116" fmla="*/ 491160 h 5359493"/>
              <a:gd name="connsiteX46-3117" fmla="*/ 5325240 w 10693106"/>
              <a:gd name="connsiteY46-3118" fmla="*/ 652027 h 5359493"/>
              <a:gd name="connsiteX47-3119" fmla="*/ 5494573 w 10693106"/>
              <a:gd name="connsiteY47-3120" fmla="*/ 804427 h 5359493"/>
              <a:gd name="connsiteX48-3121" fmla="*/ 5562306 w 10693106"/>
              <a:gd name="connsiteY48-3122" fmla="*/ 880627 h 5359493"/>
              <a:gd name="connsiteX49-3123" fmla="*/ 5621573 w 10693106"/>
              <a:gd name="connsiteY49-3124" fmla="*/ 931427 h 5359493"/>
              <a:gd name="connsiteX50-3125" fmla="*/ 5672373 w 10693106"/>
              <a:gd name="connsiteY50-3126" fmla="*/ 999160 h 5359493"/>
              <a:gd name="connsiteX51-3127" fmla="*/ 5757040 w 10693106"/>
              <a:gd name="connsiteY51-3128" fmla="*/ 1100760 h 5359493"/>
              <a:gd name="connsiteX52-3129" fmla="*/ 5833240 w 10693106"/>
              <a:gd name="connsiteY52-3130" fmla="*/ 1193893 h 5359493"/>
              <a:gd name="connsiteX53-3131" fmla="*/ 6019506 w 10693106"/>
              <a:gd name="connsiteY53-3132" fmla="*/ 1397093 h 5359493"/>
              <a:gd name="connsiteX54-3133" fmla="*/ 6087240 w 10693106"/>
              <a:gd name="connsiteY54-3134" fmla="*/ 1447893 h 5359493"/>
              <a:gd name="connsiteX55-3135" fmla="*/ 6171906 w 10693106"/>
              <a:gd name="connsiteY55-3136" fmla="*/ 1549493 h 5359493"/>
              <a:gd name="connsiteX56-3137" fmla="*/ 6451306 w 10693106"/>
              <a:gd name="connsiteY56-3138" fmla="*/ 1761160 h 5359493"/>
              <a:gd name="connsiteX57-3139" fmla="*/ 6519040 w 10693106"/>
              <a:gd name="connsiteY57-3140" fmla="*/ 1769627 h 5359493"/>
              <a:gd name="connsiteX58-3141" fmla="*/ 6603706 w 10693106"/>
              <a:gd name="connsiteY58-3142" fmla="*/ 1803493 h 5359493"/>
              <a:gd name="connsiteX59-3143" fmla="*/ 6671440 w 10693106"/>
              <a:gd name="connsiteY59-3144" fmla="*/ 1837360 h 5359493"/>
              <a:gd name="connsiteX60-3145" fmla="*/ 6866173 w 10693106"/>
              <a:gd name="connsiteY60-3146" fmla="*/ 1862760 h 5359493"/>
              <a:gd name="connsiteX61-3147" fmla="*/ 7196373 w 10693106"/>
              <a:gd name="connsiteY61-3148" fmla="*/ 1845827 h 5359493"/>
              <a:gd name="connsiteX62-3149" fmla="*/ 7509640 w 10693106"/>
              <a:gd name="connsiteY62-3150" fmla="*/ 1769627 h 5359493"/>
              <a:gd name="connsiteX63-3151" fmla="*/ 7628173 w 10693106"/>
              <a:gd name="connsiteY63-3152" fmla="*/ 1744227 h 5359493"/>
              <a:gd name="connsiteX64-3153" fmla="*/ 7704373 w 10693106"/>
              <a:gd name="connsiteY64-3154" fmla="*/ 1701893 h 5359493"/>
              <a:gd name="connsiteX65-3155" fmla="*/ 7755173 w 10693106"/>
              <a:gd name="connsiteY65-3156" fmla="*/ 1693427 h 5359493"/>
              <a:gd name="connsiteX66-3157" fmla="*/ 7797506 w 10693106"/>
              <a:gd name="connsiteY66-3158" fmla="*/ 1659560 h 5359493"/>
              <a:gd name="connsiteX67-3159" fmla="*/ 7856773 w 10693106"/>
              <a:gd name="connsiteY67-3160" fmla="*/ 1642627 h 5359493"/>
              <a:gd name="connsiteX68-3161" fmla="*/ 7958373 w 10693106"/>
              <a:gd name="connsiteY68-3162" fmla="*/ 1574893 h 5359493"/>
              <a:gd name="connsiteX69-3163" fmla="*/ 8009173 w 10693106"/>
              <a:gd name="connsiteY69-3164" fmla="*/ 1524093 h 5359493"/>
              <a:gd name="connsiteX70-3165" fmla="*/ 8339373 w 10693106"/>
              <a:gd name="connsiteY70-3166" fmla="*/ 1278560 h 5359493"/>
              <a:gd name="connsiteX71-3167" fmla="*/ 8576440 w 10693106"/>
              <a:gd name="connsiteY71-3168" fmla="*/ 1024560 h 5359493"/>
              <a:gd name="connsiteX72-3169" fmla="*/ 8652640 w 10693106"/>
              <a:gd name="connsiteY72-3170" fmla="*/ 745160 h 5359493"/>
              <a:gd name="connsiteX73-3171" fmla="*/ 8847373 w 10693106"/>
              <a:gd name="connsiteY73-3172" fmla="*/ 558893 h 5359493"/>
              <a:gd name="connsiteX74-3173" fmla="*/ 8982840 w 10693106"/>
              <a:gd name="connsiteY74-3174" fmla="*/ 465760 h 5359493"/>
              <a:gd name="connsiteX75-3175" fmla="*/ 9084440 w 10693106"/>
              <a:gd name="connsiteY75-3176" fmla="*/ 431893 h 5359493"/>
              <a:gd name="connsiteX76-3177" fmla="*/ 9152173 w 10693106"/>
              <a:gd name="connsiteY76-3178" fmla="*/ 406493 h 5359493"/>
              <a:gd name="connsiteX77-3179" fmla="*/ 9380773 w 10693106"/>
              <a:gd name="connsiteY77-3180" fmla="*/ 423427 h 5359493"/>
              <a:gd name="connsiteX78-3181" fmla="*/ 9744840 w 10693106"/>
              <a:gd name="connsiteY78-3182" fmla="*/ 533493 h 5359493"/>
              <a:gd name="connsiteX79-3183" fmla="*/ 9888773 w 10693106"/>
              <a:gd name="connsiteY79-3184" fmla="*/ 575827 h 5359493"/>
              <a:gd name="connsiteX80-3185" fmla="*/ 9998840 w 10693106"/>
              <a:gd name="connsiteY80-3186" fmla="*/ 626627 h 5359493"/>
              <a:gd name="connsiteX81-3187" fmla="*/ 10083506 w 10693106"/>
              <a:gd name="connsiteY81-3188" fmla="*/ 685893 h 5359493"/>
              <a:gd name="connsiteX82-3189" fmla="*/ 10286706 w 10693106"/>
              <a:gd name="connsiteY82-3190" fmla="*/ 753627 h 5359493"/>
              <a:gd name="connsiteX83-3191" fmla="*/ 10388306 w 10693106"/>
              <a:gd name="connsiteY83-3192" fmla="*/ 956827 h 5359493"/>
              <a:gd name="connsiteX84-3193" fmla="*/ 10540706 w 10693106"/>
              <a:gd name="connsiteY84-3194" fmla="*/ 1329360 h 5359493"/>
              <a:gd name="connsiteX85-3195" fmla="*/ 10557640 w 10693106"/>
              <a:gd name="connsiteY85-3196" fmla="*/ 1414027 h 5359493"/>
              <a:gd name="connsiteX86-3197" fmla="*/ 10583040 w 10693106"/>
              <a:gd name="connsiteY86-3198" fmla="*/ 1515627 h 5359493"/>
              <a:gd name="connsiteX87-3199" fmla="*/ 10616906 w 10693106"/>
              <a:gd name="connsiteY87-3200" fmla="*/ 1718827 h 5359493"/>
              <a:gd name="connsiteX88-3201" fmla="*/ 10633840 w 10693106"/>
              <a:gd name="connsiteY88-3202" fmla="*/ 1803493 h 5359493"/>
              <a:gd name="connsiteX89-3203" fmla="*/ 10650773 w 10693106"/>
              <a:gd name="connsiteY89-3204" fmla="*/ 1837360 h 5359493"/>
              <a:gd name="connsiteX90-3205" fmla="*/ 10676173 w 10693106"/>
              <a:gd name="connsiteY90-3206" fmla="*/ 1922027 h 5359493"/>
              <a:gd name="connsiteX91-3207" fmla="*/ 10693106 w 10693106"/>
              <a:gd name="connsiteY91-3208" fmla="*/ 2074427 h 5359493"/>
              <a:gd name="connsiteX92-3209" fmla="*/ 10625373 w 10693106"/>
              <a:gd name="connsiteY92-3210" fmla="*/ 2294560 h 5359493"/>
              <a:gd name="connsiteX93-3211" fmla="*/ 10608440 w 10693106"/>
              <a:gd name="connsiteY93-3212" fmla="*/ 2319960 h 5359493"/>
              <a:gd name="connsiteX94-3213" fmla="*/ 10540706 w 10693106"/>
              <a:gd name="connsiteY94-3214" fmla="*/ 2463893 h 5359493"/>
              <a:gd name="connsiteX95-3215" fmla="*/ 10498373 w 10693106"/>
              <a:gd name="connsiteY95-3216" fmla="*/ 2548560 h 5359493"/>
              <a:gd name="connsiteX96-3217" fmla="*/ 10439106 w 10693106"/>
              <a:gd name="connsiteY96-3218" fmla="*/ 2734827 h 5359493"/>
              <a:gd name="connsiteX97-3219" fmla="*/ 10430640 w 10693106"/>
              <a:gd name="connsiteY97-3220" fmla="*/ 2777160 h 5359493"/>
              <a:gd name="connsiteX98-3221" fmla="*/ 10405240 w 10693106"/>
              <a:gd name="connsiteY98-3222" fmla="*/ 2853360 h 5359493"/>
              <a:gd name="connsiteX99-3223" fmla="*/ 10396773 w 10693106"/>
              <a:gd name="connsiteY99-3224" fmla="*/ 2887227 h 5359493"/>
              <a:gd name="connsiteX100-3225" fmla="*/ 10362906 w 10693106"/>
              <a:gd name="connsiteY100-3226" fmla="*/ 2980360 h 5359493"/>
              <a:gd name="connsiteX101-3227" fmla="*/ 10329040 w 10693106"/>
              <a:gd name="connsiteY101-3228" fmla="*/ 3022693 h 5359493"/>
              <a:gd name="connsiteX102-3229" fmla="*/ 10227440 w 10693106"/>
              <a:gd name="connsiteY102-3230" fmla="*/ 3124293 h 5359493"/>
              <a:gd name="connsiteX103-3231" fmla="*/ 10168173 w 10693106"/>
              <a:gd name="connsiteY103-3232" fmla="*/ 3192027 h 5359493"/>
              <a:gd name="connsiteX104-3233" fmla="*/ 10117373 w 10693106"/>
              <a:gd name="connsiteY104-3234" fmla="*/ 3242827 h 5359493"/>
              <a:gd name="connsiteX105-3235" fmla="*/ 10032706 w 10693106"/>
              <a:gd name="connsiteY105-3236" fmla="*/ 3344427 h 5359493"/>
              <a:gd name="connsiteX106-3237" fmla="*/ 9948040 w 10693106"/>
              <a:gd name="connsiteY106-3238" fmla="*/ 3403693 h 5359493"/>
              <a:gd name="connsiteX107-3239" fmla="*/ 9905706 w 10693106"/>
              <a:gd name="connsiteY107-3240" fmla="*/ 3429093 h 5359493"/>
              <a:gd name="connsiteX108-3241" fmla="*/ 9829506 w 10693106"/>
              <a:gd name="connsiteY108-3242" fmla="*/ 3446027 h 5359493"/>
              <a:gd name="connsiteX109-3243" fmla="*/ 9727906 w 10693106"/>
              <a:gd name="connsiteY109-3244" fmla="*/ 3488360 h 5359493"/>
              <a:gd name="connsiteX110-3245" fmla="*/ 9634773 w 10693106"/>
              <a:gd name="connsiteY110-3246" fmla="*/ 3513760 h 5359493"/>
              <a:gd name="connsiteX111-3247" fmla="*/ 9456973 w 10693106"/>
              <a:gd name="connsiteY111-3248" fmla="*/ 3606893 h 5359493"/>
              <a:gd name="connsiteX112-3249" fmla="*/ 9313040 w 10693106"/>
              <a:gd name="connsiteY112-3250" fmla="*/ 3733893 h 5359493"/>
              <a:gd name="connsiteX113-3251" fmla="*/ 9279173 w 10693106"/>
              <a:gd name="connsiteY113-3252" fmla="*/ 3750827 h 5359493"/>
              <a:gd name="connsiteX114-3253" fmla="*/ 9067506 w 10693106"/>
              <a:gd name="connsiteY114-3254" fmla="*/ 3928627 h 5359493"/>
              <a:gd name="connsiteX115-3255" fmla="*/ 8999773 w 10693106"/>
              <a:gd name="connsiteY115-3256" fmla="*/ 3996360 h 5359493"/>
              <a:gd name="connsiteX116-3257" fmla="*/ 8813506 w 10693106"/>
              <a:gd name="connsiteY116-3258" fmla="*/ 4131827 h 5359493"/>
              <a:gd name="connsiteX117-3259" fmla="*/ 8728840 w 10693106"/>
              <a:gd name="connsiteY117-3260" fmla="*/ 4174160 h 5359493"/>
              <a:gd name="connsiteX118-3261" fmla="*/ 8373240 w 10693106"/>
              <a:gd name="connsiteY118-3262" fmla="*/ 4208027 h 5359493"/>
              <a:gd name="connsiteX119-3263" fmla="*/ 7966840 w 10693106"/>
              <a:gd name="connsiteY119-3264" fmla="*/ 4301160 h 5359493"/>
              <a:gd name="connsiteX120-3265" fmla="*/ 7687440 w 10693106"/>
              <a:gd name="connsiteY120-3266" fmla="*/ 4462027 h 5359493"/>
              <a:gd name="connsiteX121-3267" fmla="*/ 7551973 w 10693106"/>
              <a:gd name="connsiteY121-3268" fmla="*/ 4546693 h 5359493"/>
              <a:gd name="connsiteX122-3269" fmla="*/ 7374173 w 10693106"/>
              <a:gd name="connsiteY122-3270" fmla="*/ 4724493 h 5359493"/>
              <a:gd name="connsiteX123-3271" fmla="*/ 7374173 w 10693106"/>
              <a:gd name="connsiteY123-3272" fmla="*/ 4724493 h 5359493"/>
              <a:gd name="connsiteX124-3273" fmla="*/ 7221773 w 10693106"/>
              <a:gd name="connsiteY124-3274" fmla="*/ 4843027 h 5359493"/>
              <a:gd name="connsiteX125-3275" fmla="*/ 7027040 w 10693106"/>
              <a:gd name="connsiteY125-3276" fmla="*/ 4970027 h 5359493"/>
              <a:gd name="connsiteX126-3277" fmla="*/ 6883106 w 10693106"/>
              <a:gd name="connsiteY126-3278" fmla="*/ 5037760 h 5359493"/>
              <a:gd name="connsiteX127-3279" fmla="*/ 6815373 w 10693106"/>
              <a:gd name="connsiteY127-3280" fmla="*/ 5080093 h 5359493"/>
              <a:gd name="connsiteX128-3281" fmla="*/ 6646040 w 10693106"/>
              <a:gd name="connsiteY128-3282" fmla="*/ 5173227 h 5359493"/>
              <a:gd name="connsiteX129-3283" fmla="*/ 6527506 w 10693106"/>
              <a:gd name="connsiteY129-3284" fmla="*/ 5232493 h 5359493"/>
              <a:gd name="connsiteX130-3285" fmla="*/ 6298906 w 10693106"/>
              <a:gd name="connsiteY130-3286" fmla="*/ 5308693 h 5359493"/>
              <a:gd name="connsiteX131-3287" fmla="*/ 6197306 w 10693106"/>
              <a:gd name="connsiteY131-3288" fmla="*/ 5334093 h 5359493"/>
              <a:gd name="connsiteX132-3289" fmla="*/ 6061840 w 10693106"/>
              <a:gd name="connsiteY132-3290" fmla="*/ 5342560 h 5359493"/>
              <a:gd name="connsiteX133-3291" fmla="*/ 5917906 w 10693106"/>
              <a:gd name="connsiteY133-3292" fmla="*/ 5359493 h 5359493"/>
              <a:gd name="connsiteX134-3293" fmla="*/ 5748573 w 10693106"/>
              <a:gd name="connsiteY134-3294" fmla="*/ 5351027 h 5359493"/>
              <a:gd name="connsiteX135-3295" fmla="*/ 5282906 w 10693106"/>
              <a:gd name="connsiteY135-3296" fmla="*/ 5240960 h 5359493"/>
              <a:gd name="connsiteX136-3297" fmla="*/ 5138973 w 10693106"/>
              <a:gd name="connsiteY136-3298" fmla="*/ 5139360 h 5359493"/>
              <a:gd name="connsiteX137-3299" fmla="*/ 5020440 w 10693106"/>
              <a:gd name="connsiteY137-3300" fmla="*/ 4986960 h 5359493"/>
              <a:gd name="connsiteX138-3301" fmla="*/ 4952706 w 10693106"/>
              <a:gd name="connsiteY138-3302" fmla="*/ 4910760 h 5359493"/>
              <a:gd name="connsiteX139-3303" fmla="*/ 4884973 w 10693106"/>
              <a:gd name="connsiteY139-3304" fmla="*/ 4843027 h 5359493"/>
              <a:gd name="connsiteX140-3305" fmla="*/ 4732573 w 10693106"/>
              <a:gd name="connsiteY140-3306" fmla="*/ 4665227 h 5359493"/>
              <a:gd name="connsiteX141-3307" fmla="*/ 4673306 w 10693106"/>
              <a:gd name="connsiteY141-3308" fmla="*/ 4597493 h 5359493"/>
              <a:gd name="connsiteX142-3309" fmla="*/ 4487040 w 10693106"/>
              <a:gd name="connsiteY142-3310" fmla="*/ 4470493 h 5359493"/>
              <a:gd name="connsiteX143-3311" fmla="*/ 4427773 w 10693106"/>
              <a:gd name="connsiteY143-3312" fmla="*/ 4436627 h 5359493"/>
              <a:gd name="connsiteX144-3313" fmla="*/ 4343106 w 10693106"/>
              <a:gd name="connsiteY144-3314" fmla="*/ 4402760 h 5359493"/>
              <a:gd name="connsiteX145-3315" fmla="*/ 4224573 w 10693106"/>
              <a:gd name="connsiteY145-3316" fmla="*/ 4326560 h 5359493"/>
              <a:gd name="connsiteX146-3317" fmla="*/ 4156840 w 10693106"/>
              <a:gd name="connsiteY146-3318" fmla="*/ 4267293 h 5359493"/>
              <a:gd name="connsiteX147-3319" fmla="*/ 4021373 w 10693106"/>
              <a:gd name="connsiteY147-3320" fmla="*/ 4123360 h 5359493"/>
              <a:gd name="connsiteX148-3321" fmla="*/ 3919773 w 10693106"/>
              <a:gd name="connsiteY148-3322" fmla="*/ 3987893 h 5359493"/>
              <a:gd name="connsiteX149-3323" fmla="*/ 3877440 w 10693106"/>
              <a:gd name="connsiteY149-3324" fmla="*/ 3691560 h 5359493"/>
              <a:gd name="connsiteX150-3325" fmla="*/ 3852040 w 10693106"/>
              <a:gd name="connsiteY150-3326" fmla="*/ 3598427 h 5359493"/>
              <a:gd name="connsiteX151-3327" fmla="*/ 3801240 w 10693106"/>
              <a:gd name="connsiteY151-3328" fmla="*/ 3488360 h 5359493"/>
              <a:gd name="connsiteX152-3329" fmla="*/ 3733506 w 10693106"/>
              <a:gd name="connsiteY152-3330" fmla="*/ 3386760 h 5359493"/>
              <a:gd name="connsiteX153-3331" fmla="*/ 3242440 w 10693106"/>
              <a:gd name="connsiteY153-3332" fmla="*/ 3166627 h 5359493"/>
              <a:gd name="connsiteX154-3333" fmla="*/ 3123906 w 10693106"/>
              <a:gd name="connsiteY154-3334" fmla="*/ 3065027 h 5359493"/>
              <a:gd name="connsiteX155-3335" fmla="*/ 2988440 w 10693106"/>
              <a:gd name="connsiteY155-3336" fmla="*/ 2870293 h 5359493"/>
              <a:gd name="connsiteX156-3337" fmla="*/ 2971506 w 10693106"/>
              <a:gd name="connsiteY156-3338" fmla="*/ 2811027 h 5359493"/>
              <a:gd name="connsiteX157-3339" fmla="*/ 2996906 w 10693106"/>
              <a:gd name="connsiteY157-3340" fmla="*/ 2599360 h 5359493"/>
              <a:gd name="connsiteX158-3341" fmla="*/ 3013840 w 10693106"/>
              <a:gd name="connsiteY158-3342" fmla="*/ 2497760 h 5359493"/>
              <a:gd name="connsiteX159-3343" fmla="*/ 3005373 w 10693106"/>
              <a:gd name="connsiteY159-3344" fmla="*/ 2379227 h 5359493"/>
              <a:gd name="connsiteX160-3345" fmla="*/ 2988440 w 10693106"/>
              <a:gd name="connsiteY160-3346" fmla="*/ 2328427 h 5359493"/>
              <a:gd name="connsiteX161-3347" fmla="*/ 2802173 w 10693106"/>
              <a:gd name="connsiteY161-3348" fmla="*/ 2074427 h 5359493"/>
              <a:gd name="connsiteX162-3349" fmla="*/ 2641306 w 10693106"/>
              <a:gd name="connsiteY162-3350" fmla="*/ 1930493 h 5359493"/>
              <a:gd name="connsiteX163-3351" fmla="*/ 2590506 w 10693106"/>
              <a:gd name="connsiteY163-3352" fmla="*/ 1905093 h 5359493"/>
              <a:gd name="connsiteX164-3353" fmla="*/ 2531240 w 10693106"/>
              <a:gd name="connsiteY164-3354" fmla="*/ 1896627 h 5359493"/>
              <a:gd name="connsiteX165-3355" fmla="*/ 2446573 w 10693106"/>
              <a:gd name="connsiteY165-3356" fmla="*/ 1879693 h 5359493"/>
              <a:gd name="connsiteX166-3357" fmla="*/ 2251840 w 10693106"/>
              <a:gd name="connsiteY166-3358" fmla="*/ 1905093 h 5359493"/>
              <a:gd name="connsiteX167-3359" fmla="*/ 2167173 w 10693106"/>
              <a:gd name="connsiteY167-3360" fmla="*/ 1947427 h 5359493"/>
              <a:gd name="connsiteX168-3361" fmla="*/ 1980906 w 10693106"/>
              <a:gd name="connsiteY168-3362" fmla="*/ 2006693 h 5359493"/>
              <a:gd name="connsiteX169-3363" fmla="*/ 1904706 w 10693106"/>
              <a:gd name="connsiteY169-3364" fmla="*/ 2040560 h 5359493"/>
              <a:gd name="connsiteX170-3365" fmla="*/ 1828506 w 10693106"/>
              <a:gd name="connsiteY170-3366" fmla="*/ 2057493 h 5359493"/>
              <a:gd name="connsiteX171-3367" fmla="*/ 1726906 w 10693106"/>
              <a:gd name="connsiteY171-3368" fmla="*/ 2108293 h 5359493"/>
              <a:gd name="connsiteX172-3369" fmla="*/ 1659173 w 10693106"/>
              <a:gd name="connsiteY172-3370" fmla="*/ 2142160 h 5359493"/>
              <a:gd name="connsiteX173-3371" fmla="*/ 1498306 w 10693106"/>
              <a:gd name="connsiteY173-3372" fmla="*/ 2167560 h 5359493"/>
              <a:gd name="connsiteX174-3373" fmla="*/ 914106 w 10693106"/>
              <a:gd name="connsiteY174-3374" fmla="*/ 2099827 h 5359493"/>
              <a:gd name="connsiteX175-3375" fmla="*/ 617773 w 10693106"/>
              <a:gd name="connsiteY175-3376" fmla="*/ 1989760 h 5359493"/>
              <a:gd name="connsiteX176-3377" fmla="*/ 516173 w 10693106"/>
              <a:gd name="connsiteY176-3378" fmla="*/ 1905093 h 5359493"/>
              <a:gd name="connsiteX177-3379" fmla="*/ 355306 w 10693106"/>
              <a:gd name="connsiteY177-3380" fmla="*/ 1693427 h 5359493"/>
              <a:gd name="connsiteX178-3381" fmla="*/ 296040 w 10693106"/>
              <a:gd name="connsiteY178-3382" fmla="*/ 1591827 h 5359493"/>
              <a:gd name="connsiteX179-3383" fmla="*/ 253706 w 10693106"/>
              <a:gd name="connsiteY179-3384" fmla="*/ 1414027 h 5359493"/>
              <a:gd name="connsiteX180-3385" fmla="*/ 245240 w 10693106"/>
              <a:gd name="connsiteY180-3386" fmla="*/ 1287027 h 5359493"/>
              <a:gd name="connsiteX181-3387" fmla="*/ 236773 w 10693106"/>
              <a:gd name="connsiteY181-3388" fmla="*/ 1185427 h 5359493"/>
              <a:gd name="connsiteX182-3389" fmla="*/ 245240 w 10693106"/>
              <a:gd name="connsiteY182-3390" fmla="*/ 914493 h 5359493"/>
              <a:gd name="connsiteX183-3391" fmla="*/ 236773 w 10693106"/>
              <a:gd name="connsiteY183-3392" fmla="*/ 770560 h 5359493"/>
              <a:gd name="connsiteX184-3393" fmla="*/ 109773 w 10693106"/>
              <a:gd name="connsiteY184-3394" fmla="*/ 626627 h 5359493"/>
              <a:gd name="connsiteX185-3395" fmla="*/ 58973 w 10693106"/>
              <a:gd name="connsiteY185-3396" fmla="*/ 550427 h 5359493"/>
              <a:gd name="connsiteX186-3397" fmla="*/ 16640 w 10693106"/>
              <a:gd name="connsiteY186-3398" fmla="*/ 499627 h 5359493"/>
              <a:gd name="connsiteX187-3399" fmla="*/ 8173 w 10693106"/>
              <a:gd name="connsiteY187-3400" fmla="*/ 457293 h 5359493"/>
              <a:gd name="connsiteX188-3401" fmla="*/ 16640 w 10693106"/>
              <a:gd name="connsiteY188-3402" fmla="*/ 406493 h 5359493"/>
              <a:gd name="connsiteX0-3403" fmla="*/ 16640 w 10693106"/>
              <a:gd name="connsiteY0-3404" fmla="*/ 406493 h 5359493"/>
              <a:gd name="connsiteX1-3405" fmla="*/ 58973 w 10693106"/>
              <a:gd name="connsiteY1-3406" fmla="*/ 313360 h 5359493"/>
              <a:gd name="connsiteX2-3407" fmla="*/ 109773 w 10693106"/>
              <a:gd name="connsiteY2-3408" fmla="*/ 245627 h 5359493"/>
              <a:gd name="connsiteX3-3409" fmla="*/ 202906 w 10693106"/>
              <a:gd name="connsiteY3-3410" fmla="*/ 160960 h 5359493"/>
              <a:gd name="connsiteX4-3411" fmla="*/ 236773 w 10693106"/>
              <a:gd name="connsiteY4-3412" fmla="*/ 135560 h 5359493"/>
              <a:gd name="connsiteX5-3413" fmla="*/ 346840 w 10693106"/>
              <a:gd name="connsiteY5-3414" fmla="*/ 76293 h 5359493"/>
              <a:gd name="connsiteX6-3415" fmla="*/ 397640 w 10693106"/>
              <a:gd name="connsiteY6-3416" fmla="*/ 42427 h 5359493"/>
              <a:gd name="connsiteX7-3417" fmla="*/ 467297 w 10693106"/>
              <a:gd name="connsiteY7-3418" fmla="*/ 181357 h 5359493"/>
              <a:gd name="connsiteX8-3419" fmla="*/ 492697 w 10693106"/>
              <a:gd name="connsiteY8-3420" fmla="*/ 141718 h 5359493"/>
              <a:gd name="connsiteX9-3421" fmla="*/ 822897 w 10693106"/>
              <a:gd name="connsiteY9-3422" fmla="*/ 150184 h 5359493"/>
              <a:gd name="connsiteX10-3423" fmla="*/ 1091906 w 10693106"/>
              <a:gd name="connsiteY10-3424" fmla="*/ 67827 h 5359493"/>
              <a:gd name="connsiteX11-3425" fmla="*/ 1235840 w 10693106"/>
              <a:gd name="connsiteY11-3426" fmla="*/ 127093 h 5359493"/>
              <a:gd name="connsiteX12-3427" fmla="*/ 1337440 w 10693106"/>
              <a:gd name="connsiteY12-3428" fmla="*/ 203293 h 5359493"/>
              <a:gd name="connsiteX13-3429" fmla="*/ 1422106 w 10693106"/>
              <a:gd name="connsiteY13-3430" fmla="*/ 313360 h 5359493"/>
              <a:gd name="connsiteX14-3431" fmla="*/ 1481373 w 10693106"/>
              <a:gd name="connsiteY14-3432" fmla="*/ 381093 h 5359493"/>
              <a:gd name="connsiteX15-3433" fmla="*/ 1532173 w 10693106"/>
              <a:gd name="connsiteY15-3434" fmla="*/ 414960 h 5359493"/>
              <a:gd name="connsiteX16-3435" fmla="*/ 1684573 w 10693106"/>
              <a:gd name="connsiteY16-3436" fmla="*/ 474227 h 5359493"/>
              <a:gd name="connsiteX17-3437" fmla="*/ 1760773 w 10693106"/>
              <a:gd name="connsiteY17-3438" fmla="*/ 491160 h 5359493"/>
              <a:gd name="connsiteX18-3439" fmla="*/ 1997840 w 10693106"/>
              <a:gd name="connsiteY18-3440" fmla="*/ 482693 h 5359493"/>
              <a:gd name="connsiteX19-3441" fmla="*/ 2116373 w 10693106"/>
              <a:gd name="connsiteY19-3442" fmla="*/ 465760 h 5359493"/>
              <a:gd name="connsiteX20-3443" fmla="*/ 2260306 w 10693106"/>
              <a:gd name="connsiteY20-3444" fmla="*/ 448827 h 5359493"/>
              <a:gd name="connsiteX21-3445" fmla="*/ 2404240 w 10693106"/>
              <a:gd name="connsiteY21-3446" fmla="*/ 423427 h 5359493"/>
              <a:gd name="connsiteX22-3447" fmla="*/ 2455040 w 10693106"/>
              <a:gd name="connsiteY22-3448" fmla="*/ 398027 h 5359493"/>
              <a:gd name="connsiteX23-3449" fmla="*/ 2531240 w 10693106"/>
              <a:gd name="connsiteY23-3450" fmla="*/ 372627 h 5359493"/>
              <a:gd name="connsiteX24-3451" fmla="*/ 2683640 w 10693106"/>
              <a:gd name="connsiteY24-3452" fmla="*/ 245627 h 5359493"/>
              <a:gd name="connsiteX25-3453" fmla="*/ 2768306 w 10693106"/>
              <a:gd name="connsiteY25-3454" fmla="*/ 177893 h 5359493"/>
              <a:gd name="connsiteX26-3455" fmla="*/ 2836040 w 10693106"/>
              <a:gd name="connsiteY26-3456" fmla="*/ 118627 h 5359493"/>
              <a:gd name="connsiteX27-3457" fmla="*/ 2929173 w 10693106"/>
              <a:gd name="connsiteY27-3458" fmla="*/ 67827 h 5359493"/>
              <a:gd name="connsiteX28-3459" fmla="*/ 3002294 w 10693106"/>
              <a:gd name="connsiteY28-3460" fmla="*/ 222151 h 5359493"/>
              <a:gd name="connsiteX29-3461" fmla="*/ 3142763 w 10693106"/>
              <a:gd name="connsiteY29-3462" fmla="*/ 177892 h 5359493"/>
              <a:gd name="connsiteX30-3463" fmla="*/ 3459878 w 10693106"/>
              <a:gd name="connsiteY30-3464" fmla="*/ 38193 h 5359493"/>
              <a:gd name="connsiteX31-3465" fmla="*/ 3606506 w 10693106"/>
              <a:gd name="connsiteY31-3466" fmla="*/ 127864 h 5359493"/>
              <a:gd name="connsiteX32-3467" fmla="*/ 3708106 w 10693106"/>
              <a:gd name="connsiteY32-3468" fmla="*/ 93 h 5359493"/>
              <a:gd name="connsiteX33-3469" fmla="*/ 3741973 w 10693106"/>
              <a:gd name="connsiteY33-3470" fmla="*/ 154032 h 5359493"/>
              <a:gd name="connsiteX34-3471" fmla="*/ 3818173 w 10693106"/>
              <a:gd name="connsiteY34-3472" fmla="*/ 67827 h 5359493"/>
              <a:gd name="connsiteX35-3473" fmla="*/ 3852040 w 10693106"/>
              <a:gd name="connsiteY35-3474" fmla="*/ 93227 h 5359493"/>
              <a:gd name="connsiteX36-3475" fmla="*/ 3885906 w 10693106"/>
              <a:gd name="connsiteY36-3476" fmla="*/ 110160 h 5359493"/>
              <a:gd name="connsiteX37-3477" fmla="*/ 3945173 w 10693106"/>
              <a:gd name="connsiteY37-3478" fmla="*/ 152493 h 5359493"/>
              <a:gd name="connsiteX38-3479" fmla="*/ 3995973 w 10693106"/>
              <a:gd name="connsiteY38-3480" fmla="*/ 177893 h 5359493"/>
              <a:gd name="connsiteX39-3481" fmla="*/ 4021373 w 10693106"/>
              <a:gd name="connsiteY39-3482" fmla="*/ 211760 h 5359493"/>
              <a:gd name="connsiteX40-3483" fmla="*/ 4055240 w 10693106"/>
              <a:gd name="connsiteY40-3484" fmla="*/ 220227 h 5359493"/>
              <a:gd name="connsiteX41-3485" fmla="*/ 4275373 w 10693106"/>
              <a:gd name="connsiteY41-3486" fmla="*/ 262560 h 5359493"/>
              <a:gd name="connsiteX42-3487" fmla="*/ 4402373 w 10693106"/>
              <a:gd name="connsiteY42-3488" fmla="*/ 296427 h 5359493"/>
              <a:gd name="connsiteX43-3489" fmla="*/ 4529373 w 10693106"/>
              <a:gd name="connsiteY43-3490" fmla="*/ 338760 h 5359493"/>
              <a:gd name="connsiteX44-3491" fmla="*/ 4859573 w 10693106"/>
              <a:gd name="connsiteY44-3492" fmla="*/ 414960 h 5359493"/>
              <a:gd name="connsiteX45-3493" fmla="*/ 5045840 w 10693106"/>
              <a:gd name="connsiteY45-3494" fmla="*/ 491160 h 5359493"/>
              <a:gd name="connsiteX46-3495" fmla="*/ 5325240 w 10693106"/>
              <a:gd name="connsiteY46-3496" fmla="*/ 652027 h 5359493"/>
              <a:gd name="connsiteX47-3497" fmla="*/ 5494573 w 10693106"/>
              <a:gd name="connsiteY47-3498" fmla="*/ 804427 h 5359493"/>
              <a:gd name="connsiteX48-3499" fmla="*/ 5562306 w 10693106"/>
              <a:gd name="connsiteY48-3500" fmla="*/ 880627 h 5359493"/>
              <a:gd name="connsiteX49-3501" fmla="*/ 5621573 w 10693106"/>
              <a:gd name="connsiteY49-3502" fmla="*/ 931427 h 5359493"/>
              <a:gd name="connsiteX50-3503" fmla="*/ 5672373 w 10693106"/>
              <a:gd name="connsiteY50-3504" fmla="*/ 999160 h 5359493"/>
              <a:gd name="connsiteX51-3505" fmla="*/ 5757040 w 10693106"/>
              <a:gd name="connsiteY51-3506" fmla="*/ 1100760 h 5359493"/>
              <a:gd name="connsiteX52-3507" fmla="*/ 5833240 w 10693106"/>
              <a:gd name="connsiteY52-3508" fmla="*/ 1193893 h 5359493"/>
              <a:gd name="connsiteX53-3509" fmla="*/ 6019506 w 10693106"/>
              <a:gd name="connsiteY53-3510" fmla="*/ 1397093 h 5359493"/>
              <a:gd name="connsiteX54-3511" fmla="*/ 6087240 w 10693106"/>
              <a:gd name="connsiteY54-3512" fmla="*/ 1447893 h 5359493"/>
              <a:gd name="connsiteX55-3513" fmla="*/ 6171906 w 10693106"/>
              <a:gd name="connsiteY55-3514" fmla="*/ 1549493 h 5359493"/>
              <a:gd name="connsiteX56-3515" fmla="*/ 6451306 w 10693106"/>
              <a:gd name="connsiteY56-3516" fmla="*/ 1761160 h 5359493"/>
              <a:gd name="connsiteX57-3517" fmla="*/ 6519040 w 10693106"/>
              <a:gd name="connsiteY57-3518" fmla="*/ 1769627 h 5359493"/>
              <a:gd name="connsiteX58-3519" fmla="*/ 6603706 w 10693106"/>
              <a:gd name="connsiteY58-3520" fmla="*/ 1803493 h 5359493"/>
              <a:gd name="connsiteX59-3521" fmla="*/ 6671440 w 10693106"/>
              <a:gd name="connsiteY59-3522" fmla="*/ 1837360 h 5359493"/>
              <a:gd name="connsiteX60-3523" fmla="*/ 6866173 w 10693106"/>
              <a:gd name="connsiteY60-3524" fmla="*/ 1862760 h 5359493"/>
              <a:gd name="connsiteX61-3525" fmla="*/ 7196373 w 10693106"/>
              <a:gd name="connsiteY61-3526" fmla="*/ 1845827 h 5359493"/>
              <a:gd name="connsiteX62-3527" fmla="*/ 7509640 w 10693106"/>
              <a:gd name="connsiteY62-3528" fmla="*/ 1769627 h 5359493"/>
              <a:gd name="connsiteX63-3529" fmla="*/ 7628173 w 10693106"/>
              <a:gd name="connsiteY63-3530" fmla="*/ 1744227 h 5359493"/>
              <a:gd name="connsiteX64-3531" fmla="*/ 7704373 w 10693106"/>
              <a:gd name="connsiteY64-3532" fmla="*/ 1701893 h 5359493"/>
              <a:gd name="connsiteX65-3533" fmla="*/ 7755173 w 10693106"/>
              <a:gd name="connsiteY65-3534" fmla="*/ 1693427 h 5359493"/>
              <a:gd name="connsiteX66-3535" fmla="*/ 7797506 w 10693106"/>
              <a:gd name="connsiteY66-3536" fmla="*/ 1659560 h 5359493"/>
              <a:gd name="connsiteX67-3537" fmla="*/ 7856773 w 10693106"/>
              <a:gd name="connsiteY67-3538" fmla="*/ 1642627 h 5359493"/>
              <a:gd name="connsiteX68-3539" fmla="*/ 7958373 w 10693106"/>
              <a:gd name="connsiteY68-3540" fmla="*/ 1574893 h 5359493"/>
              <a:gd name="connsiteX69-3541" fmla="*/ 8009173 w 10693106"/>
              <a:gd name="connsiteY69-3542" fmla="*/ 1524093 h 5359493"/>
              <a:gd name="connsiteX70-3543" fmla="*/ 8339373 w 10693106"/>
              <a:gd name="connsiteY70-3544" fmla="*/ 1278560 h 5359493"/>
              <a:gd name="connsiteX71-3545" fmla="*/ 8576440 w 10693106"/>
              <a:gd name="connsiteY71-3546" fmla="*/ 1024560 h 5359493"/>
              <a:gd name="connsiteX72-3547" fmla="*/ 8652640 w 10693106"/>
              <a:gd name="connsiteY72-3548" fmla="*/ 745160 h 5359493"/>
              <a:gd name="connsiteX73-3549" fmla="*/ 8847373 w 10693106"/>
              <a:gd name="connsiteY73-3550" fmla="*/ 558893 h 5359493"/>
              <a:gd name="connsiteX74-3551" fmla="*/ 8982840 w 10693106"/>
              <a:gd name="connsiteY74-3552" fmla="*/ 465760 h 5359493"/>
              <a:gd name="connsiteX75-3553" fmla="*/ 9084440 w 10693106"/>
              <a:gd name="connsiteY75-3554" fmla="*/ 431893 h 5359493"/>
              <a:gd name="connsiteX76-3555" fmla="*/ 9152173 w 10693106"/>
              <a:gd name="connsiteY76-3556" fmla="*/ 406493 h 5359493"/>
              <a:gd name="connsiteX77-3557" fmla="*/ 9380773 w 10693106"/>
              <a:gd name="connsiteY77-3558" fmla="*/ 423427 h 5359493"/>
              <a:gd name="connsiteX78-3559" fmla="*/ 9744840 w 10693106"/>
              <a:gd name="connsiteY78-3560" fmla="*/ 533493 h 5359493"/>
              <a:gd name="connsiteX79-3561" fmla="*/ 9888773 w 10693106"/>
              <a:gd name="connsiteY79-3562" fmla="*/ 575827 h 5359493"/>
              <a:gd name="connsiteX80-3563" fmla="*/ 9998840 w 10693106"/>
              <a:gd name="connsiteY80-3564" fmla="*/ 626627 h 5359493"/>
              <a:gd name="connsiteX81-3565" fmla="*/ 10083506 w 10693106"/>
              <a:gd name="connsiteY81-3566" fmla="*/ 685893 h 5359493"/>
              <a:gd name="connsiteX82-3567" fmla="*/ 10286706 w 10693106"/>
              <a:gd name="connsiteY82-3568" fmla="*/ 753627 h 5359493"/>
              <a:gd name="connsiteX83-3569" fmla="*/ 10388306 w 10693106"/>
              <a:gd name="connsiteY83-3570" fmla="*/ 956827 h 5359493"/>
              <a:gd name="connsiteX84-3571" fmla="*/ 10540706 w 10693106"/>
              <a:gd name="connsiteY84-3572" fmla="*/ 1329360 h 5359493"/>
              <a:gd name="connsiteX85-3573" fmla="*/ 10557640 w 10693106"/>
              <a:gd name="connsiteY85-3574" fmla="*/ 1414027 h 5359493"/>
              <a:gd name="connsiteX86-3575" fmla="*/ 10583040 w 10693106"/>
              <a:gd name="connsiteY86-3576" fmla="*/ 1515627 h 5359493"/>
              <a:gd name="connsiteX87-3577" fmla="*/ 10616906 w 10693106"/>
              <a:gd name="connsiteY87-3578" fmla="*/ 1718827 h 5359493"/>
              <a:gd name="connsiteX88-3579" fmla="*/ 10633840 w 10693106"/>
              <a:gd name="connsiteY88-3580" fmla="*/ 1803493 h 5359493"/>
              <a:gd name="connsiteX89-3581" fmla="*/ 10650773 w 10693106"/>
              <a:gd name="connsiteY89-3582" fmla="*/ 1837360 h 5359493"/>
              <a:gd name="connsiteX90-3583" fmla="*/ 10676173 w 10693106"/>
              <a:gd name="connsiteY90-3584" fmla="*/ 1922027 h 5359493"/>
              <a:gd name="connsiteX91-3585" fmla="*/ 10693106 w 10693106"/>
              <a:gd name="connsiteY91-3586" fmla="*/ 2074427 h 5359493"/>
              <a:gd name="connsiteX92-3587" fmla="*/ 10625373 w 10693106"/>
              <a:gd name="connsiteY92-3588" fmla="*/ 2294560 h 5359493"/>
              <a:gd name="connsiteX93-3589" fmla="*/ 10608440 w 10693106"/>
              <a:gd name="connsiteY93-3590" fmla="*/ 2319960 h 5359493"/>
              <a:gd name="connsiteX94-3591" fmla="*/ 10540706 w 10693106"/>
              <a:gd name="connsiteY94-3592" fmla="*/ 2463893 h 5359493"/>
              <a:gd name="connsiteX95-3593" fmla="*/ 10498373 w 10693106"/>
              <a:gd name="connsiteY95-3594" fmla="*/ 2548560 h 5359493"/>
              <a:gd name="connsiteX96-3595" fmla="*/ 10439106 w 10693106"/>
              <a:gd name="connsiteY96-3596" fmla="*/ 2734827 h 5359493"/>
              <a:gd name="connsiteX97-3597" fmla="*/ 10430640 w 10693106"/>
              <a:gd name="connsiteY97-3598" fmla="*/ 2777160 h 5359493"/>
              <a:gd name="connsiteX98-3599" fmla="*/ 10405240 w 10693106"/>
              <a:gd name="connsiteY98-3600" fmla="*/ 2853360 h 5359493"/>
              <a:gd name="connsiteX99-3601" fmla="*/ 10396773 w 10693106"/>
              <a:gd name="connsiteY99-3602" fmla="*/ 2887227 h 5359493"/>
              <a:gd name="connsiteX100-3603" fmla="*/ 10362906 w 10693106"/>
              <a:gd name="connsiteY100-3604" fmla="*/ 2980360 h 5359493"/>
              <a:gd name="connsiteX101-3605" fmla="*/ 10329040 w 10693106"/>
              <a:gd name="connsiteY101-3606" fmla="*/ 3022693 h 5359493"/>
              <a:gd name="connsiteX102-3607" fmla="*/ 10227440 w 10693106"/>
              <a:gd name="connsiteY102-3608" fmla="*/ 3124293 h 5359493"/>
              <a:gd name="connsiteX103-3609" fmla="*/ 10168173 w 10693106"/>
              <a:gd name="connsiteY103-3610" fmla="*/ 3192027 h 5359493"/>
              <a:gd name="connsiteX104-3611" fmla="*/ 10117373 w 10693106"/>
              <a:gd name="connsiteY104-3612" fmla="*/ 3242827 h 5359493"/>
              <a:gd name="connsiteX105-3613" fmla="*/ 10032706 w 10693106"/>
              <a:gd name="connsiteY105-3614" fmla="*/ 3344427 h 5359493"/>
              <a:gd name="connsiteX106-3615" fmla="*/ 9948040 w 10693106"/>
              <a:gd name="connsiteY106-3616" fmla="*/ 3403693 h 5359493"/>
              <a:gd name="connsiteX107-3617" fmla="*/ 9905706 w 10693106"/>
              <a:gd name="connsiteY107-3618" fmla="*/ 3429093 h 5359493"/>
              <a:gd name="connsiteX108-3619" fmla="*/ 9829506 w 10693106"/>
              <a:gd name="connsiteY108-3620" fmla="*/ 3446027 h 5359493"/>
              <a:gd name="connsiteX109-3621" fmla="*/ 9727906 w 10693106"/>
              <a:gd name="connsiteY109-3622" fmla="*/ 3488360 h 5359493"/>
              <a:gd name="connsiteX110-3623" fmla="*/ 9634773 w 10693106"/>
              <a:gd name="connsiteY110-3624" fmla="*/ 3513760 h 5359493"/>
              <a:gd name="connsiteX111-3625" fmla="*/ 9456973 w 10693106"/>
              <a:gd name="connsiteY111-3626" fmla="*/ 3606893 h 5359493"/>
              <a:gd name="connsiteX112-3627" fmla="*/ 9313040 w 10693106"/>
              <a:gd name="connsiteY112-3628" fmla="*/ 3733893 h 5359493"/>
              <a:gd name="connsiteX113-3629" fmla="*/ 9279173 w 10693106"/>
              <a:gd name="connsiteY113-3630" fmla="*/ 3750827 h 5359493"/>
              <a:gd name="connsiteX114-3631" fmla="*/ 9067506 w 10693106"/>
              <a:gd name="connsiteY114-3632" fmla="*/ 3928627 h 5359493"/>
              <a:gd name="connsiteX115-3633" fmla="*/ 8999773 w 10693106"/>
              <a:gd name="connsiteY115-3634" fmla="*/ 3996360 h 5359493"/>
              <a:gd name="connsiteX116-3635" fmla="*/ 8813506 w 10693106"/>
              <a:gd name="connsiteY116-3636" fmla="*/ 4131827 h 5359493"/>
              <a:gd name="connsiteX117-3637" fmla="*/ 8728840 w 10693106"/>
              <a:gd name="connsiteY117-3638" fmla="*/ 4174160 h 5359493"/>
              <a:gd name="connsiteX118-3639" fmla="*/ 8373240 w 10693106"/>
              <a:gd name="connsiteY118-3640" fmla="*/ 4208027 h 5359493"/>
              <a:gd name="connsiteX119-3641" fmla="*/ 7966840 w 10693106"/>
              <a:gd name="connsiteY119-3642" fmla="*/ 4301160 h 5359493"/>
              <a:gd name="connsiteX120-3643" fmla="*/ 7687440 w 10693106"/>
              <a:gd name="connsiteY120-3644" fmla="*/ 4462027 h 5359493"/>
              <a:gd name="connsiteX121-3645" fmla="*/ 7551973 w 10693106"/>
              <a:gd name="connsiteY121-3646" fmla="*/ 4546693 h 5359493"/>
              <a:gd name="connsiteX122-3647" fmla="*/ 7374173 w 10693106"/>
              <a:gd name="connsiteY122-3648" fmla="*/ 4724493 h 5359493"/>
              <a:gd name="connsiteX123-3649" fmla="*/ 7374173 w 10693106"/>
              <a:gd name="connsiteY123-3650" fmla="*/ 4724493 h 5359493"/>
              <a:gd name="connsiteX124-3651" fmla="*/ 7221773 w 10693106"/>
              <a:gd name="connsiteY124-3652" fmla="*/ 4843027 h 5359493"/>
              <a:gd name="connsiteX125-3653" fmla="*/ 7027040 w 10693106"/>
              <a:gd name="connsiteY125-3654" fmla="*/ 4970027 h 5359493"/>
              <a:gd name="connsiteX126-3655" fmla="*/ 6883106 w 10693106"/>
              <a:gd name="connsiteY126-3656" fmla="*/ 5037760 h 5359493"/>
              <a:gd name="connsiteX127-3657" fmla="*/ 6815373 w 10693106"/>
              <a:gd name="connsiteY127-3658" fmla="*/ 5080093 h 5359493"/>
              <a:gd name="connsiteX128-3659" fmla="*/ 6646040 w 10693106"/>
              <a:gd name="connsiteY128-3660" fmla="*/ 5173227 h 5359493"/>
              <a:gd name="connsiteX129-3661" fmla="*/ 6527506 w 10693106"/>
              <a:gd name="connsiteY129-3662" fmla="*/ 5232493 h 5359493"/>
              <a:gd name="connsiteX130-3663" fmla="*/ 6298906 w 10693106"/>
              <a:gd name="connsiteY130-3664" fmla="*/ 5308693 h 5359493"/>
              <a:gd name="connsiteX131-3665" fmla="*/ 6197306 w 10693106"/>
              <a:gd name="connsiteY131-3666" fmla="*/ 5334093 h 5359493"/>
              <a:gd name="connsiteX132-3667" fmla="*/ 6061840 w 10693106"/>
              <a:gd name="connsiteY132-3668" fmla="*/ 5342560 h 5359493"/>
              <a:gd name="connsiteX133-3669" fmla="*/ 5917906 w 10693106"/>
              <a:gd name="connsiteY133-3670" fmla="*/ 5359493 h 5359493"/>
              <a:gd name="connsiteX134-3671" fmla="*/ 5748573 w 10693106"/>
              <a:gd name="connsiteY134-3672" fmla="*/ 5351027 h 5359493"/>
              <a:gd name="connsiteX135-3673" fmla="*/ 5282906 w 10693106"/>
              <a:gd name="connsiteY135-3674" fmla="*/ 5240960 h 5359493"/>
              <a:gd name="connsiteX136-3675" fmla="*/ 5138973 w 10693106"/>
              <a:gd name="connsiteY136-3676" fmla="*/ 5139360 h 5359493"/>
              <a:gd name="connsiteX137-3677" fmla="*/ 5020440 w 10693106"/>
              <a:gd name="connsiteY137-3678" fmla="*/ 4986960 h 5359493"/>
              <a:gd name="connsiteX138-3679" fmla="*/ 4952706 w 10693106"/>
              <a:gd name="connsiteY138-3680" fmla="*/ 4910760 h 5359493"/>
              <a:gd name="connsiteX139-3681" fmla="*/ 4884973 w 10693106"/>
              <a:gd name="connsiteY139-3682" fmla="*/ 4843027 h 5359493"/>
              <a:gd name="connsiteX140-3683" fmla="*/ 4732573 w 10693106"/>
              <a:gd name="connsiteY140-3684" fmla="*/ 4665227 h 5359493"/>
              <a:gd name="connsiteX141-3685" fmla="*/ 4673306 w 10693106"/>
              <a:gd name="connsiteY141-3686" fmla="*/ 4597493 h 5359493"/>
              <a:gd name="connsiteX142-3687" fmla="*/ 4487040 w 10693106"/>
              <a:gd name="connsiteY142-3688" fmla="*/ 4470493 h 5359493"/>
              <a:gd name="connsiteX143-3689" fmla="*/ 4427773 w 10693106"/>
              <a:gd name="connsiteY143-3690" fmla="*/ 4436627 h 5359493"/>
              <a:gd name="connsiteX144-3691" fmla="*/ 4343106 w 10693106"/>
              <a:gd name="connsiteY144-3692" fmla="*/ 4402760 h 5359493"/>
              <a:gd name="connsiteX145-3693" fmla="*/ 4224573 w 10693106"/>
              <a:gd name="connsiteY145-3694" fmla="*/ 4326560 h 5359493"/>
              <a:gd name="connsiteX146-3695" fmla="*/ 4156840 w 10693106"/>
              <a:gd name="connsiteY146-3696" fmla="*/ 4267293 h 5359493"/>
              <a:gd name="connsiteX147-3697" fmla="*/ 4021373 w 10693106"/>
              <a:gd name="connsiteY147-3698" fmla="*/ 4123360 h 5359493"/>
              <a:gd name="connsiteX148-3699" fmla="*/ 3919773 w 10693106"/>
              <a:gd name="connsiteY148-3700" fmla="*/ 3987893 h 5359493"/>
              <a:gd name="connsiteX149-3701" fmla="*/ 3877440 w 10693106"/>
              <a:gd name="connsiteY149-3702" fmla="*/ 3691560 h 5359493"/>
              <a:gd name="connsiteX150-3703" fmla="*/ 3852040 w 10693106"/>
              <a:gd name="connsiteY150-3704" fmla="*/ 3598427 h 5359493"/>
              <a:gd name="connsiteX151-3705" fmla="*/ 3801240 w 10693106"/>
              <a:gd name="connsiteY151-3706" fmla="*/ 3488360 h 5359493"/>
              <a:gd name="connsiteX152-3707" fmla="*/ 3733506 w 10693106"/>
              <a:gd name="connsiteY152-3708" fmla="*/ 3386760 h 5359493"/>
              <a:gd name="connsiteX153-3709" fmla="*/ 3242440 w 10693106"/>
              <a:gd name="connsiteY153-3710" fmla="*/ 3166627 h 5359493"/>
              <a:gd name="connsiteX154-3711" fmla="*/ 3123906 w 10693106"/>
              <a:gd name="connsiteY154-3712" fmla="*/ 3065027 h 5359493"/>
              <a:gd name="connsiteX155-3713" fmla="*/ 2988440 w 10693106"/>
              <a:gd name="connsiteY155-3714" fmla="*/ 2870293 h 5359493"/>
              <a:gd name="connsiteX156-3715" fmla="*/ 2971506 w 10693106"/>
              <a:gd name="connsiteY156-3716" fmla="*/ 2811027 h 5359493"/>
              <a:gd name="connsiteX157-3717" fmla="*/ 2996906 w 10693106"/>
              <a:gd name="connsiteY157-3718" fmla="*/ 2599360 h 5359493"/>
              <a:gd name="connsiteX158-3719" fmla="*/ 3013840 w 10693106"/>
              <a:gd name="connsiteY158-3720" fmla="*/ 2497760 h 5359493"/>
              <a:gd name="connsiteX159-3721" fmla="*/ 3005373 w 10693106"/>
              <a:gd name="connsiteY159-3722" fmla="*/ 2379227 h 5359493"/>
              <a:gd name="connsiteX160-3723" fmla="*/ 2988440 w 10693106"/>
              <a:gd name="connsiteY160-3724" fmla="*/ 2328427 h 5359493"/>
              <a:gd name="connsiteX161-3725" fmla="*/ 2802173 w 10693106"/>
              <a:gd name="connsiteY161-3726" fmla="*/ 2074427 h 5359493"/>
              <a:gd name="connsiteX162-3727" fmla="*/ 2641306 w 10693106"/>
              <a:gd name="connsiteY162-3728" fmla="*/ 1930493 h 5359493"/>
              <a:gd name="connsiteX163-3729" fmla="*/ 2590506 w 10693106"/>
              <a:gd name="connsiteY163-3730" fmla="*/ 1905093 h 5359493"/>
              <a:gd name="connsiteX164-3731" fmla="*/ 2531240 w 10693106"/>
              <a:gd name="connsiteY164-3732" fmla="*/ 1896627 h 5359493"/>
              <a:gd name="connsiteX165-3733" fmla="*/ 2446573 w 10693106"/>
              <a:gd name="connsiteY165-3734" fmla="*/ 1879693 h 5359493"/>
              <a:gd name="connsiteX166-3735" fmla="*/ 2251840 w 10693106"/>
              <a:gd name="connsiteY166-3736" fmla="*/ 1905093 h 5359493"/>
              <a:gd name="connsiteX167-3737" fmla="*/ 2167173 w 10693106"/>
              <a:gd name="connsiteY167-3738" fmla="*/ 1947427 h 5359493"/>
              <a:gd name="connsiteX168-3739" fmla="*/ 1980906 w 10693106"/>
              <a:gd name="connsiteY168-3740" fmla="*/ 2006693 h 5359493"/>
              <a:gd name="connsiteX169-3741" fmla="*/ 1904706 w 10693106"/>
              <a:gd name="connsiteY169-3742" fmla="*/ 2040560 h 5359493"/>
              <a:gd name="connsiteX170-3743" fmla="*/ 1828506 w 10693106"/>
              <a:gd name="connsiteY170-3744" fmla="*/ 2057493 h 5359493"/>
              <a:gd name="connsiteX171-3745" fmla="*/ 1726906 w 10693106"/>
              <a:gd name="connsiteY171-3746" fmla="*/ 2108293 h 5359493"/>
              <a:gd name="connsiteX172-3747" fmla="*/ 1659173 w 10693106"/>
              <a:gd name="connsiteY172-3748" fmla="*/ 2142160 h 5359493"/>
              <a:gd name="connsiteX173-3749" fmla="*/ 1498306 w 10693106"/>
              <a:gd name="connsiteY173-3750" fmla="*/ 2167560 h 5359493"/>
              <a:gd name="connsiteX174-3751" fmla="*/ 914106 w 10693106"/>
              <a:gd name="connsiteY174-3752" fmla="*/ 2099827 h 5359493"/>
              <a:gd name="connsiteX175-3753" fmla="*/ 617773 w 10693106"/>
              <a:gd name="connsiteY175-3754" fmla="*/ 1989760 h 5359493"/>
              <a:gd name="connsiteX176-3755" fmla="*/ 516173 w 10693106"/>
              <a:gd name="connsiteY176-3756" fmla="*/ 1905093 h 5359493"/>
              <a:gd name="connsiteX177-3757" fmla="*/ 355306 w 10693106"/>
              <a:gd name="connsiteY177-3758" fmla="*/ 1693427 h 5359493"/>
              <a:gd name="connsiteX178-3759" fmla="*/ 296040 w 10693106"/>
              <a:gd name="connsiteY178-3760" fmla="*/ 1591827 h 5359493"/>
              <a:gd name="connsiteX179-3761" fmla="*/ 253706 w 10693106"/>
              <a:gd name="connsiteY179-3762" fmla="*/ 1414027 h 5359493"/>
              <a:gd name="connsiteX180-3763" fmla="*/ 245240 w 10693106"/>
              <a:gd name="connsiteY180-3764" fmla="*/ 1287027 h 5359493"/>
              <a:gd name="connsiteX181-3765" fmla="*/ 236773 w 10693106"/>
              <a:gd name="connsiteY181-3766" fmla="*/ 1185427 h 5359493"/>
              <a:gd name="connsiteX182-3767" fmla="*/ 245240 w 10693106"/>
              <a:gd name="connsiteY182-3768" fmla="*/ 914493 h 5359493"/>
              <a:gd name="connsiteX183-3769" fmla="*/ 236773 w 10693106"/>
              <a:gd name="connsiteY183-3770" fmla="*/ 770560 h 5359493"/>
              <a:gd name="connsiteX184-3771" fmla="*/ 109773 w 10693106"/>
              <a:gd name="connsiteY184-3772" fmla="*/ 626627 h 5359493"/>
              <a:gd name="connsiteX185-3773" fmla="*/ 58973 w 10693106"/>
              <a:gd name="connsiteY185-3774" fmla="*/ 550427 h 5359493"/>
              <a:gd name="connsiteX186-3775" fmla="*/ 16640 w 10693106"/>
              <a:gd name="connsiteY186-3776" fmla="*/ 499627 h 5359493"/>
              <a:gd name="connsiteX187-3777" fmla="*/ 8173 w 10693106"/>
              <a:gd name="connsiteY187-3778" fmla="*/ 457293 h 5359493"/>
              <a:gd name="connsiteX188-3779" fmla="*/ 16640 w 10693106"/>
              <a:gd name="connsiteY188-3780" fmla="*/ 406493 h 5359493"/>
              <a:gd name="connsiteX0-3781" fmla="*/ 16640 w 10693106"/>
              <a:gd name="connsiteY0-3782" fmla="*/ 406493 h 5359493"/>
              <a:gd name="connsiteX1-3783" fmla="*/ 58973 w 10693106"/>
              <a:gd name="connsiteY1-3784" fmla="*/ 313360 h 5359493"/>
              <a:gd name="connsiteX2-3785" fmla="*/ 109773 w 10693106"/>
              <a:gd name="connsiteY2-3786" fmla="*/ 245627 h 5359493"/>
              <a:gd name="connsiteX3-3787" fmla="*/ 202906 w 10693106"/>
              <a:gd name="connsiteY3-3788" fmla="*/ 160960 h 5359493"/>
              <a:gd name="connsiteX4-3789" fmla="*/ 236773 w 10693106"/>
              <a:gd name="connsiteY4-3790" fmla="*/ 135560 h 5359493"/>
              <a:gd name="connsiteX5-3791" fmla="*/ 346840 w 10693106"/>
              <a:gd name="connsiteY5-3792" fmla="*/ 76293 h 5359493"/>
              <a:gd name="connsiteX6-3793" fmla="*/ 397640 w 10693106"/>
              <a:gd name="connsiteY6-3794" fmla="*/ 42427 h 5359493"/>
              <a:gd name="connsiteX7-3795" fmla="*/ 467297 w 10693106"/>
              <a:gd name="connsiteY7-3796" fmla="*/ 181357 h 5359493"/>
              <a:gd name="connsiteX8-3797" fmla="*/ 492697 w 10693106"/>
              <a:gd name="connsiteY8-3798" fmla="*/ 141718 h 5359493"/>
              <a:gd name="connsiteX9-3799" fmla="*/ 822897 w 10693106"/>
              <a:gd name="connsiteY9-3800" fmla="*/ 150184 h 5359493"/>
              <a:gd name="connsiteX10-3801" fmla="*/ 1091906 w 10693106"/>
              <a:gd name="connsiteY10-3802" fmla="*/ 67827 h 5359493"/>
              <a:gd name="connsiteX11-3803" fmla="*/ 1235840 w 10693106"/>
              <a:gd name="connsiteY11-3804" fmla="*/ 127093 h 5359493"/>
              <a:gd name="connsiteX12-3805" fmla="*/ 1337440 w 10693106"/>
              <a:gd name="connsiteY12-3806" fmla="*/ 203293 h 5359493"/>
              <a:gd name="connsiteX13-3807" fmla="*/ 1422106 w 10693106"/>
              <a:gd name="connsiteY13-3808" fmla="*/ 313360 h 5359493"/>
              <a:gd name="connsiteX14-3809" fmla="*/ 1481373 w 10693106"/>
              <a:gd name="connsiteY14-3810" fmla="*/ 381093 h 5359493"/>
              <a:gd name="connsiteX15-3811" fmla="*/ 1532173 w 10693106"/>
              <a:gd name="connsiteY15-3812" fmla="*/ 414960 h 5359493"/>
              <a:gd name="connsiteX16-3813" fmla="*/ 1684573 w 10693106"/>
              <a:gd name="connsiteY16-3814" fmla="*/ 474227 h 5359493"/>
              <a:gd name="connsiteX17-3815" fmla="*/ 1760773 w 10693106"/>
              <a:gd name="connsiteY17-3816" fmla="*/ 491160 h 5359493"/>
              <a:gd name="connsiteX18-3817" fmla="*/ 1997840 w 10693106"/>
              <a:gd name="connsiteY18-3818" fmla="*/ 482693 h 5359493"/>
              <a:gd name="connsiteX19-3819" fmla="*/ 2116373 w 10693106"/>
              <a:gd name="connsiteY19-3820" fmla="*/ 465760 h 5359493"/>
              <a:gd name="connsiteX20-3821" fmla="*/ 2260306 w 10693106"/>
              <a:gd name="connsiteY20-3822" fmla="*/ 448827 h 5359493"/>
              <a:gd name="connsiteX21-3823" fmla="*/ 2404240 w 10693106"/>
              <a:gd name="connsiteY21-3824" fmla="*/ 423427 h 5359493"/>
              <a:gd name="connsiteX22-3825" fmla="*/ 2455040 w 10693106"/>
              <a:gd name="connsiteY22-3826" fmla="*/ 398027 h 5359493"/>
              <a:gd name="connsiteX23-3827" fmla="*/ 2531240 w 10693106"/>
              <a:gd name="connsiteY23-3828" fmla="*/ 372627 h 5359493"/>
              <a:gd name="connsiteX24-3829" fmla="*/ 2683640 w 10693106"/>
              <a:gd name="connsiteY24-3830" fmla="*/ 245627 h 5359493"/>
              <a:gd name="connsiteX25-3831" fmla="*/ 2768306 w 10693106"/>
              <a:gd name="connsiteY25-3832" fmla="*/ 177893 h 5359493"/>
              <a:gd name="connsiteX26-3833" fmla="*/ 2836040 w 10693106"/>
              <a:gd name="connsiteY26-3834" fmla="*/ 118627 h 5359493"/>
              <a:gd name="connsiteX27-3835" fmla="*/ 2929173 w 10693106"/>
              <a:gd name="connsiteY27-3836" fmla="*/ 67827 h 5359493"/>
              <a:gd name="connsiteX28-3837" fmla="*/ 3002294 w 10693106"/>
              <a:gd name="connsiteY28-3838" fmla="*/ 222151 h 5359493"/>
              <a:gd name="connsiteX29-3839" fmla="*/ 3142763 w 10693106"/>
              <a:gd name="connsiteY29-3840" fmla="*/ 177892 h 5359493"/>
              <a:gd name="connsiteX30-3841" fmla="*/ 3459878 w 10693106"/>
              <a:gd name="connsiteY30-3842" fmla="*/ 38193 h 5359493"/>
              <a:gd name="connsiteX31-3843" fmla="*/ 3606506 w 10693106"/>
              <a:gd name="connsiteY31-3844" fmla="*/ 127864 h 5359493"/>
              <a:gd name="connsiteX32-3845" fmla="*/ 3708106 w 10693106"/>
              <a:gd name="connsiteY32-3846" fmla="*/ 93 h 5359493"/>
              <a:gd name="connsiteX33-3847" fmla="*/ 3741973 w 10693106"/>
              <a:gd name="connsiteY33-3848" fmla="*/ 154032 h 5359493"/>
              <a:gd name="connsiteX34-3849" fmla="*/ 3818173 w 10693106"/>
              <a:gd name="connsiteY34-3850" fmla="*/ 67827 h 5359493"/>
              <a:gd name="connsiteX35-3851" fmla="*/ 3852040 w 10693106"/>
              <a:gd name="connsiteY35-3852" fmla="*/ 93227 h 5359493"/>
              <a:gd name="connsiteX36-3853" fmla="*/ 3896297 w 10693106"/>
              <a:gd name="connsiteY36-3854" fmla="*/ 224460 h 5359493"/>
              <a:gd name="connsiteX37-3855" fmla="*/ 3945173 w 10693106"/>
              <a:gd name="connsiteY37-3856" fmla="*/ 152493 h 5359493"/>
              <a:gd name="connsiteX38-3857" fmla="*/ 3995973 w 10693106"/>
              <a:gd name="connsiteY38-3858" fmla="*/ 177893 h 5359493"/>
              <a:gd name="connsiteX39-3859" fmla="*/ 4021373 w 10693106"/>
              <a:gd name="connsiteY39-3860" fmla="*/ 211760 h 5359493"/>
              <a:gd name="connsiteX40-3861" fmla="*/ 4055240 w 10693106"/>
              <a:gd name="connsiteY40-3862" fmla="*/ 220227 h 5359493"/>
              <a:gd name="connsiteX41-3863" fmla="*/ 4275373 w 10693106"/>
              <a:gd name="connsiteY41-3864" fmla="*/ 262560 h 5359493"/>
              <a:gd name="connsiteX42-3865" fmla="*/ 4402373 w 10693106"/>
              <a:gd name="connsiteY42-3866" fmla="*/ 296427 h 5359493"/>
              <a:gd name="connsiteX43-3867" fmla="*/ 4529373 w 10693106"/>
              <a:gd name="connsiteY43-3868" fmla="*/ 338760 h 5359493"/>
              <a:gd name="connsiteX44-3869" fmla="*/ 4859573 w 10693106"/>
              <a:gd name="connsiteY44-3870" fmla="*/ 414960 h 5359493"/>
              <a:gd name="connsiteX45-3871" fmla="*/ 5045840 w 10693106"/>
              <a:gd name="connsiteY45-3872" fmla="*/ 491160 h 5359493"/>
              <a:gd name="connsiteX46-3873" fmla="*/ 5325240 w 10693106"/>
              <a:gd name="connsiteY46-3874" fmla="*/ 652027 h 5359493"/>
              <a:gd name="connsiteX47-3875" fmla="*/ 5494573 w 10693106"/>
              <a:gd name="connsiteY47-3876" fmla="*/ 804427 h 5359493"/>
              <a:gd name="connsiteX48-3877" fmla="*/ 5562306 w 10693106"/>
              <a:gd name="connsiteY48-3878" fmla="*/ 880627 h 5359493"/>
              <a:gd name="connsiteX49-3879" fmla="*/ 5621573 w 10693106"/>
              <a:gd name="connsiteY49-3880" fmla="*/ 931427 h 5359493"/>
              <a:gd name="connsiteX50-3881" fmla="*/ 5672373 w 10693106"/>
              <a:gd name="connsiteY50-3882" fmla="*/ 999160 h 5359493"/>
              <a:gd name="connsiteX51-3883" fmla="*/ 5757040 w 10693106"/>
              <a:gd name="connsiteY51-3884" fmla="*/ 1100760 h 5359493"/>
              <a:gd name="connsiteX52-3885" fmla="*/ 5833240 w 10693106"/>
              <a:gd name="connsiteY52-3886" fmla="*/ 1193893 h 5359493"/>
              <a:gd name="connsiteX53-3887" fmla="*/ 6019506 w 10693106"/>
              <a:gd name="connsiteY53-3888" fmla="*/ 1397093 h 5359493"/>
              <a:gd name="connsiteX54-3889" fmla="*/ 6087240 w 10693106"/>
              <a:gd name="connsiteY54-3890" fmla="*/ 1447893 h 5359493"/>
              <a:gd name="connsiteX55-3891" fmla="*/ 6171906 w 10693106"/>
              <a:gd name="connsiteY55-3892" fmla="*/ 1549493 h 5359493"/>
              <a:gd name="connsiteX56-3893" fmla="*/ 6451306 w 10693106"/>
              <a:gd name="connsiteY56-3894" fmla="*/ 1761160 h 5359493"/>
              <a:gd name="connsiteX57-3895" fmla="*/ 6519040 w 10693106"/>
              <a:gd name="connsiteY57-3896" fmla="*/ 1769627 h 5359493"/>
              <a:gd name="connsiteX58-3897" fmla="*/ 6603706 w 10693106"/>
              <a:gd name="connsiteY58-3898" fmla="*/ 1803493 h 5359493"/>
              <a:gd name="connsiteX59-3899" fmla="*/ 6671440 w 10693106"/>
              <a:gd name="connsiteY59-3900" fmla="*/ 1837360 h 5359493"/>
              <a:gd name="connsiteX60-3901" fmla="*/ 6866173 w 10693106"/>
              <a:gd name="connsiteY60-3902" fmla="*/ 1862760 h 5359493"/>
              <a:gd name="connsiteX61-3903" fmla="*/ 7196373 w 10693106"/>
              <a:gd name="connsiteY61-3904" fmla="*/ 1845827 h 5359493"/>
              <a:gd name="connsiteX62-3905" fmla="*/ 7509640 w 10693106"/>
              <a:gd name="connsiteY62-3906" fmla="*/ 1769627 h 5359493"/>
              <a:gd name="connsiteX63-3907" fmla="*/ 7628173 w 10693106"/>
              <a:gd name="connsiteY63-3908" fmla="*/ 1744227 h 5359493"/>
              <a:gd name="connsiteX64-3909" fmla="*/ 7704373 w 10693106"/>
              <a:gd name="connsiteY64-3910" fmla="*/ 1701893 h 5359493"/>
              <a:gd name="connsiteX65-3911" fmla="*/ 7755173 w 10693106"/>
              <a:gd name="connsiteY65-3912" fmla="*/ 1693427 h 5359493"/>
              <a:gd name="connsiteX66-3913" fmla="*/ 7797506 w 10693106"/>
              <a:gd name="connsiteY66-3914" fmla="*/ 1659560 h 5359493"/>
              <a:gd name="connsiteX67-3915" fmla="*/ 7856773 w 10693106"/>
              <a:gd name="connsiteY67-3916" fmla="*/ 1642627 h 5359493"/>
              <a:gd name="connsiteX68-3917" fmla="*/ 7958373 w 10693106"/>
              <a:gd name="connsiteY68-3918" fmla="*/ 1574893 h 5359493"/>
              <a:gd name="connsiteX69-3919" fmla="*/ 8009173 w 10693106"/>
              <a:gd name="connsiteY69-3920" fmla="*/ 1524093 h 5359493"/>
              <a:gd name="connsiteX70-3921" fmla="*/ 8339373 w 10693106"/>
              <a:gd name="connsiteY70-3922" fmla="*/ 1278560 h 5359493"/>
              <a:gd name="connsiteX71-3923" fmla="*/ 8576440 w 10693106"/>
              <a:gd name="connsiteY71-3924" fmla="*/ 1024560 h 5359493"/>
              <a:gd name="connsiteX72-3925" fmla="*/ 8652640 w 10693106"/>
              <a:gd name="connsiteY72-3926" fmla="*/ 745160 h 5359493"/>
              <a:gd name="connsiteX73-3927" fmla="*/ 8847373 w 10693106"/>
              <a:gd name="connsiteY73-3928" fmla="*/ 558893 h 5359493"/>
              <a:gd name="connsiteX74-3929" fmla="*/ 8982840 w 10693106"/>
              <a:gd name="connsiteY74-3930" fmla="*/ 465760 h 5359493"/>
              <a:gd name="connsiteX75-3931" fmla="*/ 9084440 w 10693106"/>
              <a:gd name="connsiteY75-3932" fmla="*/ 431893 h 5359493"/>
              <a:gd name="connsiteX76-3933" fmla="*/ 9152173 w 10693106"/>
              <a:gd name="connsiteY76-3934" fmla="*/ 406493 h 5359493"/>
              <a:gd name="connsiteX77-3935" fmla="*/ 9380773 w 10693106"/>
              <a:gd name="connsiteY77-3936" fmla="*/ 423427 h 5359493"/>
              <a:gd name="connsiteX78-3937" fmla="*/ 9744840 w 10693106"/>
              <a:gd name="connsiteY78-3938" fmla="*/ 533493 h 5359493"/>
              <a:gd name="connsiteX79-3939" fmla="*/ 9888773 w 10693106"/>
              <a:gd name="connsiteY79-3940" fmla="*/ 575827 h 5359493"/>
              <a:gd name="connsiteX80-3941" fmla="*/ 9998840 w 10693106"/>
              <a:gd name="connsiteY80-3942" fmla="*/ 626627 h 5359493"/>
              <a:gd name="connsiteX81-3943" fmla="*/ 10083506 w 10693106"/>
              <a:gd name="connsiteY81-3944" fmla="*/ 685893 h 5359493"/>
              <a:gd name="connsiteX82-3945" fmla="*/ 10286706 w 10693106"/>
              <a:gd name="connsiteY82-3946" fmla="*/ 753627 h 5359493"/>
              <a:gd name="connsiteX83-3947" fmla="*/ 10388306 w 10693106"/>
              <a:gd name="connsiteY83-3948" fmla="*/ 956827 h 5359493"/>
              <a:gd name="connsiteX84-3949" fmla="*/ 10540706 w 10693106"/>
              <a:gd name="connsiteY84-3950" fmla="*/ 1329360 h 5359493"/>
              <a:gd name="connsiteX85-3951" fmla="*/ 10557640 w 10693106"/>
              <a:gd name="connsiteY85-3952" fmla="*/ 1414027 h 5359493"/>
              <a:gd name="connsiteX86-3953" fmla="*/ 10583040 w 10693106"/>
              <a:gd name="connsiteY86-3954" fmla="*/ 1515627 h 5359493"/>
              <a:gd name="connsiteX87-3955" fmla="*/ 10616906 w 10693106"/>
              <a:gd name="connsiteY87-3956" fmla="*/ 1718827 h 5359493"/>
              <a:gd name="connsiteX88-3957" fmla="*/ 10633840 w 10693106"/>
              <a:gd name="connsiteY88-3958" fmla="*/ 1803493 h 5359493"/>
              <a:gd name="connsiteX89-3959" fmla="*/ 10650773 w 10693106"/>
              <a:gd name="connsiteY89-3960" fmla="*/ 1837360 h 5359493"/>
              <a:gd name="connsiteX90-3961" fmla="*/ 10676173 w 10693106"/>
              <a:gd name="connsiteY90-3962" fmla="*/ 1922027 h 5359493"/>
              <a:gd name="connsiteX91-3963" fmla="*/ 10693106 w 10693106"/>
              <a:gd name="connsiteY91-3964" fmla="*/ 2074427 h 5359493"/>
              <a:gd name="connsiteX92-3965" fmla="*/ 10625373 w 10693106"/>
              <a:gd name="connsiteY92-3966" fmla="*/ 2294560 h 5359493"/>
              <a:gd name="connsiteX93-3967" fmla="*/ 10608440 w 10693106"/>
              <a:gd name="connsiteY93-3968" fmla="*/ 2319960 h 5359493"/>
              <a:gd name="connsiteX94-3969" fmla="*/ 10540706 w 10693106"/>
              <a:gd name="connsiteY94-3970" fmla="*/ 2463893 h 5359493"/>
              <a:gd name="connsiteX95-3971" fmla="*/ 10498373 w 10693106"/>
              <a:gd name="connsiteY95-3972" fmla="*/ 2548560 h 5359493"/>
              <a:gd name="connsiteX96-3973" fmla="*/ 10439106 w 10693106"/>
              <a:gd name="connsiteY96-3974" fmla="*/ 2734827 h 5359493"/>
              <a:gd name="connsiteX97-3975" fmla="*/ 10430640 w 10693106"/>
              <a:gd name="connsiteY97-3976" fmla="*/ 2777160 h 5359493"/>
              <a:gd name="connsiteX98-3977" fmla="*/ 10405240 w 10693106"/>
              <a:gd name="connsiteY98-3978" fmla="*/ 2853360 h 5359493"/>
              <a:gd name="connsiteX99-3979" fmla="*/ 10396773 w 10693106"/>
              <a:gd name="connsiteY99-3980" fmla="*/ 2887227 h 5359493"/>
              <a:gd name="connsiteX100-3981" fmla="*/ 10362906 w 10693106"/>
              <a:gd name="connsiteY100-3982" fmla="*/ 2980360 h 5359493"/>
              <a:gd name="connsiteX101-3983" fmla="*/ 10329040 w 10693106"/>
              <a:gd name="connsiteY101-3984" fmla="*/ 3022693 h 5359493"/>
              <a:gd name="connsiteX102-3985" fmla="*/ 10227440 w 10693106"/>
              <a:gd name="connsiteY102-3986" fmla="*/ 3124293 h 5359493"/>
              <a:gd name="connsiteX103-3987" fmla="*/ 10168173 w 10693106"/>
              <a:gd name="connsiteY103-3988" fmla="*/ 3192027 h 5359493"/>
              <a:gd name="connsiteX104-3989" fmla="*/ 10117373 w 10693106"/>
              <a:gd name="connsiteY104-3990" fmla="*/ 3242827 h 5359493"/>
              <a:gd name="connsiteX105-3991" fmla="*/ 10032706 w 10693106"/>
              <a:gd name="connsiteY105-3992" fmla="*/ 3344427 h 5359493"/>
              <a:gd name="connsiteX106-3993" fmla="*/ 9948040 w 10693106"/>
              <a:gd name="connsiteY106-3994" fmla="*/ 3403693 h 5359493"/>
              <a:gd name="connsiteX107-3995" fmla="*/ 9905706 w 10693106"/>
              <a:gd name="connsiteY107-3996" fmla="*/ 3429093 h 5359493"/>
              <a:gd name="connsiteX108-3997" fmla="*/ 9829506 w 10693106"/>
              <a:gd name="connsiteY108-3998" fmla="*/ 3446027 h 5359493"/>
              <a:gd name="connsiteX109-3999" fmla="*/ 9727906 w 10693106"/>
              <a:gd name="connsiteY109-4000" fmla="*/ 3488360 h 5359493"/>
              <a:gd name="connsiteX110-4001" fmla="*/ 9634773 w 10693106"/>
              <a:gd name="connsiteY110-4002" fmla="*/ 3513760 h 5359493"/>
              <a:gd name="connsiteX111-4003" fmla="*/ 9456973 w 10693106"/>
              <a:gd name="connsiteY111-4004" fmla="*/ 3606893 h 5359493"/>
              <a:gd name="connsiteX112-4005" fmla="*/ 9313040 w 10693106"/>
              <a:gd name="connsiteY112-4006" fmla="*/ 3733893 h 5359493"/>
              <a:gd name="connsiteX113-4007" fmla="*/ 9279173 w 10693106"/>
              <a:gd name="connsiteY113-4008" fmla="*/ 3750827 h 5359493"/>
              <a:gd name="connsiteX114-4009" fmla="*/ 9067506 w 10693106"/>
              <a:gd name="connsiteY114-4010" fmla="*/ 3928627 h 5359493"/>
              <a:gd name="connsiteX115-4011" fmla="*/ 8999773 w 10693106"/>
              <a:gd name="connsiteY115-4012" fmla="*/ 3996360 h 5359493"/>
              <a:gd name="connsiteX116-4013" fmla="*/ 8813506 w 10693106"/>
              <a:gd name="connsiteY116-4014" fmla="*/ 4131827 h 5359493"/>
              <a:gd name="connsiteX117-4015" fmla="*/ 8728840 w 10693106"/>
              <a:gd name="connsiteY117-4016" fmla="*/ 4174160 h 5359493"/>
              <a:gd name="connsiteX118-4017" fmla="*/ 8373240 w 10693106"/>
              <a:gd name="connsiteY118-4018" fmla="*/ 4208027 h 5359493"/>
              <a:gd name="connsiteX119-4019" fmla="*/ 7966840 w 10693106"/>
              <a:gd name="connsiteY119-4020" fmla="*/ 4301160 h 5359493"/>
              <a:gd name="connsiteX120-4021" fmla="*/ 7687440 w 10693106"/>
              <a:gd name="connsiteY120-4022" fmla="*/ 4462027 h 5359493"/>
              <a:gd name="connsiteX121-4023" fmla="*/ 7551973 w 10693106"/>
              <a:gd name="connsiteY121-4024" fmla="*/ 4546693 h 5359493"/>
              <a:gd name="connsiteX122-4025" fmla="*/ 7374173 w 10693106"/>
              <a:gd name="connsiteY122-4026" fmla="*/ 4724493 h 5359493"/>
              <a:gd name="connsiteX123-4027" fmla="*/ 7374173 w 10693106"/>
              <a:gd name="connsiteY123-4028" fmla="*/ 4724493 h 5359493"/>
              <a:gd name="connsiteX124-4029" fmla="*/ 7221773 w 10693106"/>
              <a:gd name="connsiteY124-4030" fmla="*/ 4843027 h 5359493"/>
              <a:gd name="connsiteX125-4031" fmla="*/ 7027040 w 10693106"/>
              <a:gd name="connsiteY125-4032" fmla="*/ 4970027 h 5359493"/>
              <a:gd name="connsiteX126-4033" fmla="*/ 6883106 w 10693106"/>
              <a:gd name="connsiteY126-4034" fmla="*/ 5037760 h 5359493"/>
              <a:gd name="connsiteX127-4035" fmla="*/ 6815373 w 10693106"/>
              <a:gd name="connsiteY127-4036" fmla="*/ 5080093 h 5359493"/>
              <a:gd name="connsiteX128-4037" fmla="*/ 6646040 w 10693106"/>
              <a:gd name="connsiteY128-4038" fmla="*/ 5173227 h 5359493"/>
              <a:gd name="connsiteX129-4039" fmla="*/ 6527506 w 10693106"/>
              <a:gd name="connsiteY129-4040" fmla="*/ 5232493 h 5359493"/>
              <a:gd name="connsiteX130-4041" fmla="*/ 6298906 w 10693106"/>
              <a:gd name="connsiteY130-4042" fmla="*/ 5308693 h 5359493"/>
              <a:gd name="connsiteX131-4043" fmla="*/ 6197306 w 10693106"/>
              <a:gd name="connsiteY131-4044" fmla="*/ 5334093 h 5359493"/>
              <a:gd name="connsiteX132-4045" fmla="*/ 6061840 w 10693106"/>
              <a:gd name="connsiteY132-4046" fmla="*/ 5342560 h 5359493"/>
              <a:gd name="connsiteX133-4047" fmla="*/ 5917906 w 10693106"/>
              <a:gd name="connsiteY133-4048" fmla="*/ 5359493 h 5359493"/>
              <a:gd name="connsiteX134-4049" fmla="*/ 5748573 w 10693106"/>
              <a:gd name="connsiteY134-4050" fmla="*/ 5351027 h 5359493"/>
              <a:gd name="connsiteX135-4051" fmla="*/ 5282906 w 10693106"/>
              <a:gd name="connsiteY135-4052" fmla="*/ 5240960 h 5359493"/>
              <a:gd name="connsiteX136-4053" fmla="*/ 5138973 w 10693106"/>
              <a:gd name="connsiteY136-4054" fmla="*/ 5139360 h 5359493"/>
              <a:gd name="connsiteX137-4055" fmla="*/ 5020440 w 10693106"/>
              <a:gd name="connsiteY137-4056" fmla="*/ 4986960 h 5359493"/>
              <a:gd name="connsiteX138-4057" fmla="*/ 4952706 w 10693106"/>
              <a:gd name="connsiteY138-4058" fmla="*/ 4910760 h 5359493"/>
              <a:gd name="connsiteX139-4059" fmla="*/ 4884973 w 10693106"/>
              <a:gd name="connsiteY139-4060" fmla="*/ 4843027 h 5359493"/>
              <a:gd name="connsiteX140-4061" fmla="*/ 4732573 w 10693106"/>
              <a:gd name="connsiteY140-4062" fmla="*/ 4665227 h 5359493"/>
              <a:gd name="connsiteX141-4063" fmla="*/ 4673306 w 10693106"/>
              <a:gd name="connsiteY141-4064" fmla="*/ 4597493 h 5359493"/>
              <a:gd name="connsiteX142-4065" fmla="*/ 4487040 w 10693106"/>
              <a:gd name="connsiteY142-4066" fmla="*/ 4470493 h 5359493"/>
              <a:gd name="connsiteX143-4067" fmla="*/ 4427773 w 10693106"/>
              <a:gd name="connsiteY143-4068" fmla="*/ 4436627 h 5359493"/>
              <a:gd name="connsiteX144-4069" fmla="*/ 4343106 w 10693106"/>
              <a:gd name="connsiteY144-4070" fmla="*/ 4402760 h 5359493"/>
              <a:gd name="connsiteX145-4071" fmla="*/ 4224573 w 10693106"/>
              <a:gd name="connsiteY145-4072" fmla="*/ 4326560 h 5359493"/>
              <a:gd name="connsiteX146-4073" fmla="*/ 4156840 w 10693106"/>
              <a:gd name="connsiteY146-4074" fmla="*/ 4267293 h 5359493"/>
              <a:gd name="connsiteX147-4075" fmla="*/ 4021373 w 10693106"/>
              <a:gd name="connsiteY147-4076" fmla="*/ 4123360 h 5359493"/>
              <a:gd name="connsiteX148-4077" fmla="*/ 3919773 w 10693106"/>
              <a:gd name="connsiteY148-4078" fmla="*/ 3987893 h 5359493"/>
              <a:gd name="connsiteX149-4079" fmla="*/ 3877440 w 10693106"/>
              <a:gd name="connsiteY149-4080" fmla="*/ 3691560 h 5359493"/>
              <a:gd name="connsiteX150-4081" fmla="*/ 3852040 w 10693106"/>
              <a:gd name="connsiteY150-4082" fmla="*/ 3598427 h 5359493"/>
              <a:gd name="connsiteX151-4083" fmla="*/ 3801240 w 10693106"/>
              <a:gd name="connsiteY151-4084" fmla="*/ 3488360 h 5359493"/>
              <a:gd name="connsiteX152-4085" fmla="*/ 3733506 w 10693106"/>
              <a:gd name="connsiteY152-4086" fmla="*/ 3386760 h 5359493"/>
              <a:gd name="connsiteX153-4087" fmla="*/ 3242440 w 10693106"/>
              <a:gd name="connsiteY153-4088" fmla="*/ 3166627 h 5359493"/>
              <a:gd name="connsiteX154-4089" fmla="*/ 3123906 w 10693106"/>
              <a:gd name="connsiteY154-4090" fmla="*/ 3065027 h 5359493"/>
              <a:gd name="connsiteX155-4091" fmla="*/ 2988440 w 10693106"/>
              <a:gd name="connsiteY155-4092" fmla="*/ 2870293 h 5359493"/>
              <a:gd name="connsiteX156-4093" fmla="*/ 2971506 w 10693106"/>
              <a:gd name="connsiteY156-4094" fmla="*/ 2811027 h 5359493"/>
              <a:gd name="connsiteX157-4095" fmla="*/ 2996906 w 10693106"/>
              <a:gd name="connsiteY157-4096" fmla="*/ 2599360 h 5359493"/>
              <a:gd name="connsiteX158-4097" fmla="*/ 3013840 w 10693106"/>
              <a:gd name="connsiteY158-4098" fmla="*/ 2497760 h 5359493"/>
              <a:gd name="connsiteX159-4099" fmla="*/ 3005373 w 10693106"/>
              <a:gd name="connsiteY159-4100" fmla="*/ 2379227 h 5359493"/>
              <a:gd name="connsiteX160-4101" fmla="*/ 2988440 w 10693106"/>
              <a:gd name="connsiteY160-4102" fmla="*/ 2328427 h 5359493"/>
              <a:gd name="connsiteX161-4103" fmla="*/ 2802173 w 10693106"/>
              <a:gd name="connsiteY161-4104" fmla="*/ 2074427 h 5359493"/>
              <a:gd name="connsiteX162-4105" fmla="*/ 2641306 w 10693106"/>
              <a:gd name="connsiteY162-4106" fmla="*/ 1930493 h 5359493"/>
              <a:gd name="connsiteX163-4107" fmla="*/ 2590506 w 10693106"/>
              <a:gd name="connsiteY163-4108" fmla="*/ 1905093 h 5359493"/>
              <a:gd name="connsiteX164-4109" fmla="*/ 2531240 w 10693106"/>
              <a:gd name="connsiteY164-4110" fmla="*/ 1896627 h 5359493"/>
              <a:gd name="connsiteX165-4111" fmla="*/ 2446573 w 10693106"/>
              <a:gd name="connsiteY165-4112" fmla="*/ 1879693 h 5359493"/>
              <a:gd name="connsiteX166-4113" fmla="*/ 2251840 w 10693106"/>
              <a:gd name="connsiteY166-4114" fmla="*/ 1905093 h 5359493"/>
              <a:gd name="connsiteX167-4115" fmla="*/ 2167173 w 10693106"/>
              <a:gd name="connsiteY167-4116" fmla="*/ 1947427 h 5359493"/>
              <a:gd name="connsiteX168-4117" fmla="*/ 1980906 w 10693106"/>
              <a:gd name="connsiteY168-4118" fmla="*/ 2006693 h 5359493"/>
              <a:gd name="connsiteX169-4119" fmla="*/ 1904706 w 10693106"/>
              <a:gd name="connsiteY169-4120" fmla="*/ 2040560 h 5359493"/>
              <a:gd name="connsiteX170-4121" fmla="*/ 1828506 w 10693106"/>
              <a:gd name="connsiteY170-4122" fmla="*/ 2057493 h 5359493"/>
              <a:gd name="connsiteX171-4123" fmla="*/ 1726906 w 10693106"/>
              <a:gd name="connsiteY171-4124" fmla="*/ 2108293 h 5359493"/>
              <a:gd name="connsiteX172-4125" fmla="*/ 1659173 w 10693106"/>
              <a:gd name="connsiteY172-4126" fmla="*/ 2142160 h 5359493"/>
              <a:gd name="connsiteX173-4127" fmla="*/ 1498306 w 10693106"/>
              <a:gd name="connsiteY173-4128" fmla="*/ 2167560 h 5359493"/>
              <a:gd name="connsiteX174-4129" fmla="*/ 914106 w 10693106"/>
              <a:gd name="connsiteY174-4130" fmla="*/ 2099827 h 5359493"/>
              <a:gd name="connsiteX175-4131" fmla="*/ 617773 w 10693106"/>
              <a:gd name="connsiteY175-4132" fmla="*/ 1989760 h 5359493"/>
              <a:gd name="connsiteX176-4133" fmla="*/ 516173 w 10693106"/>
              <a:gd name="connsiteY176-4134" fmla="*/ 1905093 h 5359493"/>
              <a:gd name="connsiteX177-4135" fmla="*/ 355306 w 10693106"/>
              <a:gd name="connsiteY177-4136" fmla="*/ 1693427 h 5359493"/>
              <a:gd name="connsiteX178-4137" fmla="*/ 296040 w 10693106"/>
              <a:gd name="connsiteY178-4138" fmla="*/ 1591827 h 5359493"/>
              <a:gd name="connsiteX179-4139" fmla="*/ 253706 w 10693106"/>
              <a:gd name="connsiteY179-4140" fmla="*/ 1414027 h 5359493"/>
              <a:gd name="connsiteX180-4141" fmla="*/ 245240 w 10693106"/>
              <a:gd name="connsiteY180-4142" fmla="*/ 1287027 h 5359493"/>
              <a:gd name="connsiteX181-4143" fmla="*/ 236773 w 10693106"/>
              <a:gd name="connsiteY181-4144" fmla="*/ 1185427 h 5359493"/>
              <a:gd name="connsiteX182-4145" fmla="*/ 245240 w 10693106"/>
              <a:gd name="connsiteY182-4146" fmla="*/ 914493 h 5359493"/>
              <a:gd name="connsiteX183-4147" fmla="*/ 236773 w 10693106"/>
              <a:gd name="connsiteY183-4148" fmla="*/ 770560 h 5359493"/>
              <a:gd name="connsiteX184-4149" fmla="*/ 109773 w 10693106"/>
              <a:gd name="connsiteY184-4150" fmla="*/ 626627 h 5359493"/>
              <a:gd name="connsiteX185-4151" fmla="*/ 58973 w 10693106"/>
              <a:gd name="connsiteY185-4152" fmla="*/ 550427 h 5359493"/>
              <a:gd name="connsiteX186-4153" fmla="*/ 16640 w 10693106"/>
              <a:gd name="connsiteY186-4154" fmla="*/ 499627 h 5359493"/>
              <a:gd name="connsiteX187-4155" fmla="*/ 8173 w 10693106"/>
              <a:gd name="connsiteY187-4156" fmla="*/ 457293 h 5359493"/>
              <a:gd name="connsiteX188-4157" fmla="*/ 16640 w 10693106"/>
              <a:gd name="connsiteY188-4158" fmla="*/ 406493 h 5359493"/>
              <a:gd name="connsiteX0-4159" fmla="*/ 16640 w 10693106"/>
              <a:gd name="connsiteY0-4160" fmla="*/ 368354 h 5321354"/>
              <a:gd name="connsiteX1-4161" fmla="*/ 58973 w 10693106"/>
              <a:gd name="connsiteY1-4162" fmla="*/ 275221 h 5321354"/>
              <a:gd name="connsiteX2-4163" fmla="*/ 109773 w 10693106"/>
              <a:gd name="connsiteY2-4164" fmla="*/ 207488 h 5321354"/>
              <a:gd name="connsiteX3-4165" fmla="*/ 202906 w 10693106"/>
              <a:gd name="connsiteY3-4166" fmla="*/ 122821 h 5321354"/>
              <a:gd name="connsiteX4-4167" fmla="*/ 236773 w 10693106"/>
              <a:gd name="connsiteY4-4168" fmla="*/ 97421 h 5321354"/>
              <a:gd name="connsiteX5-4169" fmla="*/ 346840 w 10693106"/>
              <a:gd name="connsiteY5-4170" fmla="*/ 38154 h 5321354"/>
              <a:gd name="connsiteX6-4171" fmla="*/ 397640 w 10693106"/>
              <a:gd name="connsiteY6-4172" fmla="*/ 4288 h 5321354"/>
              <a:gd name="connsiteX7-4173" fmla="*/ 467297 w 10693106"/>
              <a:gd name="connsiteY7-4174" fmla="*/ 143218 h 5321354"/>
              <a:gd name="connsiteX8-4175" fmla="*/ 492697 w 10693106"/>
              <a:gd name="connsiteY8-4176" fmla="*/ 103579 h 5321354"/>
              <a:gd name="connsiteX9-4177" fmla="*/ 822897 w 10693106"/>
              <a:gd name="connsiteY9-4178" fmla="*/ 112045 h 5321354"/>
              <a:gd name="connsiteX10-4179" fmla="*/ 1091906 w 10693106"/>
              <a:gd name="connsiteY10-4180" fmla="*/ 29688 h 5321354"/>
              <a:gd name="connsiteX11-4181" fmla="*/ 1235840 w 10693106"/>
              <a:gd name="connsiteY11-4182" fmla="*/ 88954 h 5321354"/>
              <a:gd name="connsiteX12-4183" fmla="*/ 1337440 w 10693106"/>
              <a:gd name="connsiteY12-4184" fmla="*/ 165154 h 5321354"/>
              <a:gd name="connsiteX13-4185" fmla="*/ 1422106 w 10693106"/>
              <a:gd name="connsiteY13-4186" fmla="*/ 275221 h 5321354"/>
              <a:gd name="connsiteX14-4187" fmla="*/ 1481373 w 10693106"/>
              <a:gd name="connsiteY14-4188" fmla="*/ 342954 h 5321354"/>
              <a:gd name="connsiteX15-4189" fmla="*/ 1532173 w 10693106"/>
              <a:gd name="connsiteY15-4190" fmla="*/ 376821 h 5321354"/>
              <a:gd name="connsiteX16-4191" fmla="*/ 1684573 w 10693106"/>
              <a:gd name="connsiteY16-4192" fmla="*/ 436088 h 5321354"/>
              <a:gd name="connsiteX17-4193" fmla="*/ 1760773 w 10693106"/>
              <a:gd name="connsiteY17-4194" fmla="*/ 453021 h 5321354"/>
              <a:gd name="connsiteX18-4195" fmla="*/ 1997840 w 10693106"/>
              <a:gd name="connsiteY18-4196" fmla="*/ 444554 h 5321354"/>
              <a:gd name="connsiteX19-4197" fmla="*/ 2116373 w 10693106"/>
              <a:gd name="connsiteY19-4198" fmla="*/ 427621 h 5321354"/>
              <a:gd name="connsiteX20-4199" fmla="*/ 2260306 w 10693106"/>
              <a:gd name="connsiteY20-4200" fmla="*/ 410688 h 5321354"/>
              <a:gd name="connsiteX21-4201" fmla="*/ 2404240 w 10693106"/>
              <a:gd name="connsiteY21-4202" fmla="*/ 385288 h 5321354"/>
              <a:gd name="connsiteX22-4203" fmla="*/ 2455040 w 10693106"/>
              <a:gd name="connsiteY22-4204" fmla="*/ 359888 h 5321354"/>
              <a:gd name="connsiteX23-4205" fmla="*/ 2531240 w 10693106"/>
              <a:gd name="connsiteY23-4206" fmla="*/ 334488 h 5321354"/>
              <a:gd name="connsiteX24-4207" fmla="*/ 2683640 w 10693106"/>
              <a:gd name="connsiteY24-4208" fmla="*/ 207488 h 5321354"/>
              <a:gd name="connsiteX25-4209" fmla="*/ 2768306 w 10693106"/>
              <a:gd name="connsiteY25-4210" fmla="*/ 139754 h 5321354"/>
              <a:gd name="connsiteX26-4211" fmla="*/ 2836040 w 10693106"/>
              <a:gd name="connsiteY26-4212" fmla="*/ 80488 h 5321354"/>
              <a:gd name="connsiteX27-4213" fmla="*/ 2929173 w 10693106"/>
              <a:gd name="connsiteY27-4214" fmla="*/ 29688 h 5321354"/>
              <a:gd name="connsiteX28-4215" fmla="*/ 3002294 w 10693106"/>
              <a:gd name="connsiteY28-4216" fmla="*/ 184012 h 5321354"/>
              <a:gd name="connsiteX29-4217" fmla="*/ 3142763 w 10693106"/>
              <a:gd name="connsiteY29-4218" fmla="*/ 139753 h 5321354"/>
              <a:gd name="connsiteX30-4219" fmla="*/ 3459878 w 10693106"/>
              <a:gd name="connsiteY30-4220" fmla="*/ 54 h 5321354"/>
              <a:gd name="connsiteX31-4221" fmla="*/ 3606506 w 10693106"/>
              <a:gd name="connsiteY31-4222" fmla="*/ 89725 h 5321354"/>
              <a:gd name="connsiteX32-4223" fmla="*/ 3682706 w 10693106"/>
              <a:gd name="connsiteY32-4224" fmla="*/ 109274 h 5321354"/>
              <a:gd name="connsiteX33-4225" fmla="*/ 3741973 w 10693106"/>
              <a:gd name="connsiteY33-4226" fmla="*/ 115893 h 5321354"/>
              <a:gd name="connsiteX34-4227" fmla="*/ 3818173 w 10693106"/>
              <a:gd name="connsiteY34-4228" fmla="*/ 29688 h 5321354"/>
              <a:gd name="connsiteX35-4229" fmla="*/ 3852040 w 10693106"/>
              <a:gd name="connsiteY35-4230" fmla="*/ 55088 h 5321354"/>
              <a:gd name="connsiteX36-4231" fmla="*/ 3896297 w 10693106"/>
              <a:gd name="connsiteY36-4232" fmla="*/ 186321 h 5321354"/>
              <a:gd name="connsiteX37-4233" fmla="*/ 3945173 w 10693106"/>
              <a:gd name="connsiteY37-4234" fmla="*/ 114354 h 5321354"/>
              <a:gd name="connsiteX38-4235" fmla="*/ 3995973 w 10693106"/>
              <a:gd name="connsiteY38-4236" fmla="*/ 139754 h 5321354"/>
              <a:gd name="connsiteX39-4237" fmla="*/ 4021373 w 10693106"/>
              <a:gd name="connsiteY39-4238" fmla="*/ 173621 h 5321354"/>
              <a:gd name="connsiteX40-4239" fmla="*/ 4055240 w 10693106"/>
              <a:gd name="connsiteY40-4240" fmla="*/ 182088 h 5321354"/>
              <a:gd name="connsiteX41-4241" fmla="*/ 4275373 w 10693106"/>
              <a:gd name="connsiteY41-4242" fmla="*/ 224421 h 5321354"/>
              <a:gd name="connsiteX42-4243" fmla="*/ 4402373 w 10693106"/>
              <a:gd name="connsiteY42-4244" fmla="*/ 258288 h 5321354"/>
              <a:gd name="connsiteX43-4245" fmla="*/ 4529373 w 10693106"/>
              <a:gd name="connsiteY43-4246" fmla="*/ 300621 h 5321354"/>
              <a:gd name="connsiteX44-4247" fmla="*/ 4859573 w 10693106"/>
              <a:gd name="connsiteY44-4248" fmla="*/ 376821 h 5321354"/>
              <a:gd name="connsiteX45-4249" fmla="*/ 5045840 w 10693106"/>
              <a:gd name="connsiteY45-4250" fmla="*/ 453021 h 5321354"/>
              <a:gd name="connsiteX46-4251" fmla="*/ 5325240 w 10693106"/>
              <a:gd name="connsiteY46-4252" fmla="*/ 613888 h 5321354"/>
              <a:gd name="connsiteX47-4253" fmla="*/ 5494573 w 10693106"/>
              <a:gd name="connsiteY47-4254" fmla="*/ 766288 h 5321354"/>
              <a:gd name="connsiteX48-4255" fmla="*/ 5562306 w 10693106"/>
              <a:gd name="connsiteY48-4256" fmla="*/ 842488 h 5321354"/>
              <a:gd name="connsiteX49-4257" fmla="*/ 5621573 w 10693106"/>
              <a:gd name="connsiteY49-4258" fmla="*/ 893288 h 5321354"/>
              <a:gd name="connsiteX50-4259" fmla="*/ 5672373 w 10693106"/>
              <a:gd name="connsiteY50-4260" fmla="*/ 961021 h 5321354"/>
              <a:gd name="connsiteX51-4261" fmla="*/ 5757040 w 10693106"/>
              <a:gd name="connsiteY51-4262" fmla="*/ 1062621 h 5321354"/>
              <a:gd name="connsiteX52-4263" fmla="*/ 5833240 w 10693106"/>
              <a:gd name="connsiteY52-4264" fmla="*/ 1155754 h 5321354"/>
              <a:gd name="connsiteX53-4265" fmla="*/ 6019506 w 10693106"/>
              <a:gd name="connsiteY53-4266" fmla="*/ 1358954 h 5321354"/>
              <a:gd name="connsiteX54-4267" fmla="*/ 6087240 w 10693106"/>
              <a:gd name="connsiteY54-4268" fmla="*/ 1409754 h 5321354"/>
              <a:gd name="connsiteX55-4269" fmla="*/ 6171906 w 10693106"/>
              <a:gd name="connsiteY55-4270" fmla="*/ 1511354 h 5321354"/>
              <a:gd name="connsiteX56-4271" fmla="*/ 6451306 w 10693106"/>
              <a:gd name="connsiteY56-4272" fmla="*/ 1723021 h 5321354"/>
              <a:gd name="connsiteX57-4273" fmla="*/ 6519040 w 10693106"/>
              <a:gd name="connsiteY57-4274" fmla="*/ 1731488 h 5321354"/>
              <a:gd name="connsiteX58-4275" fmla="*/ 6603706 w 10693106"/>
              <a:gd name="connsiteY58-4276" fmla="*/ 1765354 h 5321354"/>
              <a:gd name="connsiteX59-4277" fmla="*/ 6671440 w 10693106"/>
              <a:gd name="connsiteY59-4278" fmla="*/ 1799221 h 5321354"/>
              <a:gd name="connsiteX60-4279" fmla="*/ 6866173 w 10693106"/>
              <a:gd name="connsiteY60-4280" fmla="*/ 1824621 h 5321354"/>
              <a:gd name="connsiteX61-4281" fmla="*/ 7196373 w 10693106"/>
              <a:gd name="connsiteY61-4282" fmla="*/ 1807688 h 5321354"/>
              <a:gd name="connsiteX62-4283" fmla="*/ 7509640 w 10693106"/>
              <a:gd name="connsiteY62-4284" fmla="*/ 1731488 h 5321354"/>
              <a:gd name="connsiteX63-4285" fmla="*/ 7628173 w 10693106"/>
              <a:gd name="connsiteY63-4286" fmla="*/ 1706088 h 5321354"/>
              <a:gd name="connsiteX64-4287" fmla="*/ 7704373 w 10693106"/>
              <a:gd name="connsiteY64-4288" fmla="*/ 1663754 h 5321354"/>
              <a:gd name="connsiteX65-4289" fmla="*/ 7755173 w 10693106"/>
              <a:gd name="connsiteY65-4290" fmla="*/ 1655288 h 5321354"/>
              <a:gd name="connsiteX66-4291" fmla="*/ 7797506 w 10693106"/>
              <a:gd name="connsiteY66-4292" fmla="*/ 1621421 h 5321354"/>
              <a:gd name="connsiteX67-4293" fmla="*/ 7856773 w 10693106"/>
              <a:gd name="connsiteY67-4294" fmla="*/ 1604488 h 5321354"/>
              <a:gd name="connsiteX68-4295" fmla="*/ 7958373 w 10693106"/>
              <a:gd name="connsiteY68-4296" fmla="*/ 1536754 h 5321354"/>
              <a:gd name="connsiteX69-4297" fmla="*/ 8009173 w 10693106"/>
              <a:gd name="connsiteY69-4298" fmla="*/ 1485954 h 5321354"/>
              <a:gd name="connsiteX70-4299" fmla="*/ 8339373 w 10693106"/>
              <a:gd name="connsiteY70-4300" fmla="*/ 1240421 h 5321354"/>
              <a:gd name="connsiteX71-4301" fmla="*/ 8576440 w 10693106"/>
              <a:gd name="connsiteY71-4302" fmla="*/ 986421 h 5321354"/>
              <a:gd name="connsiteX72-4303" fmla="*/ 8652640 w 10693106"/>
              <a:gd name="connsiteY72-4304" fmla="*/ 707021 h 5321354"/>
              <a:gd name="connsiteX73-4305" fmla="*/ 8847373 w 10693106"/>
              <a:gd name="connsiteY73-4306" fmla="*/ 520754 h 5321354"/>
              <a:gd name="connsiteX74-4307" fmla="*/ 8982840 w 10693106"/>
              <a:gd name="connsiteY74-4308" fmla="*/ 427621 h 5321354"/>
              <a:gd name="connsiteX75-4309" fmla="*/ 9084440 w 10693106"/>
              <a:gd name="connsiteY75-4310" fmla="*/ 393754 h 5321354"/>
              <a:gd name="connsiteX76-4311" fmla="*/ 9152173 w 10693106"/>
              <a:gd name="connsiteY76-4312" fmla="*/ 368354 h 5321354"/>
              <a:gd name="connsiteX77-4313" fmla="*/ 9380773 w 10693106"/>
              <a:gd name="connsiteY77-4314" fmla="*/ 385288 h 5321354"/>
              <a:gd name="connsiteX78-4315" fmla="*/ 9744840 w 10693106"/>
              <a:gd name="connsiteY78-4316" fmla="*/ 495354 h 5321354"/>
              <a:gd name="connsiteX79-4317" fmla="*/ 9888773 w 10693106"/>
              <a:gd name="connsiteY79-4318" fmla="*/ 537688 h 5321354"/>
              <a:gd name="connsiteX80-4319" fmla="*/ 9998840 w 10693106"/>
              <a:gd name="connsiteY80-4320" fmla="*/ 588488 h 5321354"/>
              <a:gd name="connsiteX81-4321" fmla="*/ 10083506 w 10693106"/>
              <a:gd name="connsiteY81-4322" fmla="*/ 647754 h 5321354"/>
              <a:gd name="connsiteX82-4323" fmla="*/ 10286706 w 10693106"/>
              <a:gd name="connsiteY82-4324" fmla="*/ 715488 h 5321354"/>
              <a:gd name="connsiteX83-4325" fmla="*/ 10388306 w 10693106"/>
              <a:gd name="connsiteY83-4326" fmla="*/ 918688 h 5321354"/>
              <a:gd name="connsiteX84-4327" fmla="*/ 10540706 w 10693106"/>
              <a:gd name="connsiteY84-4328" fmla="*/ 1291221 h 5321354"/>
              <a:gd name="connsiteX85-4329" fmla="*/ 10557640 w 10693106"/>
              <a:gd name="connsiteY85-4330" fmla="*/ 1375888 h 5321354"/>
              <a:gd name="connsiteX86-4331" fmla="*/ 10583040 w 10693106"/>
              <a:gd name="connsiteY86-4332" fmla="*/ 1477488 h 5321354"/>
              <a:gd name="connsiteX87-4333" fmla="*/ 10616906 w 10693106"/>
              <a:gd name="connsiteY87-4334" fmla="*/ 1680688 h 5321354"/>
              <a:gd name="connsiteX88-4335" fmla="*/ 10633840 w 10693106"/>
              <a:gd name="connsiteY88-4336" fmla="*/ 1765354 h 5321354"/>
              <a:gd name="connsiteX89-4337" fmla="*/ 10650773 w 10693106"/>
              <a:gd name="connsiteY89-4338" fmla="*/ 1799221 h 5321354"/>
              <a:gd name="connsiteX90-4339" fmla="*/ 10676173 w 10693106"/>
              <a:gd name="connsiteY90-4340" fmla="*/ 1883888 h 5321354"/>
              <a:gd name="connsiteX91-4341" fmla="*/ 10693106 w 10693106"/>
              <a:gd name="connsiteY91-4342" fmla="*/ 2036288 h 5321354"/>
              <a:gd name="connsiteX92-4343" fmla="*/ 10625373 w 10693106"/>
              <a:gd name="connsiteY92-4344" fmla="*/ 2256421 h 5321354"/>
              <a:gd name="connsiteX93-4345" fmla="*/ 10608440 w 10693106"/>
              <a:gd name="connsiteY93-4346" fmla="*/ 2281821 h 5321354"/>
              <a:gd name="connsiteX94-4347" fmla="*/ 10540706 w 10693106"/>
              <a:gd name="connsiteY94-4348" fmla="*/ 2425754 h 5321354"/>
              <a:gd name="connsiteX95-4349" fmla="*/ 10498373 w 10693106"/>
              <a:gd name="connsiteY95-4350" fmla="*/ 2510421 h 5321354"/>
              <a:gd name="connsiteX96-4351" fmla="*/ 10439106 w 10693106"/>
              <a:gd name="connsiteY96-4352" fmla="*/ 2696688 h 5321354"/>
              <a:gd name="connsiteX97-4353" fmla="*/ 10430640 w 10693106"/>
              <a:gd name="connsiteY97-4354" fmla="*/ 2739021 h 5321354"/>
              <a:gd name="connsiteX98-4355" fmla="*/ 10405240 w 10693106"/>
              <a:gd name="connsiteY98-4356" fmla="*/ 2815221 h 5321354"/>
              <a:gd name="connsiteX99-4357" fmla="*/ 10396773 w 10693106"/>
              <a:gd name="connsiteY99-4358" fmla="*/ 2849088 h 5321354"/>
              <a:gd name="connsiteX100-4359" fmla="*/ 10362906 w 10693106"/>
              <a:gd name="connsiteY100-4360" fmla="*/ 2942221 h 5321354"/>
              <a:gd name="connsiteX101-4361" fmla="*/ 10329040 w 10693106"/>
              <a:gd name="connsiteY101-4362" fmla="*/ 2984554 h 5321354"/>
              <a:gd name="connsiteX102-4363" fmla="*/ 10227440 w 10693106"/>
              <a:gd name="connsiteY102-4364" fmla="*/ 3086154 h 5321354"/>
              <a:gd name="connsiteX103-4365" fmla="*/ 10168173 w 10693106"/>
              <a:gd name="connsiteY103-4366" fmla="*/ 3153888 h 5321354"/>
              <a:gd name="connsiteX104-4367" fmla="*/ 10117373 w 10693106"/>
              <a:gd name="connsiteY104-4368" fmla="*/ 3204688 h 5321354"/>
              <a:gd name="connsiteX105-4369" fmla="*/ 10032706 w 10693106"/>
              <a:gd name="connsiteY105-4370" fmla="*/ 3306288 h 5321354"/>
              <a:gd name="connsiteX106-4371" fmla="*/ 9948040 w 10693106"/>
              <a:gd name="connsiteY106-4372" fmla="*/ 3365554 h 5321354"/>
              <a:gd name="connsiteX107-4373" fmla="*/ 9905706 w 10693106"/>
              <a:gd name="connsiteY107-4374" fmla="*/ 3390954 h 5321354"/>
              <a:gd name="connsiteX108-4375" fmla="*/ 9829506 w 10693106"/>
              <a:gd name="connsiteY108-4376" fmla="*/ 3407888 h 5321354"/>
              <a:gd name="connsiteX109-4377" fmla="*/ 9727906 w 10693106"/>
              <a:gd name="connsiteY109-4378" fmla="*/ 3450221 h 5321354"/>
              <a:gd name="connsiteX110-4379" fmla="*/ 9634773 w 10693106"/>
              <a:gd name="connsiteY110-4380" fmla="*/ 3475621 h 5321354"/>
              <a:gd name="connsiteX111-4381" fmla="*/ 9456973 w 10693106"/>
              <a:gd name="connsiteY111-4382" fmla="*/ 3568754 h 5321354"/>
              <a:gd name="connsiteX112-4383" fmla="*/ 9313040 w 10693106"/>
              <a:gd name="connsiteY112-4384" fmla="*/ 3695754 h 5321354"/>
              <a:gd name="connsiteX113-4385" fmla="*/ 9279173 w 10693106"/>
              <a:gd name="connsiteY113-4386" fmla="*/ 3712688 h 5321354"/>
              <a:gd name="connsiteX114-4387" fmla="*/ 9067506 w 10693106"/>
              <a:gd name="connsiteY114-4388" fmla="*/ 3890488 h 5321354"/>
              <a:gd name="connsiteX115-4389" fmla="*/ 8999773 w 10693106"/>
              <a:gd name="connsiteY115-4390" fmla="*/ 3958221 h 5321354"/>
              <a:gd name="connsiteX116-4391" fmla="*/ 8813506 w 10693106"/>
              <a:gd name="connsiteY116-4392" fmla="*/ 4093688 h 5321354"/>
              <a:gd name="connsiteX117-4393" fmla="*/ 8728840 w 10693106"/>
              <a:gd name="connsiteY117-4394" fmla="*/ 4136021 h 5321354"/>
              <a:gd name="connsiteX118-4395" fmla="*/ 8373240 w 10693106"/>
              <a:gd name="connsiteY118-4396" fmla="*/ 4169888 h 5321354"/>
              <a:gd name="connsiteX119-4397" fmla="*/ 7966840 w 10693106"/>
              <a:gd name="connsiteY119-4398" fmla="*/ 4263021 h 5321354"/>
              <a:gd name="connsiteX120-4399" fmla="*/ 7687440 w 10693106"/>
              <a:gd name="connsiteY120-4400" fmla="*/ 4423888 h 5321354"/>
              <a:gd name="connsiteX121-4401" fmla="*/ 7551973 w 10693106"/>
              <a:gd name="connsiteY121-4402" fmla="*/ 4508554 h 5321354"/>
              <a:gd name="connsiteX122-4403" fmla="*/ 7374173 w 10693106"/>
              <a:gd name="connsiteY122-4404" fmla="*/ 4686354 h 5321354"/>
              <a:gd name="connsiteX123-4405" fmla="*/ 7374173 w 10693106"/>
              <a:gd name="connsiteY123-4406" fmla="*/ 4686354 h 5321354"/>
              <a:gd name="connsiteX124-4407" fmla="*/ 7221773 w 10693106"/>
              <a:gd name="connsiteY124-4408" fmla="*/ 4804888 h 5321354"/>
              <a:gd name="connsiteX125-4409" fmla="*/ 7027040 w 10693106"/>
              <a:gd name="connsiteY125-4410" fmla="*/ 4931888 h 5321354"/>
              <a:gd name="connsiteX126-4411" fmla="*/ 6883106 w 10693106"/>
              <a:gd name="connsiteY126-4412" fmla="*/ 4999621 h 5321354"/>
              <a:gd name="connsiteX127-4413" fmla="*/ 6815373 w 10693106"/>
              <a:gd name="connsiteY127-4414" fmla="*/ 5041954 h 5321354"/>
              <a:gd name="connsiteX128-4415" fmla="*/ 6646040 w 10693106"/>
              <a:gd name="connsiteY128-4416" fmla="*/ 5135088 h 5321354"/>
              <a:gd name="connsiteX129-4417" fmla="*/ 6527506 w 10693106"/>
              <a:gd name="connsiteY129-4418" fmla="*/ 5194354 h 5321354"/>
              <a:gd name="connsiteX130-4419" fmla="*/ 6298906 w 10693106"/>
              <a:gd name="connsiteY130-4420" fmla="*/ 5270554 h 5321354"/>
              <a:gd name="connsiteX131-4421" fmla="*/ 6197306 w 10693106"/>
              <a:gd name="connsiteY131-4422" fmla="*/ 5295954 h 5321354"/>
              <a:gd name="connsiteX132-4423" fmla="*/ 6061840 w 10693106"/>
              <a:gd name="connsiteY132-4424" fmla="*/ 5304421 h 5321354"/>
              <a:gd name="connsiteX133-4425" fmla="*/ 5917906 w 10693106"/>
              <a:gd name="connsiteY133-4426" fmla="*/ 5321354 h 5321354"/>
              <a:gd name="connsiteX134-4427" fmla="*/ 5748573 w 10693106"/>
              <a:gd name="connsiteY134-4428" fmla="*/ 5312888 h 5321354"/>
              <a:gd name="connsiteX135-4429" fmla="*/ 5282906 w 10693106"/>
              <a:gd name="connsiteY135-4430" fmla="*/ 5202821 h 5321354"/>
              <a:gd name="connsiteX136-4431" fmla="*/ 5138973 w 10693106"/>
              <a:gd name="connsiteY136-4432" fmla="*/ 5101221 h 5321354"/>
              <a:gd name="connsiteX137-4433" fmla="*/ 5020440 w 10693106"/>
              <a:gd name="connsiteY137-4434" fmla="*/ 4948821 h 5321354"/>
              <a:gd name="connsiteX138-4435" fmla="*/ 4952706 w 10693106"/>
              <a:gd name="connsiteY138-4436" fmla="*/ 4872621 h 5321354"/>
              <a:gd name="connsiteX139-4437" fmla="*/ 4884973 w 10693106"/>
              <a:gd name="connsiteY139-4438" fmla="*/ 4804888 h 5321354"/>
              <a:gd name="connsiteX140-4439" fmla="*/ 4732573 w 10693106"/>
              <a:gd name="connsiteY140-4440" fmla="*/ 4627088 h 5321354"/>
              <a:gd name="connsiteX141-4441" fmla="*/ 4673306 w 10693106"/>
              <a:gd name="connsiteY141-4442" fmla="*/ 4559354 h 5321354"/>
              <a:gd name="connsiteX142-4443" fmla="*/ 4487040 w 10693106"/>
              <a:gd name="connsiteY142-4444" fmla="*/ 4432354 h 5321354"/>
              <a:gd name="connsiteX143-4445" fmla="*/ 4427773 w 10693106"/>
              <a:gd name="connsiteY143-4446" fmla="*/ 4398488 h 5321354"/>
              <a:gd name="connsiteX144-4447" fmla="*/ 4343106 w 10693106"/>
              <a:gd name="connsiteY144-4448" fmla="*/ 4364621 h 5321354"/>
              <a:gd name="connsiteX145-4449" fmla="*/ 4224573 w 10693106"/>
              <a:gd name="connsiteY145-4450" fmla="*/ 4288421 h 5321354"/>
              <a:gd name="connsiteX146-4451" fmla="*/ 4156840 w 10693106"/>
              <a:gd name="connsiteY146-4452" fmla="*/ 4229154 h 5321354"/>
              <a:gd name="connsiteX147-4453" fmla="*/ 4021373 w 10693106"/>
              <a:gd name="connsiteY147-4454" fmla="*/ 4085221 h 5321354"/>
              <a:gd name="connsiteX148-4455" fmla="*/ 3919773 w 10693106"/>
              <a:gd name="connsiteY148-4456" fmla="*/ 3949754 h 5321354"/>
              <a:gd name="connsiteX149-4457" fmla="*/ 3877440 w 10693106"/>
              <a:gd name="connsiteY149-4458" fmla="*/ 3653421 h 5321354"/>
              <a:gd name="connsiteX150-4459" fmla="*/ 3852040 w 10693106"/>
              <a:gd name="connsiteY150-4460" fmla="*/ 3560288 h 5321354"/>
              <a:gd name="connsiteX151-4461" fmla="*/ 3801240 w 10693106"/>
              <a:gd name="connsiteY151-4462" fmla="*/ 3450221 h 5321354"/>
              <a:gd name="connsiteX152-4463" fmla="*/ 3733506 w 10693106"/>
              <a:gd name="connsiteY152-4464" fmla="*/ 3348621 h 5321354"/>
              <a:gd name="connsiteX153-4465" fmla="*/ 3242440 w 10693106"/>
              <a:gd name="connsiteY153-4466" fmla="*/ 3128488 h 5321354"/>
              <a:gd name="connsiteX154-4467" fmla="*/ 3123906 w 10693106"/>
              <a:gd name="connsiteY154-4468" fmla="*/ 3026888 h 5321354"/>
              <a:gd name="connsiteX155-4469" fmla="*/ 2988440 w 10693106"/>
              <a:gd name="connsiteY155-4470" fmla="*/ 2832154 h 5321354"/>
              <a:gd name="connsiteX156-4471" fmla="*/ 2971506 w 10693106"/>
              <a:gd name="connsiteY156-4472" fmla="*/ 2772888 h 5321354"/>
              <a:gd name="connsiteX157-4473" fmla="*/ 2996906 w 10693106"/>
              <a:gd name="connsiteY157-4474" fmla="*/ 2561221 h 5321354"/>
              <a:gd name="connsiteX158-4475" fmla="*/ 3013840 w 10693106"/>
              <a:gd name="connsiteY158-4476" fmla="*/ 2459621 h 5321354"/>
              <a:gd name="connsiteX159-4477" fmla="*/ 3005373 w 10693106"/>
              <a:gd name="connsiteY159-4478" fmla="*/ 2341088 h 5321354"/>
              <a:gd name="connsiteX160-4479" fmla="*/ 2988440 w 10693106"/>
              <a:gd name="connsiteY160-4480" fmla="*/ 2290288 h 5321354"/>
              <a:gd name="connsiteX161-4481" fmla="*/ 2802173 w 10693106"/>
              <a:gd name="connsiteY161-4482" fmla="*/ 2036288 h 5321354"/>
              <a:gd name="connsiteX162-4483" fmla="*/ 2641306 w 10693106"/>
              <a:gd name="connsiteY162-4484" fmla="*/ 1892354 h 5321354"/>
              <a:gd name="connsiteX163-4485" fmla="*/ 2590506 w 10693106"/>
              <a:gd name="connsiteY163-4486" fmla="*/ 1866954 h 5321354"/>
              <a:gd name="connsiteX164-4487" fmla="*/ 2531240 w 10693106"/>
              <a:gd name="connsiteY164-4488" fmla="*/ 1858488 h 5321354"/>
              <a:gd name="connsiteX165-4489" fmla="*/ 2446573 w 10693106"/>
              <a:gd name="connsiteY165-4490" fmla="*/ 1841554 h 5321354"/>
              <a:gd name="connsiteX166-4491" fmla="*/ 2251840 w 10693106"/>
              <a:gd name="connsiteY166-4492" fmla="*/ 1866954 h 5321354"/>
              <a:gd name="connsiteX167-4493" fmla="*/ 2167173 w 10693106"/>
              <a:gd name="connsiteY167-4494" fmla="*/ 1909288 h 5321354"/>
              <a:gd name="connsiteX168-4495" fmla="*/ 1980906 w 10693106"/>
              <a:gd name="connsiteY168-4496" fmla="*/ 1968554 h 5321354"/>
              <a:gd name="connsiteX169-4497" fmla="*/ 1904706 w 10693106"/>
              <a:gd name="connsiteY169-4498" fmla="*/ 2002421 h 5321354"/>
              <a:gd name="connsiteX170-4499" fmla="*/ 1828506 w 10693106"/>
              <a:gd name="connsiteY170-4500" fmla="*/ 2019354 h 5321354"/>
              <a:gd name="connsiteX171-4501" fmla="*/ 1726906 w 10693106"/>
              <a:gd name="connsiteY171-4502" fmla="*/ 2070154 h 5321354"/>
              <a:gd name="connsiteX172-4503" fmla="*/ 1659173 w 10693106"/>
              <a:gd name="connsiteY172-4504" fmla="*/ 2104021 h 5321354"/>
              <a:gd name="connsiteX173-4505" fmla="*/ 1498306 w 10693106"/>
              <a:gd name="connsiteY173-4506" fmla="*/ 2129421 h 5321354"/>
              <a:gd name="connsiteX174-4507" fmla="*/ 914106 w 10693106"/>
              <a:gd name="connsiteY174-4508" fmla="*/ 2061688 h 5321354"/>
              <a:gd name="connsiteX175-4509" fmla="*/ 617773 w 10693106"/>
              <a:gd name="connsiteY175-4510" fmla="*/ 1951621 h 5321354"/>
              <a:gd name="connsiteX176-4511" fmla="*/ 516173 w 10693106"/>
              <a:gd name="connsiteY176-4512" fmla="*/ 1866954 h 5321354"/>
              <a:gd name="connsiteX177-4513" fmla="*/ 355306 w 10693106"/>
              <a:gd name="connsiteY177-4514" fmla="*/ 1655288 h 5321354"/>
              <a:gd name="connsiteX178-4515" fmla="*/ 296040 w 10693106"/>
              <a:gd name="connsiteY178-4516" fmla="*/ 1553688 h 5321354"/>
              <a:gd name="connsiteX179-4517" fmla="*/ 253706 w 10693106"/>
              <a:gd name="connsiteY179-4518" fmla="*/ 1375888 h 5321354"/>
              <a:gd name="connsiteX180-4519" fmla="*/ 245240 w 10693106"/>
              <a:gd name="connsiteY180-4520" fmla="*/ 1248888 h 5321354"/>
              <a:gd name="connsiteX181-4521" fmla="*/ 236773 w 10693106"/>
              <a:gd name="connsiteY181-4522" fmla="*/ 1147288 h 5321354"/>
              <a:gd name="connsiteX182-4523" fmla="*/ 245240 w 10693106"/>
              <a:gd name="connsiteY182-4524" fmla="*/ 876354 h 5321354"/>
              <a:gd name="connsiteX183-4525" fmla="*/ 236773 w 10693106"/>
              <a:gd name="connsiteY183-4526" fmla="*/ 732421 h 5321354"/>
              <a:gd name="connsiteX184-4527" fmla="*/ 109773 w 10693106"/>
              <a:gd name="connsiteY184-4528" fmla="*/ 588488 h 5321354"/>
              <a:gd name="connsiteX185-4529" fmla="*/ 58973 w 10693106"/>
              <a:gd name="connsiteY185-4530" fmla="*/ 512288 h 5321354"/>
              <a:gd name="connsiteX186-4531" fmla="*/ 16640 w 10693106"/>
              <a:gd name="connsiteY186-4532" fmla="*/ 461488 h 5321354"/>
              <a:gd name="connsiteX187-4533" fmla="*/ 8173 w 10693106"/>
              <a:gd name="connsiteY187-4534" fmla="*/ 419154 h 5321354"/>
              <a:gd name="connsiteX188-4535" fmla="*/ 16640 w 10693106"/>
              <a:gd name="connsiteY188-4536" fmla="*/ 368354 h 5321354"/>
              <a:gd name="connsiteX0-4537" fmla="*/ 16640 w 10693106"/>
              <a:gd name="connsiteY0-4538" fmla="*/ 368354 h 5321354"/>
              <a:gd name="connsiteX1-4539" fmla="*/ 58973 w 10693106"/>
              <a:gd name="connsiteY1-4540" fmla="*/ 275221 h 5321354"/>
              <a:gd name="connsiteX2-4541" fmla="*/ 109773 w 10693106"/>
              <a:gd name="connsiteY2-4542" fmla="*/ 207488 h 5321354"/>
              <a:gd name="connsiteX3-4543" fmla="*/ 202906 w 10693106"/>
              <a:gd name="connsiteY3-4544" fmla="*/ 122821 h 5321354"/>
              <a:gd name="connsiteX4-4545" fmla="*/ 236773 w 10693106"/>
              <a:gd name="connsiteY4-4546" fmla="*/ 97421 h 5321354"/>
              <a:gd name="connsiteX5-4547" fmla="*/ 346840 w 10693106"/>
              <a:gd name="connsiteY5-4548" fmla="*/ 38154 h 5321354"/>
              <a:gd name="connsiteX6-4549" fmla="*/ 397640 w 10693106"/>
              <a:gd name="connsiteY6-4550" fmla="*/ 4288 h 5321354"/>
              <a:gd name="connsiteX7-4551" fmla="*/ 467297 w 10693106"/>
              <a:gd name="connsiteY7-4552" fmla="*/ 143218 h 5321354"/>
              <a:gd name="connsiteX8-4553" fmla="*/ 492697 w 10693106"/>
              <a:gd name="connsiteY8-4554" fmla="*/ 103579 h 5321354"/>
              <a:gd name="connsiteX9-4555" fmla="*/ 822897 w 10693106"/>
              <a:gd name="connsiteY9-4556" fmla="*/ 112045 h 5321354"/>
              <a:gd name="connsiteX10-4557" fmla="*/ 1091906 w 10693106"/>
              <a:gd name="connsiteY10-4558" fmla="*/ 29688 h 5321354"/>
              <a:gd name="connsiteX11-4559" fmla="*/ 1235840 w 10693106"/>
              <a:gd name="connsiteY11-4560" fmla="*/ 88954 h 5321354"/>
              <a:gd name="connsiteX12-4561" fmla="*/ 1337440 w 10693106"/>
              <a:gd name="connsiteY12-4562" fmla="*/ 165154 h 5321354"/>
              <a:gd name="connsiteX13-4563" fmla="*/ 1422106 w 10693106"/>
              <a:gd name="connsiteY13-4564" fmla="*/ 275221 h 5321354"/>
              <a:gd name="connsiteX14-4565" fmla="*/ 1481373 w 10693106"/>
              <a:gd name="connsiteY14-4566" fmla="*/ 342954 h 5321354"/>
              <a:gd name="connsiteX15-4567" fmla="*/ 1532173 w 10693106"/>
              <a:gd name="connsiteY15-4568" fmla="*/ 376821 h 5321354"/>
              <a:gd name="connsiteX16-4569" fmla="*/ 1684573 w 10693106"/>
              <a:gd name="connsiteY16-4570" fmla="*/ 436088 h 5321354"/>
              <a:gd name="connsiteX17-4571" fmla="*/ 1760773 w 10693106"/>
              <a:gd name="connsiteY17-4572" fmla="*/ 453021 h 5321354"/>
              <a:gd name="connsiteX18-4573" fmla="*/ 1997840 w 10693106"/>
              <a:gd name="connsiteY18-4574" fmla="*/ 444554 h 5321354"/>
              <a:gd name="connsiteX19-4575" fmla="*/ 2116373 w 10693106"/>
              <a:gd name="connsiteY19-4576" fmla="*/ 427621 h 5321354"/>
              <a:gd name="connsiteX20-4577" fmla="*/ 2260306 w 10693106"/>
              <a:gd name="connsiteY20-4578" fmla="*/ 410688 h 5321354"/>
              <a:gd name="connsiteX21-4579" fmla="*/ 2404240 w 10693106"/>
              <a:gd name="connsiteY21-4580" fmla="*/ 385288 h 5321354"/>
              <a:gd name="connsiteX22-4581" fmla="*/ 2455040 w 10693106"/>
              <a:gd name="connsiteY22-4582" fmla="*/ 359888 h 5321354"/>
              <a:gd name="connsiteX23-4583" fmla="*/ 2531240 w 10693106"/>
              <a:gd name="connsiteY23-4584" fmla="*/ 334488 h 5321354"/>
              <a:gd name="connsiteX24-4585" fmla="*/ 2683640 w 10693106"/>
              <a:gd name="connsiteY24-4586" fmla="*/ 207488 h 5321354"/>
              <a:gd name="connsiteX25-4587" fmla="*/ 2768306 w 10693106"/>
              <a:gd name="connsiteY25-4588" fmla="*/ 139754 h 5321354"/>
              <a:gd name="connsiteX26-4589" fmla="*/ 2836040 w 10693106"/>
              <a:gd name="connsiteY26-4590" fmla="*/ 80488 h 5321354"/>
              <a:gd name="connsiteX27-4591" fmla="*/ 2929173 w 10693106"/>
              <a:gd name="connsiteY27-4592" fmla="*/ 29688 h 5321354"/>
              <a:gd name="connsiteX28-4593" fmla="*/ 3002294 w 10693106"/>
              <a:gd name="connsiteY28-4594" fmla="*/ 184012 h 5321354"/>
              <a:gd name="connsiteX29-4595" fmla="*/ 3142763 w 10693106"/>
              <a:gd name="connsiteY29-4596" fmla="*/ 139753 h 5321354"/>
              <a:gd name="connsiteX30-4597" fmla="*/ 3459878 w 10693106"/>
              <a:gd name="connsiteY30-4598" fmla="*/ 54 h 5321354"/>
              <a:gd name="connsiteX31-4599" fmla="*/ 3606506 w 10693106"/>
              <a:gd name="connsiteY31-4600" fmla="*/ 89725 h 5321354"/>
              <a:gd name="connsiteX32-4601" fmla="*/ 3682706 w 10693106"/>
              <a:gd name="connsiteY32-4602" fmla="*/ 109274 h 5321354"/>
              <a:gd name="connsiteX33-4603" fmla="*/ 3741973 w 10693106"/>
              <a:gd name="connsiteY33-4604" fmla="*/ 115893 h 5321354"/>
              <a:gd name="connsiteX34-4605" fmla="*/ 3818173 w 10693106"/>
              <a:gd name="connsiteY34-4606" fmla="*/ 29688 h 5321354"/>
              <a:gd name="connsiteX35-4607" fmla="*/ 3831720 w 10693106"/>
              <a:gd name="connsiteY35-4608" fmla="*/ 166848 h 5321354"/>
              <a:gd name="connsiteX36-4609" fmla="*/ 3896297 w 10693106"/>
              <a:gd name="connsiteY36-4610" fmla="*/ 186321 h 5321354"/>
              <a:gd name="connsiteX37-4611" fmla="*/ 3945173 w 10693106"/>
              <a:gd name="connsiteY37-4612" fmla="*/ 114354 h 5321354"/>
              <a:gd name="connsiteX38-4613" fmla="*/ 3995973 w 10693106"/>
              <a:gd name="connsiteY38-4614" fmla="*/ 139754 h 5321354"/>
              <a:gd name="connsiteX39-4615" fmla="*/ 4021373 w 10693106"/>
              <a:gd name="connsiteY39-4616" fmla="*/ 173621 h 5321354"/>
              <a:gd name="connsiteX40-4617" fmla="*/ 4055240 w 10693106"/>
              <a:gd name="connsiteY40-4618" fmla="*/ 182088 h 5321354"/>
              <a:gd name="connsiteX41-4619" fmla="*/ 4275373 w 10693106"/>
              <a:gd name="connsiteY41-4620" fmla="*/ 224421 h 5321354"/>
              <a:gd name="connsiteX42-4621" fmla="*/ 4402373 w 10693106"/>
              <a:gd name="connsiteY42-4622" fmla="*/ 258288 h 5321354"/>
              <a:gd name="connsiteX43-4623" fmla="*/ 4529373 w 10693106"/>
              <a:gd name="connsiteY43-4624" fmla="*/ 300621 h 5321354"/>
              <a:gd name="connsiteX44-4625" fmla="*/ 4859573 w 10693106"/>
              <a:gd name="connsiteY44-4626" fmla="*/ 376821 h 5321354"/>
              <a:gd name="connsiteX45-4627" fmla="*/ 5045840 w 10693106"/>
              <a:gd name="connsiteY45-4628" fmla="*/ 453021 h 5321354"/>
              <a:gd name="connsiteX46-4629" fmla="*/ 5325240 w 10693106"/>
              <a:gd name="connsiteY46-4630" fmla="*/ 613888 h 5321354"/>
              <a:gd name="connsiteX47-4631" fmla="*/ 5494573 w 10693106"/>
              <a:gd name="connsiteY47-4632" fmla="*/ 766288 h 5321354"/>
              <a:gd name="connsiteX48-4633" fmla="*/ 5562306 w 10693106"/>
              <a:gd name="connsiteY48-4634" fmla="*/ 842488 h 5321354"/>
              <a:gd name="connsiteX49-4635" fmla="*/ 5621573 w 10693106"/>
              <a:gd name="connsiteY49-4636" fmla="*/ 893288 h 5321354"/>
              <a:gd name="connsiteX50-4637" fmla="*/ 5672373 w 10693106"/>
              <a:gd name="connsiteY50-4638" fmla="*/ 961021 h 5321354"/>
              <a:gd name="connsiteX51-4639" fmla="*/ 5757040 w 10693106"/>
              <a:gd name="connsiteY51-4640" fmla="*/ 1062621 h 5321354"/>
              <a:gd name="connsiteX52-4641" fmla="*/ 5833240 w 10693106"/>
              <a:gd name="connsiteY52-4642" fmla="*/ 1155754 h 5321354"/>
              <a:gd name="connsiteX53-4643" fmla="*/ 6019506 w 10693106"/>
              <a:gd name="connsiteY53-4644" fmla="*/ 1358954 h 5321354"/>
              <a:gd name="connsiteX54-4645" fmla="*/ 6087240 w 10693106"/>
              <a:gd name="connsiteY54-4646" fmla="*/ 1409754 h 5321354"/>
              <a:gd name="connsiteX55-4647" fmla="*/ 6171906 w 10693106"/>
              <a:gd name="connsiteY55-4648" fmla="*/ 1511354 h 5321354"/>
              <a:gd name="connsiteX56-4649" fmla="*/ 6451306 w 10693106"/>
              <a:gd name="connsiteY56-4650" fmla="*/ 1723021 h 5321354"/>
              <a:gd name="connsiteX57-4651" fmla="*/ 6519040 w 10693106"/>
              <a:gd name="connsiteY57-4652" fmla="*/ 1731488 h 5321354"/>
              <a:gd name="connsiteX58-4653" fmla="*/ 6603706 w 10693106"/>
              <a:gd name="connsiteY58-4654" fmla="*/ 1765354 h 5321354"/>
              <a:gd name="connsiteX59-4655" fmla="*/ 6671440 w 10693106"/>
              <a:gd name="connsiteY59-4656" fmla="*/ 1799221 h 5321354"/>
              <a:gd name="connsiteX60-4657" fmla="*/ 6866173 w 10693106"/>
              <a:gd name="connsiteY60-4658" fmla="*/ 1824621 h 5321354"/>
              <a:gd name="connsiteX61-4659" fmla="*/ 7196373 w 10693106"/>
              <a:gd name="connsiteY61-4660" fmla="*/ 1807688 h 5321354"/>
              <a:gd name="connsiteX62-4661" fmla="*/ 7509640 w 10693106"/>
              <a:gd name="connsiteY62-4662" fmla="*/ 1731488 h 5321354"/>
              <a:gd name="connsiteX63-4663" fmla="*/ 7628173 w 10693106"/>
              <a:gd name="connsiteY63-4664" fmla="*/ 1706088 h 5321354"/>
              <a:gd name="connsiteX64-4665" fmla="*/ 7704373 w 10693106"/>
              <a:gd name="connsiteY64-4666" fmla="*/ 1663754 h 5321354"/>
              <a:gd name="connsiteX65-4667" fmla="*/ 7755173 w 10693106"/>
              <a:gd name="connsiteY65-4668" fmla="*/ 1655288 h 5321354"/>
              <a:gd name="connsiteX66-4669" fmla="*/ 7797506 w 10693106"/>
              <a:gd name="connsiteY66-4670" fmla="*/ 1621421 h 5321354"/>
              <a:gd name="connsiteX67-4671" fmla="*/ 7856773 w 10693106"/>
              <a:gd name="connsiteY67-4672" fmla="*/ 1604488 h 5321354"/>
              <a:gd name="connsiteX68-4673" fmla="*/ 7958373 w 10693106"/>
              <a:gd name="connsiteY68-4674" fmla="*/ 1536754 h 5321354"/>
              <a:gd name="connsiteX69-4675" fmla="*/ 8009173 w 10693106"/>
              <a:gd name="connsiteY69-4676" fmla="*/ 1485954 h 5321354"/>
              <a:gd name="connsiteX70-4677" fmla="*/ 8339373 w 10693106"/>
              <a:gd name="connsiteY70-4678" fmla="*/ 1240421 h 5321354"/>
              <a:gd name="connsiteX71-4679" fmla="*/ 8576440 w 10693106"/>
              <a:gd name="connsiteY71-4680" fmla="*/ 986421 h 5321354"/>
              <a:gd name="connsiteX72-4681" fmla="*/ 8652640 w 10693106"/>
              <a:gd name="connsiteY72-4682" fmla="*/ 707021 h 5321354"/>
              <a:gd name="connsiteX73-4683" fmla="*/ 8847373 w 10693106"/>
              <a:gd name="connsiteY73-4684" fmla="*/ 520754 h 5321354"/>
              <a:gd name="connsiteX74-4685" fmla="*/ 8982840 w 10693106"/>
              <a:gd name="connsiteY74-4686" fmla="*/ 427621 h 5321354"/>
              <a:gd name="connsiteX75-4687" fmla="*/ 9084440 w 10693106"/>
              <a:gd name="connsiteY75-4688" fmla="*/ 393754 h 5321354"/>
              <a:gd name="connsiteX76-4689" fmla="*/ 9152173 w 10693106"/>
              <a:gd name="connsiteY76-4690" fmla="*/ 368354 h 5321354"/>
              <a:gd name="connsiteX77-4691" fmla="*/ 9380773 w 10693106"/>
              <a:gd name="connsiteY77-4692" fmla="*/ 385288 h 5321354"/>
              <a:gd name="connsiteX78-4693" fmla="*/ 9744840 w 10693106"/>
              <a:gd name="connsiteY78-4694" fmla="*/ 495354 h 5321354"/>
              <a:gd name="connsiteX79-4695" fmla="*/ 9888773 w 10693106"/>
              <a:gd name="connsiteY79-4696" fmla="*/ 537688 h 5321354"/>
              <a:gd name="connsiteX80-4697" fmla="*/ 9998840 w 10693106"/>
              <a:gd name="connsiteY80-4698" fmla="*/ 588488 h 5321354"/>
              <a:gd name="connsiteX81-4699" fmla="*/ 10083506 w 10693106"/>
              <a:gd name="connsiteY81-4700" fmla="*/ 647754 h 5321354"/>
              <a:gd name="connsiteX82-4701" fmla="*/ 10286706 w 10693106"/>
              <a:gd name="connsiteY82-4702" fmla="*/ 715488 h 5321354"/>
              <a:gd name="connsiteX83-4703" fmla="*/ 10388306 w 10693106"/>
              <a:gd name="connsiteY83-4704" fmla="*/ 918688 h 5321354"/>
              <a:gd name="connsiteX84-4705" fmla="*/ 10540706 w 10693106"/>
              <a:gd name="connsiteY84-4706" fmla="*/ 1291221 h 5321354"/>
              <a:gd name="connsiteX85-4707" fmla="*/ 10557640 w 10693106"/>
              <a:gd name="connsiteY85-4708" fmla="*/ 1375888 h 5321354"/>
              <a:gd name="connsiteX86-4709" fmla="*/ 10583040 w 10693106"/>
              <a:gd name="connsiteY86-4710" fmla="*/ 1477488 h 5321354"/>
              <a:gd name="connsiteX87-4711" fmla="*/ 10616906 w 10693106"/>
              <a:gd name="connsiteY87-4712" fmla="*/ 1680688 h 5321354"/>
              <a:gd name="connsiteX88-4713" fmla="*/ 10633840 w 10693106"/>
              <a:gd name="connsiteY88-4714" fmla="*/ 1765354 h 5321354"/>
              <a:gd name="connsiteX89-4715" fmla="*/ 10650773 w 10693106"/>
              <a:gd name="connsiteY89-4716" fmla="*/ 1799221 h 5321354"/>
              <a:gd name="connsiteX90-4717" fmla="*/ 10676173 w 10693106"/>
              <a:gd name="connsiteY90-4718" fmla="*/ 1883888 h 5321354"/>
              <a:gd name="connsiteX91-4719" fmla="*/ 10693106 w 10693106"/>
              <a:gd name="connsiteY91-4720" fmla="*/ 2036288 h 5321354"/>
              <a:gd name="connsiteX92-4721" fmla="*/ 10625373 w 10693106"/>
              <a:gd name="connsiteY92-4722" fmla="*/ 2256421 h 5321354"/>
              <a:gd name="connsiteX93-4723" fmla="*/ 10608440 w 10693106"/>
              <a:gd name="connsiteY93-4724" fmla="*/ 2281821 h 5321354"/>
              <a:gd name="connsiteX94-4725" fmla="*/ 10540706 w 10693106"/>
              <a:gd name="connsiteY94-4726" fmla="*/ 2425754 h 5321354"/>
              <a:gd name="connsiteX95-4727" fmla="*/ 10498373 w 10693106"/>
              <a:gd name="connsiteY95-4728" fmla="*/ 2510421 h 5321354"/>
              <a:gd name="connsiteX96-4729" fmla="*/ 10439106 w 10693106"/>
              <a:gd name="connsiteY96-4730" fmla="*/ 2696688 h 5321354"/>
              <a:gd name="connsiteX97-4731" fmla="*/ 10430640 w 10693106"/>
              <a:gd name="connsiteY97-4732" fmla="*/ 2739021 h 5321354"/>
              <a:gd name="connsiteX98-4733" fmla="*/ 10405240 w 10693106"/>
              <a:gd name="connsiteY98-4734" fmla="*/ 2815221 h 5321354"/>
              <a:gd name="connsiteX99-4735" fmla="*/ 10396773 w 10693106"/>
              <a:gd name="connsiteY99-4736" fmla="*/ 2849088 h 5321354"/>
              <a:gd name="connsiteX100-4737" fmla="*/ 10362906 w 10693106"/>
              <a:gd name="connsiteY100-4738" fmla="*/ 2942221 h 5321354"/>
              <a:gd name="connsiteX101-4739" fmla="*/ 10329040 w 10693106"/>
              <a:gd name="connsiteY101-4740" fmla="*/ 2984554 h 5321354"/>
              <a:gd name="connsiteX102-4741" fmla="*/ 10227440 w 10693106"/>
              <a:gd name="connsiteY102-4742" fmla="*/ 3086154 h 5321354"/>
              <a:gd name="connsiteX103-4743" fmla="*/ 10168173 w 10693106"/>
              <a:gd name="connsiteY103-4744" fmla="*/ 3153888 h 5321354"/>
              <a:gd name="connsiteX104-4745" fmla="*/ 10117373 w 10693106"/>
              <a:gd name="connsiteY104-4746" fmla="*/ 3204688 h 5321354"/>
              <a:gd name="connsiteX105-4747" fmla="*/ 10032706 w 10693106"/>
              <a:gd name="connsiteY105-4748" fmla="*/ 3306288 h 5321354"/>
              <a:gd name="connsiteX106-4749" fmla="*/ 9948040 w 10693106"/>
              <a:gd name="connsiteY106-4750" fmla="*/ 3365554 h 5321354"/>
              <a:gd name="connsiteX107-4751" fmla="*/ 9905706 w 10693106"/>
              <a:gd name="connsiteY107-4752" fmla="*/ 3390954 h 5321354"/>
              <a:gd name="connsiteX108-4753" fmla="*/ 9829506 w 10693106"/>
              <a:gd name="connsiteY108-4754" fmla="*/ 3407888 h 5321354"/>
              <a:gd name="connsiteX109-4755" fmla="*/ 9727906 w 10693106"/>
              <a:gd name="connsiteY109-4756" fmla="*/ 3450221 h 5321354"/>
              <a:gd name="connsiteX110-4757" fmla="*/ 9634773 w 10693106"/>
              <a:gd name="connsiteY110-4758" fmla="*/ 3475621 h 5321354"/>
              <a:gd name="connsiteX111-4759" fmla="*/ 9456973 w 10693106"/>
              <a:gd name="connsiteY111-4760" fmla="*/ 3568754 h 5321354"/>
              <a:gd name="connsiteX112-4761" fmla="*/ 9313040 w 10693106"/>
              <a:gd name="connsiteY112-4762" fmla="*/ 3695754 h 5321354"/>
              <a:gd name="connsiteX113-4763" fmla="*/ 9279173 w 10693106"/>
              <a:gd name="connsiteY113-4764" fmla="*/ 3712688 h 5321354"/>
              <a:gd name="connsiteX114-4765" fmla="*/ 9067506 w 10693106"/>
              <a:gd name="connsiteY114-4766" fmla="*/ 3890488 h 5321354"/>
              <a:gd name="connsiteX115-4767" fmla="*/ 8999773 w 10693106"/>
              <a:gd name="connsiteY115-4768" fmla="*/ 3958221 h 5321354"/>
              <a:gd name="connsiteX116-4769" fmla="*/ 8813506 w 10693106"/>
              <a:gd name="connsiteY116-4770" fmla="*/ 4093688 h 5321354"/>
              <a:gd name="connsiteX117-4771" fmla="*/ 8728840 w 10693106"/>
              <a:gd name="connsiteY117-4772" fmla="*/ 4136021 h 5321354"/>
              <a:gd name="connsiteX118-4773" fmla="*/ 8373240 w 10693106"/>
              <a:gd name="connsiteY118-4774" fmla="*/ 4169888 h 5321354"/>
              <a:gd name="connsiteX119-4775" fmla="*/ 7966840 w 10693106"/>
              <a:gd name="connsiteY119-4776" fmla="*/ 4263021 h 5321354"/>
              <a:gd name="connsiteX120-4777" fmla="*/ 7687440 w 10693106"/>
              <a:gd name="connsiteY120-4778" fmla="*/ 4423888 h 5321354"/>
              <a:gd name="connsiteX121-4779" fmla="*/ 7551973 w 10693106"/>
              <a:gd name="connsiteY121-4780" fmla="*/ 4508554 h 5321354"/>
              <a:gd name="connsiteX122-4781" fmla="*/ 7374173 w 10693106"/>
              <a:gd name="connsiteY122-4782" fmla="*/ 4686354 h 5321354"/>
              <a:gd name="connsiteX123-4783" fmla="*/ 7374173 w 10693106"/>
              <a:gd name="connsiteY123-4784" fmla="*/ 4686354 h 5321354"/>
              <a:gd name="connsiteX124-4785" fmla="*/ 7221773 w 10693106"/>
              <a:gd name="connsiteY124-4786" fmla="*/ 4804888 h 5321354"/>
              <a:gd name="connsiteX125-4787" fmla="*/ 7027040 w 10693106"/>
              <a:gd name="connsiteY125-4788" fmla="*/ 4931888 h 5321354"/>
              <a:gd name="connsiteX126-4789" fmla="*/ 6883106 w 10693106"/>
              <a:gd name="connsiteY126-4790" fmla="*/ 4999621 h 5321354"/>
              <a:gd name="connsiteX127-4791" fmla="*/ 6815373 w 10693106"/>
              <a:gd name="connsiteY127-4792" fmla="*/ 5041954 h 5321354"/>
              <a:gd name="connsiteX128-4793" fmla="*/ 6646040 w 10693106"/>
              <a:gd name="connsiteY128-4794" fmla="*/ 5135088 h 5321354"/>
              <a:gd name="connsiteX129-4795" fmla="*/ 6527506 w 10693106"/>
              <a:gd name="connsiteY129-4796" fmla="*/ 5194354 h 5321354"/>
              <a:gd name="connsiteX130-4797" fmla="*/ 6298906 w 10693106"/>
              <a:gd name="connsiteY130-4798" fmla="*/ 5270554 h 5321354"/>
              <a:gd name="connsiteX131-4799" fmla="*/ 6197306 w 10693106"/>
              <a:gd name="connsiteY131-4800" fmla="*/ 5295954 h 5321354"/>
              <a:gd name="connsiteX132-4801" fmla="*/ 6061840 w 10693106"/>
              <a:gd name="connsiteY132-4802" fmla="*/ 5304421 h 5321354"/>
              <a:gd name="connsiteX133-4803" fmla="*/ 5917906 w 10693106"/>
              <a:gd name="connsiteY133-4804" fmla="*/ 5321354 h 5321354"/>
              <a:gd name="connsiteX134-4805" fmla="*/ 5748573 w 10693106"/>
              <a:gd name="connsiteY134-4806" fmla="*/ 5312888 h 5321354"/>
              <a:gd name="connsiteX135-4807" fmla="*/ 5282906 w 10693106"/>
              <a:gd name="connsiteY135-4808" fmla="*/ 5202821 h 5321354"/>
              <a:gd name="connsiteX136-4809" fmla="*/ 5138973 w 10693106"/>
              <a:gd name="connsiteY136-4810" fmla="*/ 5101221 h 5321354"/>
              <a:gd name="connsiteX137-4811" fmla="*/ 5020440 w 10693106"/>
              <a:gd name="connsiteY137-4812" fmla="*/ 4948821 h 5321354"/>
              <a:gd name="connsiteX138-4813" fmla="*/ 4952706 w 10693106"/>
              <a:gd name="connsiteY138-4814" fmla="*/ 4872621 h 5321354"/>
              <a:gd name="connsiteX139-4815" fmla="*/ 4884973 w 10693106"/>
              <a:gd name="connsiteY139-4816" fmla="*/ 4804888 h 5321354"/>
              <a:gd name="connsiteX140-4817" fmla="*/ 4732573 w 10693106"/>
              <a:gd name="connsiteY140-4818" fmla="*/ 4627088 h 5321354"/>
              <a:gd name="connsiteX141-4819" fmla="*/ 4673306 w 10693106"/>
              <a:gd name="connsiteY141-4820" fmla="*/ 4559354 h 5321354"/>
              <a:gd name="connsiteX142-4821" fmla="*/ 4487040 w 10693106"/>
              <a:gd name="connsiteY142-4822" fmla="*/ 4432354 h 5321354"/>
              <a:gd name="connsiteX143-4823" fmla="*/ 4427773 w 10693106"/>
              <a:gd name="connsiteY143-4824" fmla="*/ 4398488 h 5321354"/>
              <a:gd name="connsiteX144-4825" fmla="*/ 4343106 w 10693106"/>
              <a:gd name="connsiteY144-4826" fmla="*/ 4364621 h 5321354"/>
              <a:gd name="connsiteX145-4827" fmla="*/ 4224573 w 10693106"/>
              <a:gd name="connsiteY145-4828" fmla="*/ 4288421 h 5321354"/>
              <a:gd name="connsiteX146-4829" fmla="*/ 4156840 w 10693106"/>
              <a:gd name="connsiteY146-4830" fmla="*/ 4229154 h 5321354"/>
              <a:gd name="connsiteX147-4831" fmla="*/ 4021373 w 10693106"/>
              <a:gd name="connsiteY147-4832" fmla="*/ 4085221 h 5321354"/>
              <a:gd name="connsiteX148-4833" fmla="*/ 3919773 w 10693106"/>
              <a:gd name="connsiteY148-4834" fmla="*/ 3949754 h 5321354"/>
              <a:gd name="connsiteX149-4835" fmla="*/ 3877440 w 10693106"/>
              <a:gd name="connsiteY149-4836" fmla="*/ 3653421 h 5321354"/>
              <a:gd name="connsiteX150-4837" fmla="*/ 3852040 w 10693106"/>
              <a:gd name="connsiteY150-4838" fmla="*/ 3560288 h 5321354"/>
              <a:gd name="connsiteX151-4839" fmla="*/ 3801240 w 10693106"/>
              <a:gd name="connsiteY151-4840" fmla="*/ 3450221 h 5321354"/>
              <a:gd name="connsiteX152-4841" fmla="*/ 3733506 w 10693106"/>
              <a:gd name="connsiteY152-4842" fmla="*/ 3348621 h 5321354"/>
              <a:gd name="connsiteX153-4843" fmla="*/ 3242440 w 10693106"/>
              <a:gd name="connsiteY153-4844" fmla="*/ 3128488 h 5321354"/>
              <a:gd name="connsiteX154-4845" fmla="*/ 3123906 w 10693106"/>
              <a:gd name="connsiteY154-4846" fmla="*/ 3026888 h 5321354"/>
              <a:gd name="connsiteX155-4847" fmla="*/ 2988440 w 10693106"/>
              <a:gd name="connsiteY155-4848" fmla="*/ 2832154 h 5321354"/>
              <a:gd name="connsiteX156-4849" fmla="*/ 2971506 w 10693106"/>
              <a:gd name="connsiteY156-4850" fmla="*/ 2772888 h 5321354"/>
              <a:gd name="connsiteX157-4851" fmla="*/ 2996906 w 10693106"/>
              <a:gd name="connsiteY157-4852" fmla="*/ 2561221 h 5321354"/>
              <a:gd name="connsiteX158-4853" fmla="*/ 3013840 w 10693106"/>
              <a:gd name="connsiteY158-4854" fmla="*/ 2459621 h 5321354"/>
              <a:gd name="connsiteX159-4855" fmla="*/ 3005373 w 10693106"/>
              <a:gd name="connsiteY159-4856" fmla="*/ 2341088 h 5321354"/>
              <a:gd name="connsiteX160-4857" fmla="*/ 2988440 w 10693106"/>
              <a:gd name="connsiteY160-4858" fmla="*/ 2290288 h 5321354"/>
              <a:gd name="connsiteX161-4859" fmla="*/ 2802173 w 10693106"/>
              <a:gd name="connsiteY161-4860" fmla="*/ 2036288 h 5321354"/>
              <a:gd name="connsiteX162-4861" fmla="*/ 2641306 w 10693106"/>
              <a:gd name="connsiteY162-4862" fmla="*/ 1892354 h 5321354"/>
              <a:gd name="connsiteX163-4863" fmla="*/ 2590506 w 10693106"/>
              <a:gd name="connsiteY163-4864" fmla="*/ 1866954 h 5321354"/>
              <a:gd name="connsiteX164-4865" fmla="*/ 2531240 w 10693106"/>
              <a:gd name="connsiteY164-4866" fmla="*/ 1858488 h 5321354"/>
              <a:gd name="connsiteX165-4867" fmla="*/ 2446573 w 10693106"/>
              <a:gd name="connsiteY165-4868" fmla="*/ 1841554 h 5321354"/>
              <a:gd name="connsiteX166-4869" fmla="*/ 2251840 w 10693106"/>
              <a:gd name="connsiteY166-4870" fmla="*/ 1866954 h 5321354"/>
              <a:gd name="connsiteX167-4871" fmla="*/ 2167173 w 10693106"/>
              <a:gd name="connsiteY167-4872" fmla="*/ 1909288 h 5321354"/>
              <a:gd name="connsiteX168-4873" fmla="*/ 1980906 w 10693106"/>
              <a:gd name="connsiteY168-4874" fmla="*/ 1968554 h 5321354"/>
              <a:gd name="connsiteX169-4875" fmla="*/ 1904706 w 10693106"/>
              <a:gd name="connsiteY169-4876" fmla="*/ 2002421 h 5321354"/>
              <a:gd name="connsiteX170-4877" fmla="*/ 1828506 w 10693106"/>
              <a:gd name="connsiteY170-4878" fmla="*/ 2019354 h 5321354"/>
              <a:gd name="connsiteX171-4879" fmla="*/ 1726906 w 10693106"/>
              <a:gd name="connsiteY171-4880" fmla="*/ 2070154 h 5321354"/>
              <a:gd name="connsiteX172-4881" fmla="*/ 1659173 w 10693106"/>
              <a:gd name="connsiteY172-4882" fmla="*/ 2104021 h 5321354"/>
              <a:gd name="connsiteX173-4883" fmla="*/ 1498306 w 10693106"/>
              <a:gd name="connsiteY173-4884" fmla="*/ 2129421 h 5321354"/>
              <a:gd name="connsiteX174-4885" fmla="*/ 914106 w 10693106"/>
              <a:gd name="connsiteY174-4886" fmla="*/ 2061688 h 5321354"/>
              <a:gd name="connsiteX175-4887" fmla="*/ 617773 w 10693106"/>
              <a:gd name="connsiteY175-4888" fmla="*/ 1951621 h 5321354"/>
              <a:gd name="connsiteX176-4889" fmla="*/ 516173 w 10693106"/>
              <a:gd name="connsiteY176-4890" fmla="*/ 1866954 h 5321354"/>
              <a:gd name="connsiteX177-4891" fmla="*/ 355306 w 10693106"/>
              <a:gd name="connsiteY177-4892" fmla="*/ 1655288 h 5321354"/>
              <a:gd name="connsiteX178-4893" fmla="*/ 296040 w 10693106"/>
              <a:gd name="connsiteY178-4894" fmla="*/ 1553688 h 5321354"/>
              <a:gd name="connsiteX179-4895" fmla="*/ 253706 w 10693106"/>
              <a:gd name="connsiteY179-4896" fmla="*/ 1375888 h 5321354"/>
              <a:gd name="connsiteX180-4897" fmla="*/ 245240 w 10693106"/>
              <a:gd name="connsiteY180-4898" fmla="*/ 1248888 h 5321354"/>
              <a:gd name="connsiteX181-4899" fmla="*/ 236773 w 10693106"/>
              <a:gd name="connsiteY181-4900" fmla="*/ 1147288 h 5321354"/>
              <a:gd name="connsiteX182-4901" fmla="*/ 245240 w 10693106"/>
              <a:gd name="connsiteY182-4902" fmla="*/ 876354 h 5321354"/>
              <a:gd name="connsiteX183-4903" fmla="*/ 236773 w 10693106"/>
              <a:gd name="connsiteY183-4904" fmla="*/ 732421 h 5321354"/>
              <a:gd name="connsiteX184-4905" fmla="*/ 109773 w 10693106"/>
              <a:gd name="connsiteY184-4906" fmla="*/ 588488 h 5321354"/>
              <a:gd name="connsiteX185-4907" fmla="*/ 58973 w 10693106"/>
              <a:gd name="connsiteY185-4908" fmla="*/ 512288 h 5321354"/>
              <a:gd name="connsiteX186-4909" fmla="*/ 16640 w 10693106"/>
              <a:gd name="connsiteY186-4910" fmla="*/ 461488 h 5321354"/>
              <a:gd name="connsiteX187-4911" fmla="*/ 8173 w 10693106"/>
              <a:gd name="connsiteY187-4912" fmla="*/ 419154 h 5321354"/>
              <a:gd name="connsiteX188-4913" fmla="*/ 16640 w 10693106"/>
              <a:gd name="connsiteY188-4914" fmla="*/ 368354 h 5321354"/>
              <a:gd name="connsiteX0-4915" fmla="*/ 16640 w 10693106"/>
              <a:gd name="connsiteY0-4916" fmla="*/ 368354 h 5321354"/>
              <a:gd name="connsiteX1-4917" fmla="*/ 58973 w 10693106"/>
              <a:gd name="connsiteY1-4918" fmla="*/ 275221 h 5321354"/>
              <a:gd name="connsiteX2-4919" fmla="*/ 109773 w 10693106"/>
              <a:gd name="connsiteY2-4920" fmla="*/ 207488 h 5321354"/>
              <a:gd name="connsiteX3-4921" fmla="*/ 202906 w 10693106"/>
              <a:gd name="connsiteY3-4922" fmla="*/ 122821 h 5321354"/>
              <a:gd name="connsiteX4-4923" fmla="*/ 236773 w 10693106"/>
              <a:gd name="connsiteY4-4924" fmla="*/ 97421 h 5321354"/>
              <a:gd name="connsiteX5-4925" fmla="*/ 346840 w 10693106"/>
              <a:gd name="connsiteY5-4926" fmla="*/ 38154 h 5321354"/>
              <a:gd name="connsiteX6-4927" fmla="*/ 397640 w 10693106"/>
              <a:gd name="connsiteY6-4928" fmla="*/ 4288 h 5321354"/>
              <a:gd name="connsiteX7-4929" fmla="*/ 467297 w 10693106"/>
              <a:gd name="connsiteY7-4930" fmla="*/ 143218 h 5321354"/>
              <a:gd name="connsiteX8-4931" fmla="*/ 492697 w 10693106"/>
              <a:gd name="connsiteY8-4932" fmla="*/ 103579 h 5321354"/>
              <a:gd name="connsiteX9-4933" fmla="*/ 822897 w 10693106"/>
              <a:gd name="connsiteY9-4934" fmla="*/ 112045 h 5321354"/>
              <a:gd name="connsiteX10-4935" fmla="*/ 1091906 w 10693106"/>
              <a:gd name="connsiteY10-4936" fmla="*/ 29688 h 5321354"/>
              <a:gd name="connsiteX11-4937" fmla="*/ 1235840 w 10693106"/>
              <a:gd name="connsiteY11-4938" fmla="*/ 88954 h 5321354"/>
              <a:gd name="connsiteX12-4939" fmla="*/ 1337440 w 10693106"/>
              <a:gd name="connsiteY12-4940" fmla="*/ 165154 h 5321354"/>
              <a:gd name="connsiteX13-4941" fmla="*/ 1422106 w 10693106"/>
              <a:gd name="connsiteY13-4942" fmla="*/ 275221 h 5321354"/>
              <a:gd name="connsiteX14-4943" fmla="*/ 1481373 w 10693106"/>
              <a:gd name="connsiteY14-4944" fmla="*/ 342954 h 5321354"/>
              <a:gd name="connsiteX15-4945" fmla="*/ 1532173 w 10693106"/>
              <a:gd name="connsiteY15-4946" fmla="*/ 376821 h 5321354"/>
              <a:gd name="connsiteX16-4947" fmla="*/ 1684573 w 10693106"/>
              <a:gd name="connsiteY16-4948" fmla="*/ 436088 h 5321354"/>
              <a:gd name="connsiteX17-4949" fmla="*/ 1760773 w 10693106"/>
              <a:gd name="connsiteY17-4950" fmla="*/ 453021 h 5321354"/>
              <a:gd name="connsiteX18-4951" fmla="*/ 1997840 w 10693106"/>
              <a:gd name="connsiteY18-4952" fmla="*/ 444554 h 5321354"/>
              <a:gd name="connsiteX19-4953" fmla="*/ 2116373 w 10693106"/>
              <a:gd name="connsiteY19-4954" fmla="*/ 427621 h 5321354"/>
              <a:gd name="connsiteX20-4955" fmla="*/ 2260306 w 10693106"/>
              <a:gd name="connsiteY20-4956" fmla="*/ 410688 h 5321354"/>
              <a:gd name="connsiteX21-4957" fmla="*/ 2404240 w 10693106"/>
              <a:gd name="connsiteY21-4958" fmla="*/ 385288 h 5321354"/>
              <a:gd name="connsiteX22-4959" fmla="*/ 2455040 w 10693106"/>
              <a:gd name="connsiteY22-4960" fmla="*/ 359888 h 5321354"/>
              <a:gd name="connsiteX23-4961" fmla="*/ 2531240 w 10693106"/>
              <a:gd name="connsiteY23-4962" fmla="*/ 334488 h 5321354"/>
              <a:gd name="connsiteX24-4963" fmla="*/ 2683640 w 10693106"/>
              <a:gd name="connsiteY24-4964" fmla="*/ 207488 h 5321354"/>
              <a:gd name="connsiteX25-4965" fmla="*/ 2768306 w 10693106"/>
              <a:gd name="connsiteY25-4966" fmla="*/ 139754 h 5321354"/>
              <a:gd name="connsiteX26-4967" fmla="*/ 2836040 w 10693106"/>
              <a:gd name="connsiteY26-4968" fmla="*/ 80488 h 5321354"/>
              <a:gd name="connsiteX27-4969" fmla="*/ 2929173 w 10693106"/>
              <a:gd name="connsiteY27-4970" fmla="*/ 29688 h 5321354"/>
              <a:gd name="connsiteX28-4971" fmla="*/ 3002294 w 10693106"/>
              <a:gd name="connsiteY28-4972" fmla="*/ 184012 h 5321354"/>
              <a:gd name="connsiteX29-4973" fmla="*/ 3142763 w 10693106"/>
              <a:gd name="connsiteY29-4974" fmla="*/ 139753 h 5321354"/>
              <a:gd name="connsiteX30-4975" fmla="*/ 3459878 w 10693106"/>
              <a:gd name="connsiteY30-4976" fmla="*/ 54 h 5321354"/>
              <a:gd name="connsiteX31-4977" fmla="*/ 3606506 w 10693106"/>
              <a:gd name="connsiteY31-4978" fmla="*/ 89725 h 5321354"/>
              <a:gd name="connsiteX32-4979" fmla="*/ 3682706 w 10693106"/>
              <a:gd name="connsiteY32-4980" fmla="*/ 109274 h 5321354"/>
              <a:gd name="connsiteX33-4981" fmla="*/ 3741973 w 10693106"/>
              <a:gd name="connsiteY33-4982" fmla="*/ 115893 h 5321354"/>
              <a:gd name="connsiteX34-4983" fmla="*/ 3792773 w 10693106"/>
              <a:gd name="connsiteY34-4984" fmla="*/ 151608 h 5321354"/>
              <a:gd name="connsiteX35-4985" fmla="*/ 3831720 w 10693106"/>
              <a:gd name="connsiteY35-4986" fmla="*/ 166848 h 5321354"/>
              <a:gd name="connsiteX36-4987" fmla="*/ 3896297 w 10693106"/>
              <a:gd name="connsiteY36-4988" fmla="*/ 186321 h 5321354"/>
              <a:gd name="connsiteX37-4989" fmla="*/ 3945173 w 10693106"/>
              <a:gd name="connsiteY37-4990" fmla="*/ 114354 h 5321354"/>
              <a:gd name="connsiteX38-4991" fmla="*/ 3995973 w 10693106"/>
              <a:gd name="connsiteY38-4992" fmla="*/ 139754 h 5321354"/>
              <a:gd name="connsiteX39-4993" fmla="*/ 4021373 w 10693106"/>
              <a:gd name="connsiteY39-4994" fmla="*/ 173621 h 5321354"/>
              <a:gd name="connsiteX40-4995" fmla="*/ 4055240 w 10693106"/>
              <a:gd name="connsiteY40-4996" fmla="*/ 182088 h 5321354"/>
              <a:gd name="connsiteX41-4997" fmla="*/ 4275373 w 10693106"/>
              <a:gd name="connsiteY41-4998" fmla="*/ 224421 h 5321354"/>
              <a:gd name="connsiteX42-4999" fmla="*/ 4402373 w 10693106"/>
              <a:gd name="connsiteY42-5000" fmla="*/ 258288 h 5321354"/>
              <a:gd name="connsiteX43-5001" fmla="*/ 4529373 w 10693106"/>
              <a:gd name="connsiteY43-5002" fmla="*/ 300621 h 5321354"/>
              <a:gd name="connsiteX44-5003" fmla="*/ 4859573 w 10693106"/>
              <a:gd name="connsiteY44-5004" fmla="*/ 376821 h 5321354"/>
              <a:gd name="connsiteX45-5005" fmla="*/ 5045840 w 10693106"/>
              <a:gd name="connsiteY45-5006" fmla="*/ 453021 h 5321354"/>
              <a:gd name="connsiteX46-5007" fmla="*/ 5325240 w 10693106"/>
              <a:gd name="connsiteY46-5008" fmla="*/ 613888 h 5321354"/>
              <a:gd name="connsiteX47-5009" fmla="*/ 5494573 w 10693106"/>
              <a:gd name="connsiteY47-5010" fmla="*/ 766288 h 5321354"/>
              <a:gd name="connsiteX48-5011" fmla="*/ 5562306 w 10693106"/>
              <a:gd name="connsiteY48-5012" fmla="*/ 842488 h 5321354"/>
              <a:gd name="connsiteX49-5013" fmla="*/ 5621573 w 10693106"/>
              <a:gd name="connsiteY49-5014" fmla="*/ 893288 h 5321354"/>
              <a:gd name="connsiteX50-5015" fmla="*/ 5672373 w 10693106"/>
              <a:gd name="connsiteY50-5016" fmla="*/ 961021 h 5321354"/>
              <a:gd name="connsiteX51-5017" fmla="*/ 5757040 w 10693106"/>
              <a:gd name="connsiteY51-5018" fmla="*/ 1062621 h 5321354"/>
              <a:gd name="connsiteX52-5019" fmla="*/ 5833240 w 10693106"/>
              <a:gd name="connsiteY52-5020" fmla="*/ 1155754 h 5321354"/>
              <a:gd name="connsiteX53-5021" fmla="*/ 6019506 w 10693106"/>
              <a:gd name="connsiteY53-5022" fmla="*/ 1358954 h 5321354"/>
              <a:gd name="connsiteX54-5023" fmla="*/ 6087240 w 10693106"/>
              <a:gd name="connsiteY54-5024" fmla="*/ 1409754 h 5321354"/>
              <a:gd name="connsiteX55-5025" fmla="*/ 6171906 w 10693106"/>
              <a:gd name="connsiteY55-5026" fmla="*/ 1511354 h 5321354"/>
              <a:gd name="connsiteX56-5027" fmla="*/ 6451306 w 10693106"/>
              <a:gd name="connsiteY56-5028" fmla="*/ 1723021 h 5321354"/>
              <a:gd name="connsiteX57-5029" fmla="*/ 6519040 w 10693106"/>
              <a:gd name="connsiteY57-5030" fmla="*/ 1731488 h 5321354"/>
              <a:gd name="connsiteX58-5031" fmla="*/ 6603706 w 10693106"/>
              <a:gd name="connsiteY58-5032" fmla="*/ 1765354 h 5321354"/>
              <a:gd name="connsiteX59-5033" fmla="*/ 6671440 w 10693106"/>
              <a:gd name="connsiteY59-5034" fmla="*/ 1799221 h 5321354"/>
              <a:gd name="connsiteX60-5035" fmla="*/ 6866173 w 10693106"/>
              <a:gd name="connsiteY60-5036" fmla="*/ 1824621 h 5321354"/>
              <a:gd name="connsiteX61-5037" fmla="*/ 7196373 w 10693106"/>
              <a:gd name="connsiteY61-5038" fmla="*/ 1807688 h 5321354"/>
              <a:gd name="connsiteX62-5039" fmla="*/ 7509640 w 10693106"/>
              <a:gd name="connsiteY62-5040" fmla="*/ 1731488 h 5321354"/>
              <a:gd name="connsiteX63-5041" fmla="*/ 7628173 w 10693106"/>
              <a:gd name="connsiteY63-5042" fmla="*/ 1706088 h 5321354"/>
              <a:gd name="connsiteX64-5043" fmla="*/ 7704373 w 10693106"/>
              <a:gd name="connsiteY64-5044" fmla="*/ 1663754 h 5321354"/>
              <a:gd name="connsiteX65-5045" fmla="*/ 7755173 w 10693106"/>
              <a:gd name="connsiteY65-5046" fmla="*/ 1655288 h 5321354"/>
              <a:gd name="connsiteX66-5047" fmla="*/ 7797506 w 10693106"/>
              <a:gd name="connsiteY66-5048" fmla="*/ 1621421 h 5321354"/>
              <a:gd name="connsiteX67-5049" fmla="*/ 7856773 w 10693106"/>
              <a:gd name="connsiteY67-5050" fmla="*/ 1604488 h 5321354"/>
              <a:gd name="connsiteX68-5051" fmla="*/ 7958373 w 10693106"/>
              <a:gd name="connsiteY68-5052" fmla="*/ 1536754 h 5321354"/>
              <a:gd name="connsiteX69-5053" fmla="*/ 8009173 w 10693106"/>
              <a:gd name="connsiteY69-5054" fmla="*/ 1485954 h 5321354"/>
              <a:gd name="connsiteX70-5055" fmla="*/ 8339373 w 10693106"/>
              <a:gd name="connsiteY70-5056" fmla="*/ 1240421 h 5321354"/>
              <a:gd name="connsiteX71-5057" fmla="*/ 8576440 w 10693106"/>
              <a:gd name="connsiteY71-5058" fmla="*/ 986421 h 5321354"/>
              <a:gd name="connsiteX72-5059" fmla="*/ 8652640 w 10693106"/>
              <a:gd name="connsiteY72-5060" fmla="*/ 707021 h 5321354"/>
              <a:gd name="connsiteX73-5061" fmla="*/ 8847373 w 10693106"/>
              <a:gd name="connsiteY73-5062" fmla="*/ 520754 h 5321354"/>
              <a:gd name="connsiteX74-5063" fmla="*/ 8982840 w 10693106"/>
              <a:gd name="connsiteY74-5064" fmla="*/ 427621 h 5321354"/>
              <a:gd name="connsiteX75-5065" fmla="*/ 9084440 w 10693106"/>
              <a:gd name="connsiteY75-5066" fmla="*/ 393754 h 5321354"/>
              <a:gd name="connsiteX76-5067" fmla="*/ 9152173 w 10693106"/>
              <a:gd name="connsiteY76-5068" fmla="*/ 368354 h 5321354"/>
              <a:gd name="connsiteX77-5069" fmla="*/ 9380773 w 10693106"/>
              <a:gd name="connsiteY77-5070" fmla="*/ 385288 h 5321354"/>
              <a:gd name="connsiteX78-5071" fmla="*/ 9744840 w 10693106"/>
              <a:gd name="connsiteY78-5072" fmla="*/ 495354 h 5321354"/>
              <a:gd name="connsiteX79-5073" fmla="*/ 9888773 w 10693106"/>
              <a:gd name="connsiteY79-5074" fmla="*/ 537688 h 5321354"/>
              <a:gd name="connsiteX80-5075" fmla="*/ 9998840 w 10693106"/>
              <a:gd name="connsiteY80-5076" fmla="*/ 588488 h 5321354"/>
              <a:gd name="connsiteX81-5077" fmla="*/ 10083506 w 10693106"/>
              <a:gd name="connsiteY81-5078" fmla="*/ 647754 h 5321354"/>
              <a:gd name="connsiteX82-5079" fmla="*/ 10286706 w 10693106"/>
              <a:gd name="connsiteY82-5080" fmla="*/ 715488 h 5321354"/>
              <a:gd name="connsiteX83-5081" fmla="*/ 10388306 w 10693106"/>
              <a:gd name="connsiteY83-5082" fmla="*/ 918688 h 5321354"/>
              <a:gd name="connsiteX84-5083" fmla="*/ 10540706 w 10693106"/>
              <a:gd name="connsiteY84-5084" fmla="*/ 1291221 h 5321354"/>
              <a:gd name="connsiteX85-5085" fmla="*/ 10557640 w 10693106"/>
              <a:gd name="connsiteY85-5086" fmla="*/ 1375888 h 5321354"/>
              <a:gd name="connsiteX86-5087" fmla="*/ 10583040 w 10693106"/>
              <a:gd name="connsiteY86-5088" fmla="*/ 1477488 h 5321354"/>
              <a:gd name="connsiteX87-5089" fmla="*/ 10616906 w 10693106"/>
              <a:gd name="connsiteY87-5090" fmla="*/ 1680688 h 5321354"/>
              <a:gd name="connsiteX88-5091" fmla="*/ 10633840 w 10693106"/>
              <a:gd name="connsiteY88-5092" fmla="*/ 1765354 h 5321354"/>
              <a:gd name="connsiteX89-5093" fmla="*/ 10650773 w 10693106"/>
              <a:gd name="connsiteY89-5094" fmla="*/ 1799221 h 5321354"/>
              <a:gd name="connsiteX90-5095" fmla="*/ 10676173 w 10693106"/>
              <a:gd name="connsiteY90-5096" fmla="*/ 1883888 h 5321354"/>
              <a:gd name="connsiteX91-5097" fmla="*/ 10693106 w 10693106"/>
              <a:gd name="connsiteY91-5098" fmla="*/ 2036288 h 5321354"/>
              <a:gd name="connsiteX92-5099" fmla="*/ 10625373 w 10693106"/>
              <a:gd name="connsiteY92-5100" fmla="*/ 2256421 h 5321354"/>
              <a:gd name="connsiteX93-5101" fmla="*/ 10608440 w 10693106"/>
              <a:gd name="connsiteY93-5102" fmla="*/ 2281821 h 5321354"/>
              <a:gd name="connsiteX94-5103" fmla="*/ 10540706 w 10693106"/>
              <a:gd name="connsiteY94-5104" fmla="*/ 2425754 h 5321354"/>
              <a:gd name="connsiteX95-5105" fmla="*/ 10498373 w 10693106"/>
              <a:gd name="connsiteY95-5106" fmla="*/ 2510421 h 5321354"/>
              <a:gd name="connsiteX96-5107" fmla="*/ 10439106 w 10693106"/>
              <a:gd name="connsiteY96-5108" fmla="*/ 2696688 h 5321354"/>
              <a:gd name="connsiteX97-5109" fmla="*/ 10430640 w 10693106"/>
              <a:gd name="connsiteY97-5110" fmla="*/ 2739021 h 5321354"/>
              <a:gd name="connsiteX98-5111" fmla="*/ 10405240 w 10693106"/>
              <a:gd name="connsiteY98-5112" fmla="*/ 2815221 h 5321354"/>
              <a:gd name="connsiteX99-5113" fmla="*/ 10396773 w 10693106"/>
              <a:gd name="connsiteY99-5114" fmla="*/ 2849088 h 5321354"/>
              <a:gd name="connsiteX100-5115" fmla="*/ 10362906 w 10693106"/>
              <a:gd name="connsiteY100-5116" fmla="*/ 2942221 h 5321354"/>
              <a:gd name="connsiteX101-5117" fmla="*/ 10329040 w 10693106"/>
              <a:gd name="connsiteY101-5118" fmla="*/ 2984554 h 5321354"/>
              <a:gd name="connsiteX102-5119" fmla="*/ 10227440 w 10693106"/>
              <a:gd name="connsiteY102-5120" fmla="*/ 3086154 h 5321354"/>
              <a:gd name="connsiteX103-5121" fmla="*/ 10168173 w 10693106"/>
              <a:gd name="connsiteY103-5122" fmla="*/ 3153888 h 5321354"/>
              <a:gd name="connsiteX104-5123" fmla="*/ 10117373 w 10693106"/>
              <a:gd name="connsiteY104-5124" fmla="*/ 3204688 h 5321354"/>
              <a:gd name="connsiteX105-5125" fmla="*/ 10032706 w 10693106"/>
              <a:gd name="connsiteY105-5126" fmla="*/ 3306288 h 5321354"/>
              <a:gd name="connsiteX106-5127" fmla="*/ 9948040 w 10693106"/>
              <a:gd name="connsiteY106-5128" fmla="*/ 3365554 h 5321354"/>
              <a:gd name="connsiteX107-5129" fmla="*/ 9905706 w 10693106"/>
              <a:gd name="connsiteY107-5130" fmla="*/ 3390954 h 5321354"/>
              <a:gd name="connsiteX108-5131" fmla="*/ 9829506 w 10693106"/>
              <a:gd name="connsiteY108-5132" fmla="*/ 3407888 h 5321354"/>
              <a:gd name="connsiteX109-5133" fmla="*/ 9727906 w 10693106"/>
              <a:gd name="connsiteY109-5134" fmla="*/ 3450221 h 5321354"/>
              <a:gd name="connsiteX110-5135" fmla="*/ 9634773 w 10693106"/>
              <a:gd name="connsiteY110-5136" fmla="*/ 3475621 h 5321354"/>
              <a:gd name="connsiteX111-5137" fmla="*/ 9456973 w 10693106"/>
              <a:gd name="connsiteY111-5138" fmla="*/ 3568754 h 5321354"/>
              <a:gd name="connsiteX112-5139" fmla="*/ 9313040 w 10693106"/>
              <a:gd name="connsiteY112-5140" fmla="*/ 3695754 h 5321354"/>
              <a:gd name="connsiteX113-5141" fmla="*/ 9279173 w 10693106"/>
              <a:gd name="connsiteY113-5142" fmla="*/ 3712688 h 5321354"/>
              <a:gd name="connsiteX114-5143" fmla="*/ 9067506 w 10693106"/>
              <a:gd name="connsiteY114-5144" fmla="*/ 3890488 h 5321354"/>
              <a:gd name="connsiteX115-5145" fmla="*/ 8999773 w 10693106"/>
              <a:gd name="connsiteY115-5146" fmla="*/ 3958221 h 5321354"/>
              <a:gd name="connsiteX116-5147" fmla="*/ 8813506 w 10693106"/>
              <a:gd name="connsiteY116-5148" fmla="*/ 4093688 h 5321354"/>
              <a:gd name="connsiteX117-5149" fmla="*/ 8728840 w 10693106"/>
              <a:gd name="connsiteY117-5150" fmla="*/ 4136021 h 5321354"/>
              <a:gd name="connsiteX118-5151" fmla="*/ 8373240 w 10693106"/>
              <a:gd name="connsiteY118-5152" fmla="*/ 4169888 h 5321354"/>
              <a:gd name="connsiteX119-5153" fmla="*/ 7966840 w 10693106"/>
              <a:gd name="connsiteY119-5154" fmla="*/ 4263021 h 5321354"/>
              <a:gd name="connsiteX120-5155" fmla="*/ 7687440 w 10693106"/>
              <a:gd name="connsiteY120-5156" fmla="*/ 4423888 h 5321354"/>
              <a:gd name="connsiteX121-5157" fmla="*/ 7551973 w 10693106"/>
              <a:gd name="connsiteY121-5158" fmla="*/ 4508554 h 5321354"/>
              <a:gd name="connsiteX122-5159" fmla="*/ 7374173 w 10693106"/>
              <a:gd name="connsiteY122-5160" fmla="*/ 4686354 h 5321354"/>
              <a:gd name="connsiteX123-5161" fmla="*/ 7374173 w 10693106"/>
              <a:gd name="connsiteY123-5162" fmla="*/ 4686354 h 5321354"/>
              <a:gd name="connsiteX124-5163" fmla="*/ 7221773 w 10693106"/>
              <a:gd name="connsiteY124-5164" fmla="*/ 4804888 h 5321354"/>
              <a:gd name="connsiteX125-5165" fmla="*/ 7027040 w 10693106"/>
              <a:gd name="connsiteY125-5166" fmla="*/ 4931888 h 5321354"/>
              <a:gd name="connsiteX126-5167" fmla="*/ 6883106 w 10693106"/>
              <a:gd name="connsiteY126-5168" fmla="*/ 4999621 h 5321354"/>
              <a:gd name="connsiteX127-5169" fmla="*/ 6815373 w 10693106"/>
              <a:gd name="connsiteY127-5170" fmla="*/ 5041954 h 5321354"/>
              <a:gd name="connsiteX128-5171" fmla="*/ 6646040 w 10693106"/>
              <a:gd name="connsiteY128-5172" fmla="*/ 5135088 h 5321354"/>
              <a:gd name="connsiteX129-5173" fmla="*/ 6527506 w 10693106"/>
              <a:gd name="connsiteY129-5174" fmla="*/ 5194354 h 5321354"/>
              <a:gd name="connsiteX130-5175" fmla="*/ 6298906 w 10693106"/>
              <a:gd name="connsiteY130-5176" fmla="*/ 5270554 h 5321354"/>
              <a:gd name="connsiteX131-5177" fmla="*/ 6197306 w 10693106"/>
              <a:gd name="connsiteY131-5178" fmla="*/ 5295954 h 5321354"/>
              <a:gd name="connsiteX132-5179" fmla="*/ 6061840 w 10693106"/>
              <a:gd name="connsiteY132-5180" fmla="*/ 5304421 h 5321354"/>
              <a:gd name="connsiteX133-5181" fmla="*/ 5917906 w 10693106"/>
              <a:gd name="connsiteY133-5182" fmla="*/ 5321354 h 5321354"/>
              <a:gd name="connsiteX134-5183" fmla="*/ 5748573 w 10693106"/>
              <a:gd name="connsiteY134-5184" fmla="*/ 5312888 h 5321354"/>
              <a:gd name="connsiteX135-5185" fmla="*/ 5282906 w 10693106"/>
              <a:gd name="connsiteY135-5186" fmla="*/ 5202821 h 5321354"/>
              <a:gd name="connsiteX136-5187" fmla="*/ 5138973 w 10693106"/>
              <a:gd name="connsiteY136-5188" fmla="*/ 5101221 h 5321354"/>
              <a:gd name="connsiteX137-5189" fmla="*/ 5020440 w 10693106"/>
              <a:gd name="connsiteY137-5190" fmla="*/ 4948821 h 5321354"/>
              <a:gd name="connsiteX138-5191" fmla="*/ 4952706 w 10693106"/>
              <a:gd name="connsiteY138-5192" fmla="*/ 4872621 h 5321354"/>
              <a:gd name="connsiteX139-5193" fmla="*/ 4884973 w 10693106"/>
              <a:gd name="connsiteY139-5194" fmla="*/ 4804888 h 5321354"/>
              <a:gd name="connsiteX140-5195" fmla="*/ 4732573 w 10693106"/>
              <a:gd name="connsiteY140-5196" fmla="*/ 4627088 h 5321354"/>
              <a:gd name="connsiteX141-5197" fmla="*/ 4673306 w 10693106"/>
              <a:gd name="connsiteY141-5198" fmla="*/ 4559354 h 5321354"/>
              <a:gd name="connsiteX142-5199" fmla="*/ 4487040 w 10693106"/>
              <a:gd name="connsiteY142-5200" fmla="*/ 4432354 h 5321354"/>
              <a:gd name="connsiteX143-5201" fmla="*/ 4427773 w 10693106"/>
              <a:gd name="connsiteY143-5202" fmla="*/ 4398488 h 5321354"/>
              <a:gd name="connsiteX144-5203" fmla="*/ 4343106 w 10693106"/>
              <a:gd name="connsiteY144-5204" fmla="*/ 4364621 h 5321354"/>
              <a:gd name="connsiteX145-5205" fmla="*/ 4224573 w 10693106"/>
              <a:gd name="connsiteY145-5206" fmla="*/ 4288421 h 5321354"/>
              <a:gd name="connsiteX146-5207" fmla="*/ 4156840 w 10693106"/>
              <a:gd name="connsiteY146-5208" fmla="*/ 4229154 h 5321354"/>
              <a:gd name="connsiteX147-5209" fmla="*/ 4021373 w 10693106"/>
              <a:gd name="connsiteY147-5210" fmla="*/ 4085221 h 5321354"/>
              <a:gd name="connsiteX148-5211" fmla="*/ 3919773 w 10693106"/>
              <a:gd name="connsiteY148-5212" fmla="*/ 3949754 h 5321354"/>
              <a:gd name="connsiteX149-5213" fmla="*/ 3877440 w 10693106"/>
              <a:gd name="connsiteY149-5214" fmla="*/ 3653421 h 5321354"/>
              <a:gd name="connsiteX150-5215" fmla="*/ 3852040 w 10693106"/>
              <a:gd name="connsiteY150-5216" fmla="*/ 3560288 h 5321354"/>
              <a:gd name="connsiteX151-5217" fmla="*/ 3801240 w 10693106"/>
              <a:gd name="connsiteY151-5218" fmla="*/ 3450221 h 5321354"/>
              <a:gd name="connsiteX152-5219" fmla="*/ 3733506 w 10693106"/>
              <a:gd name="connsiteY152-5220" fmla="*/ 3348621 h 5321354"/>
              <a:gd name="connsiteX153-5221" fmla="*/ 3242440 w 10693106"/>
              <a:gd name="connsiteY153-5222" fmla="*/ 3128488 h 5321354"/>
              <a:gd name="connsiteX154-5223" fmla="*/ 3123906 w 10693106"/>
              <a:gd name="connsiteY154-5224" fmla="*/ 3026888 h 5321354"/>
              <a:gd name="connsiteX155-5225" fmla="*/ 2988440 w 10693106"/>
              <a:gd name="connsiteY155-5226" fmla="*/ 2832154 h 5321354"/>
              <a:gd name="connsiteX156-5227" fmla="*/ 2971506 w 10693106"/>
              <a:gd name="connsiteY156-5228" fmla="*/ 2772888 h 5321354"/>
              <a:gd name="connsiteX157-5229" fmla="*/ 2996906 w 10693106"/>
              <a:gd name="connsiteY157-5230" fmla="*/ 2561221 h 5321354"/>
              <a:gd name="connsiteX158-5231" fmla="*/ 3013840 w 10693106"/>
              <a:gd name="connsiteY158-5232" fmla="*/ 2459621 h 5321354"/>
              <a:gd name="connsiteX159-5233" fmla="*/ 3005373 w 10693106"/>
              <a:gd name="connsiteY159-5234" fmla="*/ 2341088 h 5321354"/>
              <a:gd name="connsiteX160-5235" fmla="*/ 2988440 w 10693106"/>
              <a:gd name="connsiteY160-5236" fmla="*/ 2290288 h 5321354"/>
              <a:gd name="connsiteX161-5237" fmla="*/ 2802173 w 10693106"/>
              <a:gd name="connsiteY161-5238" fmla="*/ 2036288 h 5321354"/>
              <a:gd name="connsiteX162-5239" fmla="*/ 2641306 w 10693106"/>
              <a:gd name="connsiteY162-5240" fmla="*/ 1892354 h 5321354"/>
              <a:gd name="connsiteX163-5241" fmla="*/ 2590506 w 10693106"/>
              <a:gd name="connsiteY163-5242" fmla="*/ 1866954 h 5321354"/>
              <a:gd name="connsiteX164-5243" fmla="*/ 2531240 w 10693106"/>
              <a:gd name="connsiteY164-5244" fmla="*/ 1858488 h 5321354"/>
              <a:gd name="connsiteX165-5245" fmla="*/ 2446573 w 10693106"/>
              <a:gd name="connsiteY165-5246" fmla="*/ 1841554 h 5321354"/>
              <a:gd name="connsiteX166-5247" fmla="*/ 2251840 w 10693106"/>
              <a:gd name="connsiteY166-5248" fmla="*/ 1866954 h 5321354"/>
              <a:gd name="connsiteX167-5249" fmla="*/ 2167173 w 10693106"/>
              <a:gd name="connsiteY167-5250" fmla="*/ 1909288 h 5321354"/>
              <a:gd name="connsiteX168-5251" fmla="*/ 1980906 w 10693106"/>
              <a:gd name="connsiteY168-5252" fmla="*/ 1968554 h 5321354"/>
              <a:gd name="connsiteX169-5253" fmla="*/ 1904706 w 10693106"/>
              <a:gd name="connsiteY169-5254" fmla="*/ 2002421 h 5321354"/>
              <a:gd name="connsiteX170-5255" fmla="*/ 1828506 w 10693106"/>
              <a:gd name="connsiteY170-5256" fmla="*/ 2019354 h 5321354"/>
              <a:gd name="connsiteX171-5257" fmla="*/ 1726906 w 10693106"/>
              <a:gd name="connsiteY171-5258" fmla="*/ 2070154 h 5321354"/>
              <a:gd name="connsiteX172-5259" fmla="*/ 1659173 w 10693106"/>
              <a:gd name="connsiteY172-5260" fmla="*/ 2104021 h 5321354"/>
              <a:gd name="connsiteX173-5261" fmla="*/ 1498306 w 10693106"/>
              <a:gd name="connsiteY173-5262" fmla="*/ 2129421 h 5321354"/>
              <a:gd name="connsiteX174-5263" fmla="*/ 914106 w 10693106"/>
              <a:gd name="connsiteY174-5264" fmla="*/ 2061688 h 5321354"/>
              <a:gd name="connsiteX175-5265" fmla="*/ 617773 w 10693106"/>
              <a:gd name="connsiteY175-5266" fmla="*/ 1951621 h 5321354"/>
              <a:gd name="connsiteX176-5267" fmla="*/ 516173 w 10693106"/>
              <a:gd name="connsiteY176-5268" fmla="*/ 1866954 h 5321354"/>
              <a:gd name="connsiteX177-5269" fmla="*/ 355306 w 10693106"/>
              <a:gd name="connsiteY177-5270" fmla="*/ 1655288 h 5321354"/>
              <a:gd name="connsiteX178-5271" fmla="*/ 296040 w 10693106"/>
              <a:gd name="connsiteY178-5272" fmla="*/ 1553688 h 5321354"/>
              <a:gd name="connsiteX179-5273" fmla="*/ 253706 w 10693106"/>
              <a:gd name="connsiteY179-5274" fmla="*/ 1375888 h 5321354"/>
              <a:gd name="connsiteX180-5275" fmla="*/ 245240 w 10693106"/>
              <a:gd name="connsiteY180-5276" fmla="*/ 1248888 h 5321354"/>
              <a:gd name="connsiteX181-5277" fmla="*/ 236773 w 10693106"/>
              <a:gd name="connsiteY181-5278" fmla="*/ 1147288 h 5321354"/>
              <a:gd name="connsiteX182-5279" fmla="*/ 245240 w 10693106"/>
              <a:gd name="connsiteY182-5280" fmla="*/ 876354 h 5321354"/>
              <a:gd name="connsiteX183-5281" fmla="*/ 236773 w 10693106"/>
              <a:gd name="connsiteY183-5282" fmla="*/ 732421 h 5321354"/>
              <a:gd name="connsiteX184-5283" fmla="*/ 109773 w 10693106"/>
              <a:gd name="connsiteY184-5284" fmla="*/ 588488 h 5321354"/>
              <a:gd name="connsiteX185-5285" fmla="*/ 58973 w 10693106"/>
              <a:gd name="connsiteY185-5286" fmla="*/ 512288 h 5321354"/>
              <a:gd name="connsiteX186-5287" fmla="*/ 16640 w 10693106"/>
              <a:gd name="connsiteY186-5288" fmla="*/ 461488 h 5321354"/>
              <a:gd name="connsiteX187-5289" fmla="*/ 8173 w 10693106"/>
              <a:gd name="connsiteY187-5290" fmla="*/ 419154 h 5321354"/>
              <a:gd name="connsiteX188-5291" fmla="*/ 16640 w 10693106"/>
              <a:gd name="connsiteY188-5292" fmla="*/ 368354 h 5321354"/>
              <a:gd name="connsiteX0-5293" fmla="*/ 16640 w 10693106"/>
              <a:gd name="connsiteY0-5294" fmla="*/ 368354 h 5321354"/>
              <a:gd name="connsiteX1-5295" fmla="*/ 58973 w 10693106"/>
              <a:gd name="connsiteY1-5296" fmla="*/ 275221 h 5321354"/>
              <a:gd name="connsiteX2-5297" fmla="*/ 109773 w 10693106"/>
              <a:gd name="connsiteY2-5298" fmla="*/ 207488 h 5321354"/>
              <a:gd name="connsiteX3-5299" fmla="*/ 202906 w 10693106"/>
              <a:gd name="connsiteY3-5300" fmla="*/ 122821 h 5321354"/>
              <a:gd name="connsiteX4-5301" fmla="*/ 236773 w 10693106"/>
              <a:gd name="connsiteY4-5302" fmla="*/ 97421 h 5321354"/>
              <a:gd name="connsiteX5-5303" fmla="*/ 346840 w 10693106"/>
              <a:gd name="connsiteY5-5304" fmla="*/ 38154 h 5321354"/>
              <a:gd name="connsiteX6-5305" fmla="*/ 397640 w 10693106"/>
              <a:gd name="connsiteY6-5306" fmla="*/ 4288 h 5321354"/>
              <a:gd name="connsiteX7-5307" fmla="*/ 467297 w 10693106"/>
              <a:gd name="connsiteY7-5308" fmla="*/ 143218 h 5321354"/>
              <a:gd name="connsiteX8-5309" fmla="*/ 492697 w 10693106"/>
              <a:gd name="connsiteY8-5310" fmla="*/ 103579 h 5321354"/>
              <a:gd name="connsiteX9-5311" fmla="*/ 822897 w 10693106"/>
              <a:gd name="connsiteY9-5312" fmla="*/ 112045 h 5321354"/>
              <a:gd name="connsiteX10-5313" fmla="*/ 1091906 w 10693106"/>
              <a:gd name="connsiteY10-5314" fmla="*/ 29688 h 5321354"/>
              <a:gd name="connsiteX11-5315" fmla="*/ 1235840 w 10693106"/>
              <a:gd name="connsiteY11-5316" fmla="*/ 88954 h 5321354"/>
              <a:gd name="connsiteX12-5317" fmla="*/ 1337440 w 10693106"/>
              <a:gd name="connsiteY12-5318" fmla="*/ 165154 h 5321354"/>
              <a:gd name="connsiteX13-5319" fmla="*/ 1422106 w 10693106"/>
              <a:gd name="connsiteY13-5320" fmla="*/ 275221 h 5321354"/>
              <a:gd name="connsiteX14-5321" fmla="*/ 1481373 w 10693106"/>
              <a:gd name="connsiteY14-5322" fmla="*/ 342954 h 5321354"/>
              <a:gd name="connsiteX15-5323" fmla="*/ 1532173 w 10693106"/>
              <a:gd name="connsiteY15-5324" fmla="*/ 376821 h 5321354"/>
              <a:gd name="connsiteX16-5325" fmla="*/ 1684573 w 10693106"/>
              <a:gd name="connsiteY16-5326" fmla="*/ 436088 h 5321354"/>
              <a:gd name="connsiteX17-5327" fmla="*/ 1760773 w 10693106"/>
              <a:gd name="connsiteY17-5328" fmla="*/ 453021 h 5321354"/>
              <a:gd name="connsiteX18-5329" fmla="*/ 1997840 w 10693106"/>
              <a:gd name="connsiteY18-5330" fmla="*/ 444554 h 5321354"/>
              <a:gd name="connsiteX19-5331" fmla="*/ 2116373 w 10693106"/>
              <a:gd name="connsiteY19-5332" fmla="*/ 427621 h 5321354"/>
              <a:gd name="connsiteX20-5333" fmla="*/ 2260306 w 10693106"/>
              <a:gd name="connsiteY20-5334" fmla="*/ 410688 h 5321354"/>
              <a:gd name="connsiteX21-5335" fmla="*/ 2404240 w 10693106"/>
              <a:gd name="connsiteY21-5336" fmla="*/ 385288 h 5321354"/>
              <a:gd name="connsiteX22-5337" fmla="*/ 2455040 w 10693106"/>
              <a:gd name="connsiteY22-5338" fmla="*/ 359888 h 5321354"/>
              <a:gd name="connsiteX23-5339" fmla="*/ 2531240 w 10693106"/>
              <a:gd name="connsiteY23-5340" fmla="*/ 334488 h 5321354"/>
              <a:gd name="connsiteX24-5341" fmla="*/ 2683640 w 10693106"/>
              <a:gd name="connsiteY24-5342" fmla="*/ 207488 h 5321354"/>
              <a:gd name="connsiteX25-5343" fmla="*/ 2768306 w 10693106"/>
              <a:gd name="connsiteY25-5344" fmla="*/ 139754 h 5321354"/>
              <a:gd name="connsiteX26-5345" fmla="*/ 2836040 w 10693106"/>
              <a:gd name="connsiteY26-5346" fmla="*/ 80488 h 5321354"/>
              <a:gd name="connsiteX27-5347" fmla="*/ 2832653 w 10693106"/>
              <a:gd name="connsiteY27-5348" fmla="*/ 197328 h 5321354"/>
              <a:gd name="connsiteX28-5349" fmla="*/ 3002294 w 10693106"/>
              <a:gd name="connsiteY28-5350" fmla="*/ 184012 h 5321354"/>
              <a:gd name="connsiteX29-5351" fmla="*/ 3142763 w 10693106"/>
              <a:gd name="connsiteY29-5352" fmla="*/ 139753 h 5321354"/>
              <a:gd name="connsiteX30-5353" fmla="*/ 3459878 w 10693106"/>
              <a:gd name="connsiteY30-5354" fmla="*/ 54 h 5321354"/>
              <a:gd name="connsiteX31-5355" fmla="*/ 3606506 w 10693106"/>
              <a:gd name="connsiteY31-5356" fmla="*/ 89725 h 5321354"/>
              <a:gd name="connsiteX32-5357" fmla="*/ 3682706 w 10693106"/>
              <a:gd name="connsiteY32-5358" fmla="*/ 109274 h 5321354"/>
              <a:gd name="connsiteX33-5359" fmla="*/ 3741973 w 10693106"/>
              <a:gd name="connsiteY33-5360" fmla="*/ 115893 h 5321354"/>
              <a:gd name="connsiteX34-5361" fmla="*/ 3792773 w 10693106"/>
              <a:gd name="connsiteY34-5362" fmla="*/ 151608 h 5321354"/>
              <a:gd name="connsiteX35-5363" fmla="*/ 3831720 w 10693106"/>
              <a:gd name="connsiteY35-5364" fmla="*/ 166848 h 5321354"/>
              <a:gd name="connsiteX36-5365" fmla="*/ 3896297 w 10693106"/>
              <a:gd name="connsiteY36-5366" fmla="*/ 186321 h 5321354"/>
              <a:gd name="connsiteX37-5367" fmla="*/ 3945173 w 10693106"/>
              <a:gd name="connsiteY37-5368" fmla="*/ 114354 h 5321354"/>
              <a:gd name="connsiteX38-5369" fmla="*/ 3995973 w 10693106"/>
              <a:gd name="connsiteY38-5370" fmla="*/ 139754 h 5321354"/>
              <a:gd name="connsiteX39-5371" fmla="*/ 4021373 w 10693106"/>
              <a:gd name="connsiteY39-5372" fmla="*/ 173621 h 5321354"/>
              <a:gd name="connsiteX40-5373" fmla="*/ 4055240 w 10693106"/>
              <a:gd name="connsiteY40-5374" fmla="*/ 182088 h 5321354"/>
              <a:gd name="connsiteX41-5375" fmla="*/ 4275373 w 10693106"/>
              <a:gd name="connsiteY41-5376" fmla="*/ 224421 h 5321354"/>
              <a:gd name="connsiteX42-5377" fmla="*/ 4402373 w 10693106"/>
              <a:gd name="connsiteY42-5378" fmla="*/ 258288 h 5321354"/>
              <a:gd name="connsiteX43-5379" fmla="*/ 4529373 w 10693106"/>
              <a:gd name="connsiteY43-5380" fmla="*/ 300621 h 5321354"/>
              <a:gd name="connsiteX44-5381" fmla="*/ 4859573 w 10693106"/>
              <a:gd name="connsiteY44-5382" fmla="*/ 376821 h 5321354"/>
              <a:gd name="connsiteX45-5383" fmla="*/ 5045840 w 10693106"/>
              <a:gd name="connsiteY45-5384" fmla="*/ 453021 h 5321354"/>
              <a:gd name="connsiteX46-5385" fmla="*/ 5325240 w 10693106"/>
              <a:gd name="connsiteY46-5386" fmla="*/ 613888 h 5321354"/>
              <a:gd name="connsiteX47-5387" fmla="*/ 5494573 w 10693106"/>
              <a:gd name="connsiteY47-5388" fmla="*/ 766288 h 5321354"/>
              <a:gd name="connsiteX48-5389" fmla="*/ 5562306 w 10693106"/>
              <a:gd name="connsiteY48-5390" fmla="*/ 842488 h 5321354"/>
              <a:gd name="connsiteX49-5391" fmla="*/ 5621573 w 10693106"/>
              <a:gd name="connsiteY49-5392" fmla="*/ 893288 h 5321354"/>
              <a:gd name="connsiteX50-5393" fmla="*/ 5672373 w 10693106"/>
              <a:gd name="connsiteY50-5394" fmla="*/ 961021 h 5321354"/>
              <a:gd name="connsiteX51-5395" fmla="*/ 5757040 w 10693106"/>
              <a:gd name="connsiteY51-5396" fmla="*/ 1062621 h 5321354"/>
              <a:gd name="connsiteX52-5397" fmla="*/ 5833240 w 10693106"/>
              <a:gd name="connsiteY52-5398" fmla="*/ 1155754 h 5321354"/>
              <a:gd name="connsiteX53-5399" fmla="*/ 6019506 w 10693106"/>
              <a:gd name="connsiteY53-5400" fmla="*/ 1358954 h 5321354"/>
              <a:gd name="connsiteX54-5401" fmla="*/ 6087240 w 10693106"/>
              <a:gd name="connsiteY54-5402" fmla="*/ 1409754 h 5321354"/>
              <a:gd name="connsiteX55-5403" fmla="*/ 6171906 w 10693106"/>
              <a:gd name="connsiteY55-5404" fmla="*/ 1511354 h 5321354"/>
              <a:gd name="connsiteX56-5405" fmla="*/ 6451306 w 10693106"/>
              <a:gd name="connsiteY56-5406" fmla="*/ 1723021 h 5321354"/>
              <a:gd name="connsiteX57-5407" fmla="*/ 6519040 w 10693106"/>
              <a:gd name="connsiteY57-5408" fmla="*/ 1731488 h 5321354"/>
              <a:gd name="connsiteX58-5409" fmla="*/ 6603706 w 10693106"/>
              <a:gd name="connsiteY58-5410" fmla="*/ 1765354 h 5321354"/>
              <a:gd name="connsiteX59-5411" fmla="*/ 6671440 w 10693106"/>
              <a:gd name="connsiteY59-5412" fmla="*/ 1799221 h 5321354"/>
              <a:gd name="connsiteX60-5413" fmla="*/ 6866173 w 10693106"/>
              <a:gd name="connsiteY60-5414" fmla="*/ 1824621 h 5321354"/>
              <a:gd name="connsiteX61-5415" fmla="*/ 7196373 w 10693106"/>
              <a:gd name="connsiteY61-5416" fmla="*/ 1807688 h 5321354"/>
              <a:gd name="connsiteX62-5417" fmla="*/ 7509640 w 10693106"/>
              <a:gd name="connsiteY62-5418" fmla="*/ 1731488 h 5321354"/>
              <a:gd name="connsiteX63-5419" fmla="*/ 7628173 w 10693106"/>
              <a:gd name="connsiteY63-5420" fmla="*/ 1706088 h 5321354"/>
              <a:gd name="connsiteX64-5421" fmla="*/ 7704373 w 10693106"/>
              <a:gd name="connsiteY64-5422" fmla="*/ 1663754 h 5321354"/>
              <a:gd name="connsiteX65-5423" fmla="*/ 7755173 w 10693106"/>
              <a:gd name="connsiteY65-5424" fmla="*/ 1655288 h 5321354"/>
              <a:gd name="connsiteX66-5425" fmla="*/ 7797506 w 10693106"/>
              <a:gd name="connsiteY66-5426" fmla="*/ 1621421 h 5321354"/>
              <a:gd name="connsiteX67-5427" fmla="*/ 7856773 w 10693106"/>
              <a:gd name="connsiteY67-5428" fmla="*/ 1604488 h 5321354"/>
              <a:gd name="connsiteX68-5429" fmla="*/ 7958373 w 10693106"/>
              <a:gd name="connsiteY68-5430" fmla="*/ 1536754 h 5321354"/>
              <a:gd name="connsiteX69-5431" fmla="*/ 8009173 w 10693106"/>
              <a:gd name="connsiteY69-5432" fmla="*/ 1485954 h 5321354"/>
              <a:gd name="connsiteX70-5433" fmla="*/ 8339373 w 10693106"/>
              <a:gd name="connsiteY70-5434" fmla="*/ 1240421 h 5321354"/>
              <a:gd name="connsiteX71-5435" fmla="*/ 8576440 w 10693106"/>
              <a:gd name="connsiteY71-5436" fmla="*/ 986421 h 5321354"/>
              <a:gd name="connsiteX72-5437" fmla="*/ 8652640 w 10693106"/>
              <a:gd name="connsiteY72-5438" fmla="*/ 707021 h 5321354"/>
              <a:gd name="connsiteX73-5439" fmla="*/ 8847373 w 10693106"/>
              <a:gd name="connsiteY73-5440" fmla="*/ 520754 h 5321354"/>
              <a:gd name="connsiteX74-5441" fmla="*/ 8982840 w 10693106"/>
              <a:gd name="connsiteY74-5442" fmla="*/ 427621 h 5321354"/>
              <a:gd name="connsiteX75-5443" fmla="*/ 9084440 w 10693106"/>
              <a:gd name="connsiteY75-5444" fmla="*/ 393754 h 5321354"/>
              <a:gd name="connsiteX76-5445" fmla="*/ 9152173 w 10693106"/>
              <a:gd name="connsiteY76-5446" fmla="*/ 368354 h 5321354"/>
              <a:gd name="connsiteX77-5447" fmla="*/ 9380773 w 10693106"/>
              <a:gd name="connsiteY77-5448" fmla="*/ 385288 h 5321354"/>
              <a:gd name="connsiteX78-5449" fmla="*/ 9744840 w 10693106"/>
              <a:gd name="connsiteY78-5450" fmla="*/ 495354 h 5321354"/>
              <a:gd name="connsiteX79-5451" fmla="*/ 9888773 w 10693106"/>
              <a:gd name="connsiteY79-5452" fmla="*/ 537688 h 5321354"/>
              <a:gd name="connsiteX80-5453" fmla="*/ 9998840 w 10693106"/>
              <a:gd name="connsiteY80-5454" fmla="*/ 588488 h 5321354"/>
              <a:gd name="connsiteX81-5455" fmla="*/ 10083506 w 10693106"/>
              <a:gd name="connsiteY81-5456" fmla="*/ 647754 h 5321354"/>
              <a:gd name="connsiteX82-5457" fmla="*/ 10286706 w 10693106"/>
              <a:gd name="connsiteY82-5458" fmla="*/ 715488 h 5321354"/>
              <a:gd name="connsiteX83-5459" fmla="*/ 10388306 w 10693106"/>
              <a:gd name="connsiteY83-5460" fmla="*/ 918688 h 5321354"/>
              <a:gd name="connsiteX84-5461" fmla="*/ 10540706 w 10693106"/>
              <a:gd name="connsiteY84-5462" fmla="*/ 1291221 h 5321354"/>
              <a:gd name="connsiteX85-5463" fmla="*/ 10557640 w 10693106"/>
              <a:gd name="connsiteY85-5464" fmla="*/ 1375888 h 5321354"/>
              <a:gd name="connsiteX86-5465" fmla="*/ 10583040 w 10693106"/>
              <a:gd name="connsiteY86-5466" fmla="*/ 1477488 h 5321354"/>
              <a:gd name="connsiteX87-5467" fmla="*/ 10616906 w 10693106"/>
              <a:gd name="connsiteY87-5468" fmla="*/ 1680688 h 5321354"/>
              <a:gd name="connsiteX88-5469" fmla="*/ 10633840 w 10693106"/>
              <a:gd name="connsiteY88-5470" fmla="*/ 1765354 h 5321354"/>
              <a:gd name="connsiteX89-5471" fmla="*/ 10650773 w 10693106"/>
              <a:gd name="connsiteY89-5472" fmla="*/ 1799221 h 5321354"/>
              <a:gd name="connsiteX90-5473" fmla="*/ 10676173 w 10693106"/>
              <a:gd name="connsiteY90-5474" fmla="*/ 1883888 h 5321354"/>
              <a:gd name="connsiteX91-5475" fmla="*/ 10693106 w 10693106"/>
              <a:gd name="connsiteY91-5476" fmla="*/ 2036288 h 5321354"/>
              <a:gd name="connsiteX92-5477" fmla="*/ 10625373 w 10693106"/>
              <a:gd name="connsiteY92-5478" fmla="*/ 2256421 h 5321354"/>
              <a:gd name="connsiteX93-5479" fmla="*/ 10608440 w 10693106"/>
              <a:gd name="connsiteY93-5480" fmla="*/ 2281821 h 5321354"/>
              <a:gd name="connsiteX94-5481" fmla="*/ 10540706 w 10693106"/>
              <a:gd name="connsiteY94-5482" fmla="*/ 2425754 h 5321354"/>
              <a:gd name="connsiteX95-5483" fmla="*/ 10498373 w 10693106"/>
              <a:gd name="connsiteY95-5484" fmla="*/ 2510421 h 5321354"/>
              <a:gd name="connsiteX96-5485" fmla="*/ 10439106 w 10693106"/>
              <a:gd name="connsiteY96-5486" fmla="*/ 2696688 h 5321354"/>
              <a:gd name="connsiteX97-5487" fmla="*/ 10430640 w 10693106"/>
              <a:gd name="connsiteY97-5488" fmla="*/ 2739021 h 5321354"/>
              <a:gd name="connsiteX98-5489" fmla="*/ 10405240 w 10693106"/>
              <a:gd name="connsiteY98-5490" fmla="*/ 2815221 h 5321354"/>
              <a:gd name="connsiteX99-5491" fmla="*/ 10396773 w 10693106"/>
              <a:gd name="connsiteY99-5492" fmla="*/ 2849088 h 5321354"/>
              <a:gd name="connsiteX100-5493" fmla="*/ 10362906 w 10693106"/>
              <a:gd name="connsiteY100-5494" fmla="*/ 2942221 h 5321354"/>
              <a:gd name="connsiteX101-5495" fmla="*/ 10329040 w 10693106"/>
              <a:gd name="connsiteY101-5496" fmla="*/ 2984554 h 5321354"/>
              <a:gd name="connsiteX102-5497" fmla="*/ 10227440 w 10693106"/>
              <a:gd name="connsiteY102-5498" fmla="*/ 3086154 h 5321354"/>
              <a:gd name="connsiteX103-5499" fmla="*/ 10168173 w 10693106"/>
              <a:gd name="connsiteY103-5500" fmla="*/ 3153888 h 5321354"/>
              <a:gd name="connsiteX104-5501" fmla="*/ 10117373 w 10693106"/>
              <a:gd name="connsiteY104-5502" fmla="*/ 3204688 h 5321354"/>
              <a:gd name="connsiteX105-5503" fmla="*/ 10032706 w 10693106"/>
              <a:gd name="connsiteY105-5504" fmla="*/ 3306288 h 5321354"/>
              <a:gd name="connsiteX106-5505" fmla="*/ 9948040 w 10693106"/>
              <a:gd name="connsiteY106-5506" fmla="*/ 3365554 h 5321354"/>
              <a:gd name="connsiteX107-5507" fmla="*/ 9905706 w 10693106"/>
              <a:gd name="connsiteY107-5508" fmla="*/ 3390954 h 5321354"/>
              <a:gd name="connsiteX108-5509" fmla="*/ 9829506 w 10693106"/>
              <a:gd name="connsiteY108-5510" fmla="*/ 3407888 h 5321354"/>
              <a:gd name="connsiteX109-5511" fmla="*/ 9727906 w 10693106"/>
              <a:gd name="connsiteY109-5512" fmla="*/ 3450221 h 5321354"/>
              <a:gd name="connsiteX110-5513" fmla="*/ 9634773 w 10693106"/>
              <a:gd name="connsiteY110-5514" fmla="*/ 3475621 h 5321354"/>
              <a:gd name="connsiteX111-5515" fmla="*/ 9456973 w 10693106"/>
              <a:gd name="connsiteY111-5516" fmla="*/ 3568754 h 5321354"/>
              <a:gd name="connsiteX112-5517" fmla="*/ 9313040 w 10693106"/>
              <a:gd name="connsiteY112-5518" fmla="*/ 3695754 h 5321354"/>
              <a:gd name="connsiteX113-5519" fmla="*/ 9279173 w 10693106"/>
              <a:gd name="connsiteY113-5520" fmla="*/ 3712688 h 5321354"/>
              <a:gd name="connsiteX114-5521" fmla="*/ 9067506 w 10693106"/>
              <a:gd name="connsiteY114-5522" fmla="*/ 3890488 h 5321354"/>
              <a:gd name="connsiteX115-5523" fmla="*/ 8999773 w 10693106"/>
              <a:gd name="connsiteY115-5524" fmla="*/ 3958221 h 5321354"/>
              <a:gd name="connsiteX116-5525" fmla="*/ 8813506 w 10693106"/>
              <a:gd name="connsiteY116-5526" fmla="*/ 4093688 h 5321354"/>
              <a:gd name="connsiteX117-5527" fmla="*/ 8728840 w 10693106"/>
              <a:gd name="connsiteY117-5528" fmla="*/ 4136021 h 5321354"/>
              <a:gd name="connsiteX118-5529" fmla="*/ 8373240 w 10693106"/>
              <a:gd name="connsiteY118-5530" fmla="*/ 4169888 h 5321354"/>
              <a:gd name="connsiteX119-5531" fmla="*/ 7966840 w 10693106"/>
              <a:gd name="connsiteY119-5532" fmla="*/ 4263021 h 5321354"/>
              <a:gd name="connsiteX120-5533" fmla="*/ 7687440 w 10693106"/>
              <a:gd name="connsiteY120-5534" fmla="*/ 4423888 h 5321354"/>
              <a:gd name="connsiteX121-5535" fmla="*/ 7551973 w 10693106"/>
              <a:gd name="connsiteY121-5536" fmla="*/ 4508554 h 5321354"/>
              <a:gd name="connsiteX122-5537" fmla="*/ 7374173 w 10693106"/>
              <a:gd name="connsiteY122-5538" fmla="*/ 4686354 h 5321354"/>
              <a:gd name="connsiteX123-5539" fmla="*/ 7374173 w 10693106"/>
              <a:gd name="connsiteY123-5540" fmla="*/ 4686354 h 5321354"/>
              <a:gd name="connsiteX124-5541" fmla="*/ 7221773 w 10693106"/>
              <a:gd name="connsiteY124-5542" fmla="*/ 4804888 h 5321354"/>
              <a:gd name="connsiteX125-5543" fmla="*/ 7027040 w 10693106"/>
              <a:gd name="connsiteY125-5544" fmla="*/ 4931888 h 5321354"/>
              <a:gd name="connsiteX126-5545" fmla="*/ 6883106 w 10693106"/>
              <a:gd name="connsiteY126-5546" fmla="*/ 4999621 h 5321354"/>
              <a:gd name="connsiteX127-5547" fmla="*/ 6815373 w 10693106"/>
              <a:gd name="connsiteY127-5548" fmla="*/ 5041954 h 5321354"/>
              <a:gd name="connsiteX128-5549" fmla="*/ 6646040 w 10693106"/>
              <a:gd name="connsiteY128-5550" fmla="*/ 5135088 h 5321354"/>
              <a:gd name="connsiteX129-5551" fmla="*/ 6527506 w 10693106"/>
              <a:gd name="connsiteY129-5552" fmla="*/ 5194354 h 5321354"/>
              <a:gd name="connsiteX130-5553" fmla="*/ 6298906 w 10693106"/>
              <a:gd name="connsiteY130-5554" fmla="*/ 5270554 h 5321354"/>
              <a:gd name="connsiteX131-5555" fmla="*/ 6197306 w 10693106"/>
              <a:gd name="connsiteY131-5556" fmla="*/ 5295954 h 5321354"/>
              <a:gd name="connsiteX132-5557" fmla="*/ 6061840 w 10693106"/>
              <a:gd name="connsiteY132-5558" fmla="*/ 5304421 h 5321354"/>
              <a:gd name="connsiteX133-5559" fmla="*/ 5917906 w 10693106"/>
              <a:gd name="connsiteY133-5560" fmla="*/ 5321354 h 5321354"/>
              <a:gd name="connsiteX134-5561" fmla="*/ 5748573 w 10693106"/>
              <a:gd name="connsiteY134-5562" fmla="*/ 5312888 h 5321354"/>
              <a:gd name="connsiteX135-5563" fmla="*/ 5282906 w 10693106"/>
              <a:gd name="connsiteY135-5564" fmla="*/ 5202821 h 5321354"/>
              <a:gd name="connsiteX136-5565" fmla="*/ 5138973 w 10693106"/>
              <a:gd name="connsiteY136-5566" fmla="*/ 5101221 h 5321354"/>
              <a:gd name="connsiteX137-5567" fmla="*/ 5020440 w 10693106"/>
              <a:gd name="connsiteY137-5568" fmla="*/ 4948821 h 5321354"/>
              <a:gd name="connsiteX138-5569" fmla="*/ 4952706 w 10693106"/>
              <a:gd name="connsiteY138-5570" fmla="*/ 4872621 h 5321354"/>
              <a:gd name="connsiteX139-5571" fmla="*/ 4884973 w 10693106"/>
              <a:gd name="connsiteY139-5572" fmla="*/ 4804888 h 5321354"/>
              <a:gd name="connsiteX140-5573" fmla="*/ 4732573 w 10693106"/>
              <a:gd name="connsiteY140-5574" fmla="*/ 4627088 h 5321354"/>
              <a:gd name="connsiteX141-5575" fmla="*/ 4673306 w 10693106"/>
              <a:gd name="connsiteY141-5576" fmla="*/ 4559354 h 5321354"/>
              <a:gd name="connsiteX142-5577" fmla="*/ 4487040 w 10693106"/>
              <a:gd name="connsiteY142-5578" fmla="*/ 4432354 h 5321354"/>
              <a:gd name="connsiteX143-5579" fmla="*/ 4427773 w 10693106"/>
              <a:gd name="connsiteY143-5580" fmla="*/ 4398488 h 5321354"/>
              <a:gd name="connsiteX144-5581" fmla="*/ 4343106 w 10693106"/>
              <a:gd name="connsiteY144-5582" fmla="*/ 4364621 h 5321354"/>
              <a:gd name="connsiteX145-5583" fmla="*/ 4224573 w 10693106"/>
              <a:gd name="connsiteY145-5584" fmla="*/ 4288421 h 5321354"/>
              <a:gd name="connsiteX146-5585" fmla="*/ 4156840 w 10693106"/>
              <a:gd name="connsiteY146-5586" fmla="*/ 4229154 h 5321354"/>
              <a:gd name="connsiteX147-5587" fmla="*/ 4021373 w 10693106"/>
              <a:gd name="connsiteY147-5588" fmla="*/ 4085221 h 5321354"/>
              <a:gd name="connsiteX148-5589" fmla="*/ 3919773 w 10693106"/>
              <a:gd name="connsiteY148-5590" fmla="*/ 3949754 h 5321354"/>
              <a:gd name="connsiteX149-5591" fmla="*/ 3877440 w 10693106"/>
              <a:gd name="connsiteY149-5592" fmla="*/ 3653421 h 5321354"/>
              <a:gd name="connsiteX150-5593" fmla="*/ 3852040 w 10693106"/>
              <a:gd name="connsiteY150-5594" fmla="*/ 3560288 h 5321354"/>
              <a:gd name="connsiteX151-5595" fmla="*/ 3801240 w 10693106"/>
              <a:gd name="connsiteY151-5596" fmla="*/ 3450221 h 5321354"/>
              <a:gd name="connsiteX152-5597" fmla="*/ 3733506 w 10693106"/>
              <a:gd name="connsiteY152-5598" fmla="*/ 3348621 h 5321354"/>
              <a:gd name="connsiteX153-5599" fmla="*/ 3242440 w 10693106"/>
              <a:gd name="connsiteY153-5600" fmla="*/ 3128488 h 5321354"/>
              <a:gd name="connsiteX154-5601" fmla="*/ 3123906 w 10693106"/>
              <a:gd name="connsiteY154-5602" fmla="*/ 3026888 h 5321354"/>
              <a:gd name="connsiteX155-5603" fmla="*/ 2988440 w 10693106"/>
              <a:gd name="connsiteY155-5604" fmla="*/ 2832154 h 5321354"/>
              <a:gd name="connsiteX156-5605" fmla="*/ 2971506 w 10693106"/>
              <a:gd name="connsiteY156-5606" fmla="*/ 2772888 h 5321354"/>
              <a:gd name="connsiteX157-5607" fmla="*/ 2996906 w 10693106"/>
              <a:gd name="connsiteY157-5608" fmla="*/ 2561221 h 5321354"/>
              <a:gd name="connsiteX158-5609" fmla="*/ 3013840 w 10693106"/>
              <a:gd name="connsiteY158-5610" fmla="*/ 2459621 h 5321354"/>
              <a:gd name="connsiteX159-5611" fmla="*/ 3005373 w 10693106"/>
              <a:gd name="connsiteY159-5612" fmla="*/ 2341088 h 5321354"/>
              <a:gd name="connsiteX160-5613" fmla="*/ 2988440 w 10693106"/>
              <a:gd name="connsiteY160-5614" fmla="*/ 2290288 h 5321354"/>
              <a:gd name="connsiteX161-5615" fmla="*/ 2802173 w 10693106"/>
              <a:gd name="connsiteY161-5616" fmla="*/ 2036288 h 5321354"/>
              <a:gd name="connsiteX162-5617" fmla="*/ 2641306 w 10693106"/>
              <a:gd name="connsiteY162-5618" fmla="*/ 1892354 h 5321354"/>
              <a:gd name="connsiteX163-5619" fmla="*/ 2590506 w 10693106"/>
              <a:gd name="connsiteY163-5620" fmla="*/ 1866954 h 5321354"/>
              <a:gd name="connsiteX164-5621" fmla="*/ 2531240 w 10693106"/>
              <a:gd name="connsiteY164-5622" fmla="*/ 1858488 h 5321354"/>
              <a:gd name="connsiteX165-5623" fmla="*/ 2446573 w 10693106"/>
              <a:gd name="connsiteY165-5624" fmla="*/ 1841554 h 5321354"/>
              <a:gd name="connsiteX166-5625" fmla="*/ 2251840 w 10693106"/>
              <a:gd name="connsiteY166-5626" fmla="*/ 1866954 h 5321354"/>
              <a:gd name="connsiteX167-5627" fmla="*/ 2167173 w 10693106"/>
              <a:gd name="connsiteY167-5628" fmla="*/ 1909288 h 5321354"/>
              <a:gd name="connsiteX168-5629" fmla="*/ 1980906 w 10693106"/>
              <a:gd name="connsiteY168-5630" fmla="*/ 1968554 h 5321354"/>
              <a:gd name="connsiteX169-5631" fmla="*/ 1904706 w 10693106"/>
              <a:gd name="connsiteY169-5632" fmla="*/ 2002421 h 5321354"/>
              <a:gd name="connsiteX170-5633" fmla="*/ 1828506 w 10693106"/>
              <a:gd name="connsiteY170-5634" fmla="*/ 2019354 h 5321354"/>
              <a:gd name="connsiteX171-5635" fmla="*/ 1726906 w 10693106"/>
              <a:gd name="connsiteY171-5636" fmla="*/ 2070154 h 5321354"/>
              <a:gd name="connsiteX172-5637" fmla="*/ 1659173 w 10693106"/>
              <a:gd name="connsiteY172-5638" fmla="*/ 2104021 h 5321354"/>
              <a:gd name="connsiteX173-5639" fmla="*/ 1498306 w 10693106"/>
              <a:gd name="connsiteY173-5640" fmla="*/ 2129421 h 5321354"/>
              <a:gd name="connsiteX174-5641" fmla="*/ 914106 w 10693106"/>
              <a:gd name="connsiteY174-5642" fmla="*/ 2061688 h 5321354"/>
              <a:gd name="connsiteX175-5643" fmla="*/ 617773 w 10693106"/>
              <a:gd name="connsiteY175-5644" fmla="*/ 1951621 h 5321354"/>
              <a:gd name="connsiteX176-5645" fmla="*/ 516173 w 10693106"/>
              <a:gd name="connsiteY176-5646" fmla="*/ 1866954 h 5321354"/>
              <a:gd name="connsiteX177-5647" fmla="*/ 355306 w 10693106"/>
              <a:gd name="connsiteY177-5648" fmla="*/ 1655288 h 5321354"/>
              <a:gd name="connsiteX178-5649" fmla="*/ 296040 w 10693106"/>
              <a:gd name="connsiteY178-5650" fmla="*/ 1553688 h 5321354"/>
              <a:gd name="connsiteX179-5651" fmla="*/ 253706 w 10693106"/>
              <a:gd name="connsiteY179-5652" fmla="*/ 1375888 h 5321354"/>
              <a:gd name="connsiteX180-5653" fmla="*/ 245240 w 10693106"/>
              <a:gd name="connsiteY180-5654" fmla="*/ 1248888 h 5321354"/>
              <a:gd name="connsiteX181-5655" fmla="*/ 236773 w 10693106"/>
              <a:gd name="connsiteY181-5656" fmla="*/ 1147288 h 5321354"/>
              <a:gd name="connsiteX182-5657" fmla="*/ 245240 w 10693106"/>
              <a:gd name="connsiteY182-5658" fmla="*/ 876354 h 5321354"/>
              <a:gd name="connsiteX183-5659" fmla="*/ 236773 w 10693106"/>
              <a:gd name="connsiteY183-5660" fmla="*/ 732421 h 5321354"/>
              <a:gd name="connsiteX184-5661" fmla="*/ 109773 w 10693106"/>
              <a:gd name="connsiteY184-5662" fmla="*/ 588488 h 5321354"/>
              <a:gd name="connsiteX185-5663" fmla="*/ 58973 w 10693106"/>
              <a:gd name="connsiteY185-5664" fmla="*/ 512288 h 5321354"/>
              <a:gd name="connsiteX186-5665" fmla="*/ 16640 w 10693106"/>
              <a:gd name="connsiteY186-5666" fmla="*/ 461488 h 5321354"/>
              <a:gd name="connsiteX187-5667" fmla="*/ 8173 w 10693106"/>
              <a:gd name="connsiteY187-5668" fmla="*/ 419154 h 5321354"/>
              <a:gd name="connsiteX188-5669" fmla="*/ 16640 w 10693106"/>
              <a:gd name="connsiteY188-5670" fmla="*/ 368354 h 5321354"/>
              <a:gd name="connsiteX0-5671" fmla="*/ 16640 w 10693106"/>
              <a:gd name="connsiteY0-5672" fmla="*/ 368354 h 5321354"/>
              <a:gd name="connsiteX1-5673" fmla="*/ 58973 w 10693106"/>
              <a:gd name="connsiteY1-5674" fmla="*/ 275221 h 5321354"/>
              <a:gd name="connsiteX2-5675" fmla="*/ 109773 w 10693106"/>
              <a:gd name="connsiteY2-5676" fmla="*/ 207488 h 5321354"/>
              <a:gd name="connsiteX3-5677" fmla="*/ 202906 w 10693106"/>
              <a:gd name="connsiteY3-5678" fmla="*/ 122821 h 5321354"/>
              <a:gd name="connsiteX4-5679" fmla="*/ 236773 w 10693106"/>
              <a:gd name="connsiteY4-5680" fmla="*/ 97421 h 5321354"/>
              <a:gd name="connsiteX5-5681" fmla="*/ 346840 w 10693106"/>
              <a:gd name="connsiteY5-5682" fmla="*/ 38154 h 5321354"/>
              <a:gd name="connsiteX6-5683" fmla="*/ 397640 w 10693106"/>
              <a:gd name="connsiteY6-5684" fmla="*/ 4288 h 5321354"/>
              <a:gd name="connsiteX7-5685" fmla="*/ 467297 w 10693106"/>
              <a:gd name="connsiteY7-5686" fmla="*/ 143218 h 5321354"/>
              <a:gd name="connsiteX8-5687" fmla="*/ 492697 w 10693106"/>
              <a:gd name="connsiteY8-5688" fmla="*/ 103579 h 5321354"/>
              <a:gd name="connsiteX9-5689" fmla="*/ 822897 w 10693106"/>
              <a:gd name="connsiteY9-5690" fmla="*/ 112045 h 5321354"/>
              <a:gd name="connsiteX10-5691" fmla="*/ 1091906 w 10693106"/>
              <a:gd name="connsiteY10-5692" fmla="*/ 29688 h 5321354"/>
              <a:gd name="connsiteX11-5693" fmla="*/ 1235840 w 10693106"/>
              <a:gd name="connsiteY11-5694" fmla="*/ 88954 h 5321354"/>
              <a:gd name="connsiteX12-5695" fmla="*/ 1337440 w 10693106"/>
              <a:gd name="connsiteY12-5696" fmla="*/ 165154 h 5321354"/>
              <a:gd name="connsiteX13-5697" fmla="*/ 1422106 w 10693106"/>
              <a:gd name="connsiteY13-5698" fmla="*/ 275221 h 5321354"/>
              <a:gd name="connsiteX14-5699" fmla="*/ 1481373 w 10693106"/>
              <a:gd name="connsiteY14-5700" fmla="*/ 342954 h 5321354"/>
              <a:gd name="connsiteX15-5701" fmla="*/ 1532173 w 10693106"/>
              <a:gd name="connsiteY15-5702" fmla="*/ 376821 h 5321354"/>
              <a:gd name="connsiteX16-5703" fmla="*/ 1684573 w 10693106"/>
              <a:gd name="connsiteY16-5704" fmla="*/ 436088 h 5321354"/>
              <a:gd name="connsiteX17-5705" fmla="*/ 1760773 w 10693106"/>
              <a:gd name="connsiteY17-5706" fmla="*/ 453021 h 5321354"/>
              <a:gd name="connsiteX18-5707" fmla="*/ 1997840 w 10693106"/>
              <a:gd name="connsiteY18-5708" fmla="*/ 444554 h 5321354"/>
              <a:gd name="connsiteX19-5709" fmla="*/ 2116373 w 10693106"/>
              <a:gd name="connsiteY19-5710" fmla="*/ 427621 h 5321354"/>
              <a:gd name="connsiteX20-5711" fmla="*/ 2260306 w 10693106"/>
              <a:gd name="connsiteY20-5712" fmla="*/ 410688 h 5321354"/>
              <a:gd name="connsiteX21-5713" fmla="*/ 2404240 w 10693106"/>
              <a:gd name="connsiteY21-5714" fmla="*/ 385288 h 5321354"/>
              <a:gd name="connsiteX22-5715" fmla="*/ 2455040 w 10693106"/>
              <a:gd name="connsiteY22-5716" fmla="*/ 359888 h 5321354"/>
              <a:gd name="connsiteX23-5717" fmla="*/ 2531240 w 10693106"/>
              <a:gd name="connsiteY23-5718" fmla="*/ 334488 h 5321354"/>
              <a:gd name="connsiteX24-5719" fmla="*/ 2683640 w 10693106"/>
              <a:gd name="connsiteY24-5720" fmla="*/ 207488 h 5321354"/>
              <a:gd name="connsiteX25-5721" fmla="*/ 2768306 w 10693106"/>
              <a:gd name="connsiteY25-5722" fmla="*/ 139754 h 5321354"/>
              <a:gd name="connsiteX26-5723" fmla="*/ 2764920 w 10693106"/>
              <a:gd name="connsiteY26-5724" fmla="*/ 202408 h 5321354"/>
              <a:gd name="connsiteX27-5725" fmla="*/ 2832653 w 10693106"/>
              <a:gd name="connsiteY27-5726" fmla="*/ 197328 h 5321354"/>
              <a:gd name="connsiteX28-5727" fmla="*/ 3002294 w 10693106"/>
              <a:gd name="connsiteY28-5728" fmla="*/ 184012 h 5321354"/>
              <a:gd name="connsiteX29-5729" fmla="*/ 3142763 w 10693106"/>
              <a:gd name="connsiteY29-5730" fmla="*/ 139753 h 5321354"/>
              <a:gd name="connsiteX30-5731" fmla="*/ 3459878 w 10693106"/>
              <a:gd name="connsiteY30-5732" fmla="*/ 54 h 5321354"/>
              <a:gd name="connsiteX31-5733" fmla="*/ 3606506 w 10693106"/>
              <a:gd name="connsiteY31-5734" fmla="*/ 89725 h 5321354"/>
              <a:gd name="connsiteX32-5735" fmla="*/ 3682706 w 10693106"/>
              <a:gd name="connsiteY32-5736" fmla="*/ 109274 h 5321354"/>
              <a:gd name="connsiteX33-5737" fmla="*/ 3741973 w 10693106"/>
              <a:gd name="connsiteY33-5738" fmla="*/ 115893 h 5321354"/>
              <a:gd name="connsiteX34-5739" fmla="*/ 3792773 w 10693106"/>
              <a:gd name="connsiteY34-5740" fmla="*/ 151608 h 5321354"/>
              <a:gd name="connsiteX35-5741" fmla="*/ 3831720 w 10693106"/>
              <a:gd name="connsiteY35-5742" fmla="*/ 166848 h 5321354"/>
              <a:gd name="connsiteX36-5743" fmla="*/ 3896297 w 10693106"/>
              <a:gd name="connsiteY36-5744" fmla="*/ 186321 h 5321354"/>
              <a:gd name="connsiteX37-5745" fmla="*/ 3945173 w 10693106"/>
              <a:gd name="connsiteY37-5746" fmla="*/ 114354 h 5321354"/>
              <a:gd name="connsiteX38-5747" fmla="*/ 3995973 w 10693106"/>
              <a:gd name="connsiteY38-5748" fmla="*/ 139754 h 5321354"/>
              <a:gd name="connsiteX39-5749" fmla="*/ 4021373 w 10693106"/>
              <a:gd name="connsiteY39-5750" fmla="*/ 173621 h 5321354"/>
              <a:gd name="connsiteX40-5751" fmla="*/ 4055240 w 10693106"/>
              <a:gd name="connsiteY40-5752" fmla="*/ 182088 h 5321354"/>
              <a:gd name="connsiteX41-5753" fmla="*/ 4275373 w 10693106"/>
              <a:gd name="connsiteY41-5754" fmla="*/ 224421 h 5321354"/>
              <a:gd name="connsiteX42-5755" fmla="*/ 4402373 w 10693106"/>
              <a:gd name="connsiteY42-5756" fmla="*/ 258288 h 5321354"/>
              <a:gd name="connsiteX43-5757" fmla="*/ 4529373 w 10693106"/>
              <a:gd name="connsiteY43-5758" fmla="*/ 300621 h 5321354"/>
              <a:gd name="connsiteX44-5759" fmla="*/ 4859573 w 10693106"/>
              <a:gd name="connsiteY44-5760" fmla="*/ 376821 h 5321354"/>
              <a:gd name="connsiteX45-5761" fmla="*/ 5045840 w 10693106"/>
              <a:gd name="connsiteY45-5762" fmla="*/ 453021 h 5321354"/>
              <a:gd name="connsiteX46-5763" fmla="*/ 5325240 w 10693106"/>
              <a:gd name="connsiteY46-5764" fmla="*/ 613888 h 5321354"/>
              <a:gd name="connsiteX47-5765" fmla="*/ 5494573 w 10693106"/>
              <a:gd name="connsiteY47-5766" fmla="*/ 766288 h 5321354"/>
              <a:gd name="connsiteX48-5767" fmla="*/ 5562306 w 10693106"/>
              <a:gd name="connsiteY48-5768" fmla="*/ 842488 h 5321354"/>
              <a:gd name="connsiteX49-5769" fmla="*/ 5621573 w 10693106"/>
              <a:gd name="connsiteY49-5770" fmla="*/ 893288 h 5321354"/>
              <a:gd name="connsiteX50-5771" fmla="*/ 5672373 w 10693106"/>
              <a:gd name="connsiteY50-5772" fmla="*/ 961021 h 5321354"/>
              <a:gd name="connsiteX51-5773" fmla="*/ 5757040 w 10693106"/>
              <a:gd name="connsiteY51-5774" fmla="*/ 1062621 h 5321354"/>
              <a:gd name="connsiteX52-5775" fmla="*/ 5833240 w 10693106"/>
              <a:gd name="connsiteY52-5776" fmla="*/ 1155754 h 5321354"/>
              <a:gd name="connsiteX53-5777" fmla="*/ 6019506 w 10693106"/>
              <a:gd name="connsiteY53-5778" fmla="*/ 1358954 h 5321354"/>
              <a:gd name="connsiteX54-5779" fmla="*/ 6087240 w 10693106"/>
              <a:gd name="connsiteY54-5780" fmla="*/ 1409754 h 5321354"/>
              <a:gd name="connsiteX55-5781" fmla="*/ 6171906 w 10693106"/>
              <a:gd name="connsiteY55-5782" fmla="*/ 1511354 h 5321354"/>
              <a:gd name="connsiteX56-5783" fmla="*/ 6451306 w 10693106"/>
              <a:gd name="connsiteY56-5784" fmla="*/ 1723021 h 5321354"/>
              <a:gd name="connsiteX57-5785" fmla="*/ 6519040 w 10693106"/>
              <a:gd name="connsiteY57-5786" fmla="*/ 1731488 h 5321354"/>
              <a:gd name="connsiteX58-5787" fmla="*/ 6603706 w 10693106"/>
              <a:gd name="connsiteY58-5788" fmla="*/ 1765354 h 5321354"/>
              <a:gd name="connsiteX59-5789" fmla="*/ 6671440 w 10693106"/>
              <a:gd name="connsiteY59-5790" fmla="*/ 1799221 h 5321354"/>
              <a:gd name="connsiteX60-5791" fmla="*/ 6866173 w 10693106"/>
              <a:gd name="connsiteY60-5792" fmla="*/ 1824621 h 5321354"/>
              <a:gd name="connsiteX61-5793" fmla="*/ 7196373 w 10693106"/>
              <a:gd name="connsiteY61-5794" fmla="*/ 1807688 h 5321354"/>
              <a:gd name="connsiteX62-5795" fmla="*/ 7509640 w 10693106"/>
              <a:gd name="connsiteY62-5796" fmla="*/ 1731488 h 5321354"/>
              <a:gd name="connsiteX63-5797" fmla="*/ 7628173 w 10693106"/>
              <a:gd name="connsiteY63-5798" fmla="*/ 1706088 h 5321354"/>
              <a:gd name="connsiteX64-5799" fmla="*/ 7704373 w 10693106"/>
              <a:gd name="connsiteY64-5800" fmla="*/ 1663754 h 5321354"/>
              <a:gd name="connsiteX65-5801" fmla="*/ 7755173 w 10693106"/>
              <a:gd name="connsiteY65-5802" fmla="*/ 1655288 h 5321354"/>
              <a:gd name="connsiteX66-5803" fmla="*/ 7797506 w 10693106"/>
              <a:gd name="connsiteY66-5804" fmla="*/ 1621421 h 5321354"/>
              <a:gd name="connsiteX67-5805" fmla="*/ 7856773 w 10693106"/>
              <a:gd name="connsiteY67-5806" fmla="*/ 1604488 h 5321354"/>
              <a:gd name="connsiteX68-5807" fmla="*/ 7958373 w 10693106"/>
              <a:gd name="connsiteY68-5808" fmla="*/ 1536754 h 5321354"/>
              <a:gd name="connsiteX69-5809" fmla="*/ 8009173 w 10693106"/>
              <a:gd name="connsiteY69-5810" fmla="*/ 1485954 h 5321354"/>
              <a:gd name="connsiteX70-5811" fmla="*/ 8339373 w 10693106"/>
              <a:gd name="connsiteY70-5812" fmla="*/ 1240421 h 5321354"/>
              <a:gd name="connsiteX71-5813" fmla="*/ 8576440 w 10693106"/>
              <a:gd name="connsiteY71-5814" fmla="*/ 986421 h 5321354"/>
              <a:gd name="connsiteX72-5815" fmla="*/ 8652640 w 10693106"/>
              <a:gd name="connsiteY72-5816" fmla="*/ 707021 h 5321354"/>
              <a:gd name="connsiteX73-5817" fmla="*/ 8847373 w 10693106"/>
              <a:gd name="connsiteY73-5818" fmla="*/ 520754 h 5321354"/>
              <a:gd name="connsiteX74-5819" fmla="*/ 8982840 w 10693106"/>
              <a:gd name="connsiteY74-5820" fmla="*/ 427621 h 5321354"/>
              <a:gd name="connsiteX75-5821" fmla="*/ 9084440 w 10693106"/>
              <a:gd name="connsiteY75-5822" fmla="*/ 393754 h 5321354"/>
              <a:gd name="connsiteX76-5823" fmla="*/ 9152173 w 10693106"/>
              <a:gd name="connsiteY76-5824" fmla="*/ 368354 h 5321354"/>
              <a:gd name="connsiteX77-5825" fmla="*/ 9380773 w 10693106"/>
              <a:gd name="connsiteY77-5826" fmla="*/ 385288 h 5321354"/>
              <a:gd name="connsiteX78-5827" fmla="*/ 9744840 w 10693106"/>
              <a:gd name="connsiteY78-5828" fmla="*/ 495354 h 5321354"/>
              <a:gd name="connsiteX79-5829" fmla="*/ 9888773 w 10693106"/>
              <a:gd name="connsiteY79-5830" fmla="*/ 537688 h 5321354"/>
              <a:gd name="connsiteX80-5831" fmla="*/ 9998840 w 10693106"/>
              <a:gd name="connsiteY80-5832" fmla="*/ 588488 h 5321354"/>
              <a:gd name="connsiteX81-5833" fmla="*/ 10083506 w 10693106"/>
              <a:gd name="connsiteY81-5834" fmla="*/ 647754 h 5321354"/>
              <a:gd name="connsiteX82-5835" fmla="*/ 10286706 w 10693106"/>
              <a:gd name="connsiteY82-5836" fmla="*/ 715488 h 5321354"/>
              <a:gd name="connsiteX83-5837" fmla="*/ 10388306 w 10693106"/>
              <a:gd name="connsiteY83-5838" fmla="*/ 918688 h 5321354"/>
              <a:gd name="connsiteX84-5839" fmla="*/ 10540706 w 10693106"/>
              <a:gd name="connsiteY84-5840" fmla="*/ 1291221 h 5321354"/>
              <a:gd name="connsiteX85-5841" fmla="*/ 10557640 w 10693106"/>
              <a:gd name="connsiteY85-5842" fmla="*/ 1375888 h 5321354"/>
              <a:gd name="connsiteX86-5843" fmla="*/ 10583040 w 10693106"/>
              <a:gd name="connsiteY86-5844" fmla="*/ 1477488 h 5321354"/>
              <a:gd name="connsiteX87-5845" fmla="*/ 10616906 w 10693106"/>
              <a:gd name="connsiteY87-5846" fmla="*/ 1680688 h 5321354"/>
              <a:gd name="connsiteX88-5847" fmla="*/ 10633840 w 10693106"/>
              <a:gd name="connsiteY88-5848" fmla="*/ 1765354 h 5321354"/>
              <a:gd name="connsiteX89-5849" fmla="*/ 10650773 w 10693106"/>
              <a:gd name="connsiteY89-5850" fmla="*/ 1799221 h 5321354"/>
              <a:gd name="connsiteX90-5851" fmla="*/ 10676173 w 10693106"/>
              <a:gd name="connsiteY90-5852" fmla="*/ 1883888 h 5321354"/>
              <a:gd name="connsiteX91-5853" fmla="*/ 10693106 w 10693106"/>
              <a:gd name="connsiteY91-5854" fmla="*/ 2036288 h 5321354"/>
              <a:gd name="connsiteX92-5855" fmla="*/ 10625373 w 10693106"/>
              <a:gd name="connsiteY92-5856" fmla="*/ 2256421 h 5321354"/>
              <a:gd name="connsiteX93-5857" fmla="*/ 10608440 w 10693106"/>
              <a:gd name="connsiteY93-5858" fmla="*/ 2281821 h 5321354"/>
              <a:gd name="connsiteX94-5859" fmla="*/ 10540706 w 10693106"/>
              <a:gd name="connsiteY94-5860" fmla="*/ 2425754 h 5321354"/>
              <a:gd name="connsiteX95-5861" fmla="*/ 10498373 w 10693106"/>
              <a:gd name="connsiteY95-5862" fmla="*/ 2510421 h 5321354"/>
              <a:gd name="connsiteX96-5863" fmla="*/ 10439106 w 10693106"/>
              <a:gd name="connsiteY96-5864" fmla="*/ 2696688 h 5321354"/>
              <a:gd name="connsiteX97-5865" fmla="*/ 10430640 w 10693106"/>
              <a:gd name="connsiteY97-5866" fmla="*/ 2739021 h 5321354"/>
              <a:gd name="connsiteX98-5867" fmla="*/ 10405240 w 10693106"/>
              <a:gd name="connsiteY98-5868" fmla="*/ 2815221 h 5321354"/>
              <a:gd name="connsiteX99-5869" fmla="*/ 10396773 w 10693106"/>
              <a:gd name="connsiteY99-5870" fmla="*/ 2849088 h 5321354"/>
              <a:gd name="connsiteX100-5871" fmla="*/ 10362906 w 10693106"/>
              <a:gd name="connsiteY100-5872" fmla="*/ 2942221 h 5321354"/>
              <a:gd name="connsiteX101-5873" fmla="*/ 10329040 w 10693106"/>
              <a:gd name="connsiteY101-5874" fmla="*/ 2984554 h 5321354"/>
              <a:gd name="connsiteX102-5875" fmla="*/ 10227440 w 10693106"/>
              <a:gd name="connsiteY102-5876" fmla="*/ 3086154 h 5321354"/>
              <a:gd name="connsiteX103-5877" fmla="*/ 10168173 w 10693106"/>
              <a:gd name="connsiteY103-5878" fmla="*/ 3153888 h 5321354"/>
              <a:gd name="connsiteX104-5879" fmla="*/ 10117373 w 10693106"/>
              <a:gd name="connsiteY104-5880" fmla="*/ 3204688 h 5321354"/>
              <a:gd name="connsiteX105-5881" fmla="*/ 10032706 w 10693106"/>
              <a:gd name="connsiteY105-5882" fmla="*/ 3306288 h 5321354"/>
              <a:gd name="connsiteX106-5883" fmla="*/ 9948040 w 10693106"/>
              <a:gd name="connsiteY106-5884" fmla="*/ 3365554 h 5321354"/>
              <a:gd name="connsiteX107-5885" fmla="*/ 9905706 w 10693106"/>
              <a:gd name="connsiteY107-5886" fmla="*/ 3390954 h 5321354"/>
              <a:gd name="connsiteX108-5887" fmla="*/ 9829506 w 10693106"/>
              <a:gd name="connsiteY108-5888" fmla="*/ 3407888 h 5321354"/>
              <a:gd name="connsiteX109-5889" fmla="*/ 9727906 w 10693106"/>
              <a:gd name="connsiteY109-5890" fmla="*/ 3450221 h 5321354"/>
              <a:gd name="connsiteX110-5891" fmla="*/ 9634773 w 10693106"/>
              <a:gd name="connsiteY110-5892" fmla="*/ 3475621 h 5321354"/>
              <a:gd name="connsiteX111-5893" fmla="*/ 9456973 w 10693106"/>
              <a:gd name="connsiteY111-5894" fmla="*/ 3568754 h 5321354"/>
              <a:gd name="connsiteX112-5895" fmla="*/ 9313040 w 10693106"/>
              <a:gd name="connsiteY112-5896" fmla="*/ 3695754 h 5321354"/>
              <a:gd name="connsiteX113-5897" fmla="*/ 9279173 w 10693106"/>
              <a:gd name="connsiteY113-5898" fmla="*/ 3712688 h 5321354"/>
              <a:gd name="connsiteX114-5899" fmla="*/ 9067506 w 10693106"/>
              <a:gd name="connsiteY114-5900" fmla="*/ 3890488 h 5321354"/>
              <a:gd name="connsiteX115-5901" fmla="*/ 8999773 w 10693106"/>
              <a:gd name="connsiteY115-5902" fmla="*/ 3958221 h 5321354"/>
              <a:gd name="connsiteX116-5903" fmla="*/ 8813506 w 10693106"/>
              <a:gd name="connsiteY116-5904" fmla="*/ 4093688 h 5321354"/>
              <a:gd name="connsiteX117-5905" fmla="*/ 8728840 w 10693106"/>
              <a:gd name="connsiteY117-5906" fmla="*/ 4136021 h 5321354"/>
              <a:gd name="connsiteX118-5907" fmla="*/ 8373240 w 10693106"/>
              <a:gd name="connsiteY118-5908" fmla="*/ 4169888 h 5321354"/>
              <a:gd name="connsiteX119-5909" fmla="*/ 7966840 w 10693106"/>
              <a:gd name="connsiteY119-5910" fmla="*/ 4263021 h 5321354"/>
              <a:gd name="connsiteX120-5911" fmla="*/ 7687440 w 10693106"/>
              <a:gd name="connsiteY120-5912" fmla="*/ 4423888 h 5321354"/>
              <a:gd name="connsiteX121-5913" fmla="*/ 7551973 w 10693106"/>
              <a:gd name="connsiteY121-5914" fmla="*/ 4508554 h 5321354"/>
              <a:gd name="connsiteX122-5915" fmla="*/ 7374173 w 10693106"/>
              <a:gd name="connsiteY122-5916" fmla="*/ 4686354 h 5321354"/>
              <a:gd name="connsiteX123-5917" fmla="*/ 7374173 w 10693106"/>
              <a:gd name="connsiteY123-5918" fmla="*/ 4686354 h 5321354"/>
              <a:gd name="connsiteX124-5919" fmla="*/ 7221773 w 10693106"/>
              <a:gd name="connsiteY124-5920" fmla="*/ 4804888 h 5321354"/>
              <a:gd name="connsiteX125-5921" fmla="*/ 7027040 w 10693106"/>
              <a:gd name="connsiteY125-5922" fmla="*/ 4931888 h 5321354"/>
              <a:gd name="connsiteX126-5923" fmla="*/ 6883106 w 10693106"/>
              <a:gd name="connsiteY126-5924" fmla="*/ 4999621 h 5321354"/>
              <a:gd name="connsiteX127-5925" fmla="*/ 6815373 w 10693106"/>
              <a:gd name="connsiteY127-5926" fmla="*/ 5041954 h 5321354"/>
              <a:gd name="connsiteX128-5927" fmla="*/ 6646040 w 10693106"/>
              <a:gd name="connsiteY128-5928" fmla="*/ 5135088 h 5321354"/>
              <a:gd name="connsiteX129-5929" fmla="*/ 6527506 w 10693106"/>
              <a:gd name="connsiteY129-5930" fmla="*/ 5194354 h 5321354"/>
              <a:gd name="connsiteX130-5931" fmla="*/ 6298906 w 10693106"/>
              <a:gd name="connsiteY130-5932" fmla="*/ 5270554 h 5321354"/>
              <a:gd name="connsiteX131-5933" fmla="*/ 6197306 w 10693106"/>
              <a:gd name="connsiteY131-5934" fmla="*/ 5295954 h 5321354"/>
              <a:gd name="connsiteX132-5935" fmla="*/ 6061840 w 10693106"/>
              <a:gd name="connsiteY132-5936" fmla="*/ 5304421 h 5321354"/>
              <a:gd name="connsiteX133-5937" fmla="*/ 5917906 w 10693106"/>
              <a:gd name="connsiteY133-5938" fmla="*/ 5321354 h 5321354"/>
              <a:gd name="connsiteX134-5939" fmla="*/ 5748573 w 10693106"/>
              <a:gd name="connsiteY134-5940" fmla="*/ 5312888 h 5321354"/>
              <a:gd name="connsiteX135-5941" fmla="*/ 5282906 w 10693106"/>
              <a:gd name="connsiteY135-5942" fmla="*/ 5202821 h 5321354"/>
              <a:gd name="connsiteX136-5943" fmla="*/ 5138973 w 10693106"/>
              <a:gd name="connsiteY136-5944" fmla="*/ 5101221 h 5321354"/>
              <a:gd name="connsiteX137-5945" fmla="*/ 5020440 w 10693106"/>
              <a:gd name="connsiteY137-5946" fmla="*/ 4948821 h 5321354"/>
              <a:gd name="connsiteX138-5947" fmla="*/ 4952706 w 10693106"/>
              <a:gd name="connsiteY138-5948" fmla="*/ 4872621 h 5321354"/>
              <a:gd name="connsiteX139-5949" fmla="*/ 4884973 w 10693106"/>
              <a:gd name="connsiteY139-5950" fmla="*/ 4804888 h 5321354"/>
              <a:gd name="connsiteX140-5951" fmla="*/ 4732573 w 10693106"/>
              <a:gd name="connsiteY140-5952" fmla="*/ 4627088 h 5321354"/>
              <a:gd name="connsiteX141-5953" fmla="*/ 4673306 w 10693106"/>
              <a:gd name="connsiteY141-5954" fmla="*/ 4559354 h 5321354"/>
              <a:gd name="connsiteX142-5955" fmla="*/ 4487040 w 10693106"/>
              <a:gd name="connsiteY142-5956" fmla="*/ 4432354 h 5321354"/>
              <a:gd name="connsiteX143-5957" fmla="*/ 4427773 w 10693106"/>
              <a:gd name="connsiteY143-5958" fmla="*/ 4398488 h 5321354"/>
              <a:gd name="connsiteX144-5959" fmla="*/ 4343106 w 10693106"/>
              <a:gd name="connsiteY144-5960" fmla="*/ 4364621 h 5321354"/>
              <a:gd name="connsiteX145-5961" fmla="*/ 4224573 w 10693106"/>
              <a:gd name="connsiteY145-5962" fmla="*/ 4288421 h 5321354"/>
              <a:gd name="connsiteX146-5963" fmla="*/ 4156840 w 10693106"/>
              <a:gd name="connsiteY146-5964" fmla="*/ 4229154 h 5321354"/>
              <a:gd name="connsiteX147-5965" fmla="*/ 4021373 w 10693106"/>
              <a:gd name="connsiteY147-5966" fmla="*/ 4085221 h 5321354"/>
              <a:gd name="connsiteX148-5967" fmla="*/ 3919773 w 10693106"/>
              <a:gd name="connsiteY148-5968" fmla="*/ 3949754 h 5321354"/>
              <a:gd name="connsiteX149-5969" fmla="*/ 3877440 w 10693106"/>
              <a:gd name="connsiteY149-5970" fmla="*/ 3653421 h 5321354"/>
              <a:gd name="connsiteX150-5971" fmla="*/ 3852040 w 10693106"/>
              <a:gd name="connsiteY150-5972" fmla="*/ 3560288 h 5321354"/>
              <a:gd name="connsiteX151-5973" fmla="*/ 3801240 w 10693106"/>
              <a:gd name="connsiteY151-5974" fmla="*/ 3450221 h 5321354"/>
              <a:gd name="connsiteX152-5975" fmla="*/ 3733506 w 10693106"/>
              <a:gd name="connsiteY152-5976" fmla="*/ 3348621 h 5321354"/>
              <a:gd name="connsiteX153-5977" fmla="*/ 3242440 w 10693106"/>
              <a:gd name="connsiteY153-5978" fmla="*/ 3128488 h 5321354"/>
              <a:gd name="connsiteX154-5979" fmla="*/ 3123906 w 10693106"/>
              <a:gd name="connsiteY154-5980" fmla="*/ 3026888 h 5321354"/>
              <a:gd name="connsiteX155-5981" fmla="*/ 2988440 w 10693106"/>
              <a:gd name="connsiteY155-5982" fmla="*/ 2832154 h 5321354"/>
              <a:gd name="connsiteX156-5983" fmla="*/ 2971506 w 10693106"/>
              <a:gd name="connsiteY156-5984" fmla="*/ 2772888 h 5321354"/>
              <a:gd name="connsiteX157-5985" fmla="*/ 2996906 w 10693106"/>
              <a:gd name="connsiteY157-5986" fmla="*/ 2561221 h 5321354"/>
              <a:gd name="connsiteX158-5987" fmla="*/ 3013840 w 10693106"/>
              <a:gd name="connsiteY158-5988" fmla="*/ 2459621 h 5321354"/>
              <a:gd name="connsiteX159-5989" fmla="*/ 3005373 w 10693106"/>
              <a:gd name="connsiteY159-5990" fmla="*/ 2341088 h 5321354"/>
              <a:gd name="connsiteX160-5991" fmla="*/ 2988440 w 10693106"/>
              <a:gd name="connsiteY160-5992" fmla="*/ 2290288 h 5321354"/>
              <a:gd name="connsiteX161-5993" fmla="*/ 2802173 w 10693106"/>
              <a:gd name="connsiteY161-5994" fmla="*/ 2036288 h 5321354"/>
              <a:gd name="connsiteX162-5995" fmla="*/ 2641306 w 10693106"/>
              <a:gd name="connsiteY162-5996" fmla="*/ 1892354 h 5321354"/>
              <a:gd name="connsiteX163-5997" fmla="*/ 2590506 w 10693106"/>
              <a:gd name="connsiteY163-5998" fmla="*/ 1866954 h 5321354"/>
              <a:gd name="connsiteX164-5999" fmla="*/ 2531240 w 10693106"/>
              <a:gd name="connsiteY164-6000" fmla="*/ 1858488 h 5321354"/>
              <a:gd name="connsiteX165-6001" fmla="*/ 2446573 w 10693106"/>
              <a:gd name="connsiteY165-6002" fmla="*/ 1841554 h 5321354"/>
              <a:gd name="connsiteX166-6003" fmla="*/ 2251840 w 10693106"/>
              <a:gd name="connsiteY166-6004" fmla="*/ 1866954 h 5321354"/>
              <a:gd name="connsiteX167-6005" fmla="*/ 2167173 w 10693106"/>
              <a:gd name="connsiteY167-6006" fmla="*/ 1909288 h 5321354"/>
              <a:gd name="connsiteX168-6007" fmla="*/ 1980906 w 10693106"/>
              <a:gd name="connsiteY168-6008" fmla="*/ 1968554 h 5321354"/>
              <a:gd name="connsiteX169-6009" fmla="*/ 1904706 w 10693106"/>
              <a:gd name="connsiteY169-6010" fmla="*/ 2002421 h 5321354"/>
              <a:gd name="connsiteX170-6011" fmla="*/ 1828506 w 10693106"/>
              <a:gd name="connsiteY170-6012" fmla="*/ 2019354 h 5321354"/>
              <a:gd name="connsiteX171-6013" fmla="*/ 1726906 w 10693106"/>
              <a:gd name="connsiteY171-6014" fmla="*/ 2070154 h 5321354"/>
              <a:gd name="connsiteX172-6015" fmla="*/ 1659173 w 10693106"/>
              <a:gd name="connsiteY172-6016" fmla="*/ 2104021 h 5321354"/>
              <a:gd name="connsiteX173-6017" fmla="*/ 1498306 w 10693106"/>
              <a:gd name="connsiteY173-6018" fmla="*/ 2129421 h 5321354"/>
              <a:gd name="connsiteX174-6019" fmla="*/ 914106 w 10693106"/>
              <a:gd name="connsiteY174-6020" fmla="*/ 2061688 h 5321354"/>
              <a:gd name="connsiteX175-6021" fmla="*/ 617773 w 10693106"/>
              <a:gd name="connsiteY175-6022" fmla="*/ 1951621 h 5321354"/>
              <a:gd name="connsiteX176-6023" fmla="*/ 516173 w 10693106"/>
              <a:gd name="connsiteY176-6024" fmla="*/ 1866954 h 5321354"/>
              <a:gd name="connsiteX177-6025" fmla="*/ 355306 w 10693106"/>
              <a:gd name="connsiteY177-6026" fmla="*/ 1655288 h 5321354"/>
              <a:gd name="connsiteX178-6027" fmla="*/ 296040 w 10693106"/>
              <a:gd name="connsiteY178-6028" fmla="*/ 1553688 h 5321354"/>
              <a:gd name="connsiteX179-6029" fmla="*/ 253706 w 10693106"/>
              <a:gd name="connsiteY179-6030" fmla="*/ 1375888 h 5321354"/>
              <a:gd name="connsiteX180-6031" fmla="*/ 245240 w 10693106"/>
              <a:gd name="connsiteY180-6032" fmla="*/ 1248888 h 5321354"/>
              <a:gd name="connsiteX181-6033" fmla="*/ 236773 w 10693106"/>
              <a:gd name="connsiteY181-6034" fmla="*/ 1147288 h 5321354"/>
              <a:gd name="connsiteX182-6035" fmla="*/ 245240 w 10693106"/>
              <a:gd name="connsiteY182-6036" fmla="*/ 876354 h 5321354"/>
              <a:gd name="connsiteX183-6037" fmla="*/ 236773 w 10693106"/>
              <a:gd name="connsiteY183-6038" fmla="*/ 732421 h 5321354"/>
              <a:gd name="connsiteX184-6039" fmla="*/ 109773 w 10693106"/>
              <a:gd name="connsiteY184-6040" fmla="*/ 588488 h 5321354"/>
              <a:gd name="connsiteX185-6041" fmla="*/ 58973 w 10693106"/>
              <a:gd name="connsiteY185-6042" fmla="*/ 512288 h 5321354"/>
              <a:gd name="connsiteX186-6043" fmla="*/ 16640 w 10693106"/>
              <a:gd name="connsiteY186-6044" fmla="*/ 461488 h 5321354"/>
              <a:gd name="connsiteX187-6045" fmla="*/ 8173 w 10693106"/>
              <a:gd name="connsiteY187-6046" fmla="*/ 419154 h 5321354"/>
              <a:gd name="connsiteX188-6047" fmla="*/ 16640 w 10693106"/>
              <a:gd name="connsiteY188-6048" fmla="*/ 368354 h 5321354"/>
              <a:gd name="connsiteX0-6049" fmla="*/ 16640 w 10693106"/>
              <a:gd name="connsiteY0-6050" fmla="*/ 368354 h 5321354"/>
              <a:gd name="connsiteX1-6051" fmla="*/ 58973 w 10693106"/>
              <a:gd name="connsiteY1-6052" fmla="*/ 275221 h 5321354"/>
              <a:gd name="connsiteX2-6053" fmla="*/ 109773 w 10693106"/>
              <a:gd name="connsiteY2-6054" fmla="*/ 207488 h 5321354"/>
              <a:gd name="connsiteX3-6055" fmla="*/ 202906 w 10693106"/>
              <a:gd name="connsiteY3-6056" fmla="*/ 122821 h 5321354"/>
              <a:gd name="connsiteX4-6057" fmla="*/ 236773 w 10693106"/>
              <a:gd name="connsiteY4-6058" fmla="*/ 97421 h 5321354"/>
              <a:gd name="connsiteX5-6059" fmla="*/ 346840 w 10693106"/>
              <a:gd name="connsiteY5-6060" fmla="*/ 38154 h 5321354"/>
              <a:gd name="connsiteX6-6061" fmla="*/ 397640 w 10693106"/>
              <a:gd name="connsiteY6-6062" fmla="*/ 4288 h 5321354"/>
              <a:gd name="connsiteX7-6063" fmla="*/ 467297 w 10693106"/>
              <a:gd name="connsiteY7-6064" fmla="*/ 143218 h 5321354"/>
              <a:gd name="connsiteX8-6065" fmla="*/ 492697 w 10693106"/>
              <a:gd name="connsiteY8-6066" fmla="*/ 103579 h 5321354"/>
              <a:gd name="connsiteX9-6067" fmla="*/ 822897 w 10693106"/>
              <a:gd name="connsiteY9-6068" fmla="*/ 112045 h 5321354"/>
              <a:gd name="connsiteX10-6069" fmla="*/ 1091906 w 10693106"/>
              <a:gd name="connsiteY10-6070" fmla="*/ 29688 h 5321354"/>
              <a:gd name="connsiteX11-6071" fmla="*/ 1235840 w 10693106"/>
              <a:gd name="connsiteY11-6072" fmla="*/ 88954 h 5321354"/>
              <a:gd name="connsiteX12-6073" fmla="*/ 1337440 w 10693106"/>
              <a:gd name="connsiteY12-6074" fmla="*/ 165154 h 5321354"/>
              <a:gd name="connsiteX13-6075" fmla="*/ 1422106 w 10693106"/>
              <a:gd name="connsiteY13-6076" fmla="*/ 275221 h 5321354"/>
              <a:gd name="connsiteX14-6077" fmla="*/ 1481373 w 10693106"/>
              <a:gd name="connsiteY14-6078" fmla="*/ 342954 h 5321354"/>
              <a:gd name="connsiteX15-6079" fmla="*/ 1532173 w 10693106"/>
              <a:gd name="connsiteY15-6080" fmla="*/ 376821 h 5321354"/>
              <a:gd name="connsiteX16-6081" fmla="*/ 1684573 w 10693106"/>
              <a:gd name="connsiteY16-6082" fmla="*/ 436088 h 5321354"/>
              <a:gd name="connsiteX17-6083" fmla="*/ 1760773 w 10693106"/>
              <a:gd name="connsiteY17-6084" fmla="*/ 453021 h 5321354"/>
              <a:gd name="connsiteX18-6085" fmla="*/ 1997840 w 10693106"/>
              <a:gd name="connsiteY18-6086" fmla="*/ 444554 h 5321354"/>
              <a:gd name="connsiteX19-6087" fmla="*/ 2116373 w 10693106"/>
              <a:gd name="connsiteY19-6088" fmla="*/ 427621 h 5321354"/>
              <a:gd name="connsiteX20-6089" fmla="*/ 2260306 w 10693106"/>
              <a:gd name="connsiteY20-6090" fmla="*/ 410688 h 5321354"/>
              <a:gd name="connsiteX21-6091" fmla="*/ 2404240 w 10693106"/>
              <a:gd name="connsiteY21-6092" fmla="*/ 385288 h 5321354"/>
              <a:gd name="connsiteX22-6093" fmla="*/ 2455040 w 10693106"/>
              <a:gd name="connsiteY22-6094" fmla="*/ 359888 h 5321354"/>
              <a:gd name="connsiteX23-6095" fmla="*/ 2531240 w 10693106"/>
              <a:gd name="connsiteY23-6096" fmla="*/ 334488 h 5321354"/>
              <a:gd name="connsiteX24-6097" fmla="*/ 2683640 w 10693106"/>
              <a:gd name="connsiteY24-6098" fmla="*/ 207488 h 5321354"/>
              <a:gd name="connsiteX25-6099" fmla="*/ 2742906 w 10693106"/>
              <a:gd name="connsiteY25-6100" fmla="*/ 215954 h 5321354"/>
              <a:gd name="connsiteX26-6101" fmla="*/ 2764920 w 10693106"/>
              <a:gd name="connsiteY26-6102" fmla="*/ 202408 h 5321354"/>
              <a:gd name="connsiteX27-6103" fmla="*/ 2832653 w 10693106"/>
              <a:gd name="connsiteY27-6104" fmla="*/ 197328 h 5321354"/>
              <a:gd name="connsiteX28-6105" fmla="*/ 3002294 w 10693106"/>
              <a:gd name="connsiteY28-6106" fmla="*/ 184012 h 5321354"/>
              <a:gd name="connsiteX29-6107" fmla="*/ 3142763 w 10693106"/>
              <a:gd name="connsiteY29-6108" fmla="*/ 139753 h 5321354"/>
              <a:gd name="connsiteX30-6109" fmla="*/ 3459878 w 10693106"/>
              <a:gd name="connsiteY30-6110" fmla="*/ 54 h 5321354"/>
              <a:gd name="connsiteX31-6111" fmla="*/ 3606506 w 10693106"/>
              <a:gd name="connsiteY31-6112" fmla="*/ 89725 h 5321354"/>
              <a:gd name="connsiteX32-6113" fmla="*/ 3682706 w 10693106"/>
              <a:gd name="connsiteY32-6114" fmla="*/ 109274 h 5321354"/>
              <a:gd name="connsiteX33-6115" fmla="*/ 3741973 w 10693106"/>
              <a:gd name="connsiteY33-6116" fmla="*/ 115893 h 5321354"/>
              <a:gd name="connsiteX34-6117" fmla="*/ 3792773 w 10693106"/>
              <a:gd name="connsiteY34-6118" fmla="*/ 151608 h 5321354"/>
              <a:gd name="connsiteX35-6119" fmla="*/ 3831720 w 10693106"/>
              <a:gd name="connsiteY35-6120" fmla="*/ 166848 h 5321354"/>
              <a:gd name="connsiteX36-6121" fmla="*/ 3896297 w 10693106"/>
              <a:gd name="connsiteY36-6122" fmla="*/ 186321 h 5321354"/>
              <a:gd name="connsiteX37-6123" fmla="*/ 3945173 w 10693106"/>
              <a:gd name="connsiteY37-6124" fmla="*/ 114354 h 5321354"/>
              <a:gd name="connsiteX38-6125" fmla="*/ 3995973 w 10693106"/>
              <a:gd name="connsiteY38-6126" fmla="*/ 139754 h 5321354"/>
              <a:gd name="connsiteX39-6127" fmla="*/ 4021373 w 10693106"/>
              <a:gd name="connsiteY39-6128" fmla="*/ 173621 h 5321354"/>
              <a:gd name="connsiteX40-6129" fmla="*/ 4055240 w 10693106"/>
              <a:gd name="connsiteY40-6130" fmla="*/ 182088 h 5321354"/>
              <a:gd name="connsiteX41-6131" fmla="*/ 4275373 w 10693106"/>
              <a:gd name="connsiteY41-6132" fmla="*/ 224421 h 5321354"/>
              <a:gd name="connsiteX42-6133" fmla="*/ 4402373 w 10693106"/>
              <a:gd name="connsiteY42-6134" fmla="*/ 258288 h 5321354"/>
              <a:gd name="connsiteX43-6135" fmla="*/ 4529373 w 10693106"/>
              <a:gd name="connsiteY43-6136" fmla="*/ 300621 h 5321354"/>
              <a:gd name="connsiteX44-6137" fmla="*/ 4859573 w 10693106"/>
              <a:gd name="connsiteY44-6138" fmla="*/ 376821 h 5321354"/>
              <a:gd name="connsiteX45-6139" fmla="*/ 5045840 w 10693106"/>
              <a:gd name="connsiteY45-6140" fmla="*/ 453021 h 5321354"/>
              <a:gd name="connsiteX46-6141" fmla="*/ 5325240 w 10693106"/>
              <a:gd name="connsiteY46-6142" fmla="*/ 613888 h 5321354"/>
              <a:gd name="connsiteX47-6143" fmla="*/ 5494573 w 10693106"/>
              <a:gd name="connsiteY47-6144" fmla="*/ 766288 h 5321354"/>
              <a:gd name="connsiteX48-6145" fmla="*/ 5562306 w 10693106"/>
              <a:gd name="connsiteY48-6146" fmla="*/ 842488 h 5321354"/>
              <a:gd name="connsiteX49-6147" fmla="*/ 5621573 w 10693106"/>
              <a:gd name="connsiteY49-6148" fmla="*/ 893288 h 5321354"/>
              <a:gd name="connsiteX50-6149" fmla="*/ 5672373 w 10693106"/>
              <a:gd name="connsiteY50-6150" fmla="*/ 961021 h 5321354"/>
              <a:gd name="connsiteX51-6151" fmla="*/ 5757040 w 10693106"/>
              <a:gd name="connsiteY51-6152" fmla="*/ 1062621 h 5321354"/>
              <a:gd name="connsiteX52-6153" fmla="*/ 5833240 w 10693106"/>
              <a:gd name="connsiteY52-6154" fmla="*/ 1155754 h 5321354"/>
              <a:gd name="connsiteX53-6155" fmla="*/ 6019506 w 10693106"/>
              <a:gd name="connsiteY53-6156" fmla="*/ 1358954 h 5321354"/>
              <a:gd name="connsiteX54-6157" fmla="*/ 6087240 w 10693106"/>
              <a:gd name="connsiteY54-6158" fmla="*/ 1409754 h 5321354"/>
              <a:gd name="connsiteX55-6159" fmla="*/ 6171906 w 10693106"/>
              <a:gd name="connsiteY55-6160" fmla="*/ 1511354 h 5321354"/>
              <a:gd name="connsiteX56-6161" fmla="*/ 6451306 w 10693106"/>
              <a:gd name="connsiteY56-6162" fmla="*/ 1723021 h 5321354"/>
              <a:gd name="connsiteX57-6163" fmla="*/ 6519040 w 10693106"/>
              <a:gd name="connsiteY57-6164" fmla="*/ 1731488 h 5321354"/>
              <a:gd name="connsiteX58-6165" fmla="*/ 6603706 w 10693106"/>
              <a:gd name="connsiteY58-6166" fmla="*/ 1765354 h 5321354"/>
              <a:gd name="connsiteX59-6167" fmla="*/ 6671440 w 10693106"/>
              <a:gd name="connsiteY59-6168" fmla="*/ 1799221 h 5321354"/>
              <a:gd name="connsiteX60-6169" fmla="*/ 6866173 w 10693106"/>
              <a:gd name="connsiteY60-6170" fmla="*/ 1824621 h 5321354"/>
              <a:gd name="connsiteX61-6171" fmla="*/ 7196373 w 10693106"/>
              <a:gd name="connsiteY61-6172" fmla="*/ 1807688 h 5321354"/>
              <a:gd name="connsiteX62-6173" fmla="*/ 7509640 w 10693106"/>
              <a:gd name="connsiteY62-6174" fmla="*/ 1731488 h 5321354"/>
              <a:gd name="connsiteX63-6175" fmla="*/ 7628173 w 10693106"/>
              <a:gd name="connsiteY63-6176" fmla="*/ 1706088 h 5321354"/>
              <a:gd name="connsiteX64-6177" fmla="*/ 7704373 w 10693106"/>
              <a:gd name="connsiteY64-6178" fmla="*/ 1663754 h 5321354"/>
              <a:gd name="connsiteX65-6179" fmla="*/ 7755173 w 10693106"/>
              <a:gd name="connsiteY65-6180" fmla="*/ 1655288 h 5321354"/>
              <a:gd name="connsiteX66-6181" fmla="*/ 7797506 w 10693106"/>
              <a:gd name="connsiteY66-6182" fmla="*/ 1621421 h 5321354"/>
              <a:gd name="connsiteX67-6183" fmla="*/ 7856773 w 10693106"/>
              <a:gd name="connsiteY67-6184" fmla="*/ 1604488 h 5321354"/>
              <a:gd name="connsiteX68-6185" fmla="*/ 7958373 w 10693106"/>
              <a:gd name="connsiteY68-6186" fmla="*/ 1536754 h 5321354"/>
              <a:gd name="connsiteX69-6187" fmla="*/ 8009173 w 10693106"/>
              <a:gd name="connsiteY69-6188" fmla="*/ 1485954 h 5321354"/>
              <a:gd name="connsiteX70-6189" fmla="*/ 8339373 w 10693106"/>
              <a:gd name="connsiteY70-6190" fmla="*/ 1240421 h 5321354"/>
              <a:gd name="connsiteX71-6191" fmla="*/ 8576440 w 10693106"/>
              <a:gd name="connsiteY71-6192" fmla="*/ 986421 h 5321354"/>
              <a:gd name="connsiteX72-6193" fmla="*/ 8652640 w 10693106"/>
              <a:gd name="connsiteY72-6194" fmla="*/ 707021 h 5321354"/>
              <a:gd name="connsiteX73-6195" fmla="*/ 8847373 w 10693106"/>
              <a:gd name="connsiteY73-6196" fmla="*/ 520754 h 5321354"/>
              <a:gd name="connsiteX74-6197" fmla="*/ 8982840 w 10693106"/>
              <a:gd name="connsiteY74-6198" fmla="*/ 427621 h 5321354"/>
              <a:gd name="connsiteX75-6199" fmla="*/ 9084440 w 10693106"/>
              <a:gd name="connsiteY75-6200" fmla="*/ 393754 h 5321354"/>
              <a:gd name="connsiteX76-6201" fmla="*/ 9152173 w 10693106"/>
              <a:gd name="connsiteY76-6202" fmla="*/ 368354 h 5321354"/>
              <a:gd name="connsiteX77-6203" fmla="*/ 9380773 w 10693106"/>
              <a:gd name="connsiteY77-6204" fmla="*/ 385288 h 5321354"/>
              <a:gd name="connsiteX78-6205" fmla="*/ 9744840 w 10693106"/>
              <a:gd name="connsiteY78-6206" fmla="*/ 495354 h 5321354"/>
              <a:gd name="connsiteX79-6207" fmla="*/ 9888773 w 10693106"/>
              <a:gd name="connsiteY79-6208" fmla="*/ 537688 h 5321354"/>
              <a:gd name="connsiteX80-6209" fmla="*/ 9998840 w 10693106"/>
              <a:gd name="connsiteY80-6210" fmla="*/ 588488 h 5321354"/>
              <a:gd name="connsiteX81-6211" fmla="*/ 10083506 w 10693106"/>
              <a:gd name="connsiteY81-6212" fmla="*/ 647754 h 5321354"/>
              <a:gd name="connsiteX82-6213" fmla="*/ 10286706 w 10693106"/>
              <a:gd name="connsiteY82-6214" fmla="*/ 715488 h 5321354"/>
              <a:gd name="connsiteX83-6215" fmla="*/ 10388306 w 10693106"/>
              <a:gd name="connsiteY83-6216" fmla="*/ 918688 h 5321354"/>
              <a:gd name="connsiteX84-6217" fmla="*/ 10540706 w 10693106"/>
              <a:gd name="connsiteY84-6218" fmla="*/ 1291221 h 5321354"/>
              <a:gd name="connsiteX85-6219" fmla="*/ 10557640 w 10693106"/>
              <a:gd name="connsiteY85-6220" fmla="*/ 1375888 h 5321354"/>
              <a:gd name="connsiteX86-6221" fmla="*/ 10583040 w 10693106"/>
              <a:gd name="connsiteY86-6222" fmla="*/ 1477488 h 5321354"/>
              <a:gd name="connsiteX87-6223" fmla="*/ 10616906 w 10693106"/>
              <a:gd name="connsiteY87-6224" fmla="*/ 1680688 h 5321354"/>
              <a:gd name="connsiteX88-6225" fmla="*/ 10633840 w 10693106"/>
              <a:gd name="connsiteY88-6226" fmla="*/ 1765354 h 5321354"/>
              <a:gd name="connsiteX89-6227" fmla="*/ 10650773 w 10693106"/>
              <a:gd name="connsiteY89-6228" fmla="*/ 1799221 h 5321354"/>
              <a:gd name="connsiteX90-6229" fmla="*/ 10676173 w 10693106"/>
              <a:gd name="connsiteY90-6230" fmla="*/ 1883888 h 5321354"/>
              <a:gd name="connsiteX91-6231" fmla="*/ 10693106 w 10693106"/>
              <a:gd name="connsiteY91-6232" fmla="*/ 2036288 h 5321354"/>
              <a:gd name="connsiteX92-6233" fmla="*/ 10625373 w 10693106"/>
              <a:gd name="connsiteY92-6234" fmla="*/ 2256421 h 5321354"/>
              <a:gd name="connsiteX93-6235" fmla="*/ 10608440 w 10693106"/>
              <a:gd name="connsiteY93-6236" fmla="*/ 2281821 h 5321354"/>
              <a:gd name="connsiteX94-6237" fmla="*/ 10540706 w 10693106"/>
              <a:gd name="connsiteY94-6238" fmla="*/ 2425754 h 5321354"/>
              <a:gd name="connsiteX95-6239" fmla="*/ 10498373 w 10693106"/>
              <a:gd name="connsiteY95-6240" fmla="*/ 2510421 h 5321354"/>
              <a:gd name="connsiteX96-6241" fmla="*/ 10439106 w 10693106"/>
              <a:gd name="connsiteY96-6242" fmla="*/ 2696688 h 5321354"/>
              <a:gd name="connsiteX97-6243" fmla="*/ 10430640 w 10693106"/>
              <a:gd name="connsiteY97-6244" fmla="*/ 2739021 h 5321354"/>
              <a:gd name="connsiteX98-6245" fmla="*/ 10405240 w 10693106"/>
              <a:gd name="connsiteY98-6246" fmla="*/ 2815221 h 5321354"/>
              <a:gd name="connsiteX99-6247" fmla="*/ 10396773 w 10693106"/>
              <a:gd name="connsiteY99-6248" fmla="*/ 2849088 h 5321354"/>
              <a:gd name="connsiteX100-6249" fmla="*/ 10362906 w 10693106"/>
              <a:gd name="connsiteY100-6250" fmla="*/ 2942221 h 5321354"/>
              <a:gd name="connsiteX101-6251" fmla="*/ 10329040 w 10693106"/>
              <a:gd name="connsiteY101-6252" fmla="*/ 2984554 h 5321354"/>
              <a:gd name="connsiteX102-6253" fmla="*/ 10227440 w 10693106"/>
              <a:gd name="connsiteY102-6254" fmla="*/ 3086154 h 5321354"/>
              <a:gd name="connsiteX103-6255" fmla="*/ 10168173 w 10693106"/>
              <a:gd name="connsiteY103-6256" fmla="*/ 3153888 h 5321354"/>
              <a:gd name="connsiteX104-6257" fmla="*/ 10117373 w 10693106"/>
              <a:gd name="connsiteY104-6258" fmla="*/ 3204688 h 5321354"/>
              <a:gd name="connsiteX105-6259" fmla="*/ 10032706 w 10693106"/>
              <a:gd name="connsiteY105-6260" fmla="*/ 3306288 h 5321354"/>
              <a:gd name="connsiteX106-6261" fmla="*/ 9948040 w 10693106"/>
              <a:gd name="connsiteY106-6262" fmla="*/ 3365554 h 5321354"/>
              <a:gd name="connsiteX107-6263" fmla="*/ 9905706 w 10693106"/>
              <a:gd name="connsiteY107-6264" fmla="*/ 3390954 h 5321354"/>
              <a:gd name="connsiteX108-6265" fmla="*/ 9829506 w 10693106"/>
              <a:gd name="connsiteY108-6266" fmla="*/ 3407888 h 5321354"/>
              <a:gd name="connsiteX109-6267" fmla="*/ 9727906 w 10693106"/>
              <a:gd name="connsiteY109-6268" fmla="*/ 3450221 h 5321354"/>
              <a:gd name="connsiteX110-6269" fmla="*/ 9634773 w 10693106"/>
              <a:gd name="connsiteY110-6270" fmla="*/ 3475621 h 5321354"/>
              <a:gd name="connsiteX111-6271" fmla="*/ 9456973 w 10693106"/>
              <a:gd name="connsiteY111-6272" fmla="*/ 3568754 h 5321354"/>
              <a:gd name="connsiteX112-6273" fmla="*/ 9313040 w 10693106"/>
              <a:gd name="connsiteY112-6274" fmla="*/ 3695754 h 5321354"/>
              <a:gd name="connsiteX113-6275" fmla="*/ 9279173 w 10693106"/>
              <a:gd name="connsiteY113-6276" fmla="*/ 3712688 h 5321354"/>
              <a:gd name="connsiteX114-6277" fmla="*/ 9067506 w 10693106"/>
              <a:gd name="connsiteY114-6278" fmla="*/ 3890488 h 5321354"/>
              <a:gd name="connsiteX115-6279" fmla="*/ 8999773 w 10693106"/>
              <a:gd name="connsiteY115-6280" fmla="*/ 3958221 h 5321354"/>
              <a:gd name="connsiteX116-6281" fmla="*/ 8813506 w 10693106"/>
              <a:gd name="connsiteY116-6282" fmla="*/ 4093688 h 5321354"/>
              <a:gd name="connsiteX117-6283" fmla="*/ 8728840 w 10693106"/>
              <a:gd name="connsiteY117-6284" fmla="*/ 4136021 h 5321354"/>
              <a:gd name="connsiteX118-6285" fmla="*/ 8373240 w 10693106"/>
              <a:gd name="connsiteY118-6286" fmla="*/ 4169888 h 5321354"/>
              <a:gd name="connsiteX119-6287" fmla="*/ 7966840 w 10693106"/>
              <a:gd name="connsiteY119-6288" fmla="*/ 4263021 h 5321354"/>
              <a:gd name="connsiteX120-6289" fmla="*/ 7687440 w 10693106"/>
              <a:gd name="connsiteY120-6290" fmla="*/ 4423888 h 5321354"/>
              <a:gd name="connsiteX121-6291" fmla="*/ 7551973 w 10693106"/>
              <a:gd name="connsiteY121-6292" fmla="*/ 4508554 h 5321354"/>
              <a:gd name="connsiteX122-6293" fmla="*/ 7374173 w 10693106"/>
              <a:gd name="connsiteY122-6294" fmla="*/ 4686354 h 5321354"/>
              <a:gd name="connsiteX123-6295" fmla="*/ 7374173 w 10693106"/>
              <a:gd name="connsiteY123-6296" fmla="*/ 4686354 h 5321354"/>
              <a:gd name="connsiteX124-6297" fmla="*/ 7221773 w 10693106"/>
              <a:gd name="connsiteY124-6298" fmla="*/ 4804888 h 5321354"/>
              <a:gd name="connsiteX125-6299" fmla="*/ 7027040 w 10693106"/>
              <a:gd name="connsiteY125-6300" fmla="*/ 4931888 h 5321354"/>
              <a:gd name="connsiteX126-6301" fmla="*/ 6883106 w 10693106"/>
              <a:gd name="connsiteY126-6302" fmla="*/ 4999621 h 5321354"/>
              <a:gd name="connsiteX127-6303" fmla="*/ 6815373 w 10693106"/>
              <a:gd name="connsiteY127-6304" fmla="*/ 5041954 h 5321354"/>
              <a:gd name="connsiteX128-6305" fmla="*/ 6646040 w 10693106"/>
              <a:gd name="connsiteY128-6306" fmla="*/ 5135088 h 5321354"/>
              <a:gd name="connsiteX129-6307" fmla="*/ 6527506 w 10693106"/>
              <a:gd name="connsiteY129-6308" fmla="*/ 5194354 h 5321354"/>
              <a:gd name="connsiteX130-6309" fmla="*/ 6298906 w 10693106"/>
              <a:gd name="connsiteY130-6310" fmla="*/ 5270554 h 5321354"/>
              <a:gd name="connsiteX131-6311" fmla="*/ 6197306 w 10693106"/>
              <a:gd name="connsiteY131-6312" fmla="*/ 5295954 h 5321354"/>
              <a:gd name="connsiteX132-6313" fmla="*/ 6061840 w 10693106"/>
              <a:gd name="connsiteY132-6314" fmla="*/ 5304421 h 5321354"/>
              <a:gd name="connsiteX133-6315" fmla="*/ 5917906 w 10693106"/>
              <a:gd name="connsiteY133-6316" fmla="*/ 5321354 h 5321354"/>
              <a:gd name="connsiteX134-6317" fmla="*/ 5748573 w 10693106"/>
              <a:gd name="connsiteY134-6318" fmla="*/ 5312888 h 5321354"/>
              <a:gd name="connsiteX135-6319" fmla="*/ 5282906 w 10693106"/>
              <a:gd name="connsiteY135-6320" fmla="*/ 5202821 h 5321354"/>
              <a:gd name="connsiteX136-6321" fmla="*/ 5138973 w 10693106"/>
              <a:gd name="connsiteY136-6322" fmla="*/ 5101221 h 5321354"/>
              <a:gd name="connsiteX137-6323" fmla="*/ 5020440 w 10693106"/>
              <a:gd name="connsiteY137-6324" fmla="*/ 4948821 h 5321354"/>
              <a:gd name="connsiteX138-6325" fmla="*/ 4952706 w 10693106"/>
              <a:gd name="connsiteY138-6326" fmla="*/ 4872621 h 5321354"/>
              <a:gd name="connsiteX139-6327" fmla="*/ 4884973 w 10693106"/>
              <a:gd name="connsiteY139-6328" fmla="*/ 4804888 h 5321354"/>
              <a:gd name="connsiteX140-6329" fmla="*/ 4732573 w 10693106"/>
              <a:gd name="connsiteY140-6330" fmla="*/ 4627088 h 5321354"/>
              <a:gd name="connsiteX141-6331" fmla="*/ 4673306 w 10693106"/>
              <a:gd name="connsiteY141-6332" fmla="*/ 4559354 h 5321354"/>
              <a:gd name="connsiteX142-6333" fmla="*/ 4487040 w 10693106"/>
              <a:gd name="connsiteY142-6334" fmla="*/ 4432354 h 5321354"/>
              <a:gd name="connsiteX143-6335" fmla="*/ 4427773 w 10693106"/>
              <a:gd name="connsiteY143-6336" fmla="*/ 4398488 h 5321354"/>
              <a:gd name="connsiteX144-6337" fmla="*/ 4343106 w 10693106"/>
              <a:gd name="connsiteY144-6338" fmla="*/ 4364621 h 5321354"/>
              <a:gd name="connsiteX145-6339" fmla="*/ 4224573 w 10693106"/>
              <a:gd name="connsiteY145-6340" fmla="*/ 4288421 h 5321354"/>
              <a:gd name="connsiteX146-6341" fmla="*/ 4156840 w 10693106"/>
              <a:gd name="connsiteY146-6342" fmla="*/ 4229154 h 5321354"/>
              <a:gd name="connsiteX147-6343" fmla="*/ 4021373 w 10693106"/>
              <a:gd name="connsiteY147-6344" fmla="*/ 4085221 h 5321354"/>
              <a:gd name="connsiteX148-6345" fmla="*/ 3919773 w 10693106"/>
              <a:gd name="connsiteY148-6346" fmla="*/ 3949754 h 5321354"/>
              <a:gd name="connsiteX149-6347" fmla="*/ 3877440 w 10693106"/>
              <a:gd name="connsiteY149-6348" fmla="*/ 3653421 h 5321354"/>
              <a:gd name="connsiteX150-6349" fmla="*/ 3852040 w 10693106"/>
              <a:gd name="connsiteY150-6350" fmla="*/ 3560288 h 5321354"/>
              <a:gd name="connsiteX151-6351" fmla="*/ 3801240 w 10693106"/>
              <a:gd name="connsiteY151-6352" fmla="*/ 3450221 h 5321354"/>
              <a:gd name="connsiteX152-6353" fmla="*/ 3733506 w 10693106"/>
              <a:gd name="connsiteY152-6354" fmla="*/ 3348621 h 5321354"/>
              <a:gd name="connsiteX153-6355" fmla="*/ 3242440 w 10693106"/>
              <a:gd name="connsiteY153-6356" fmla="*/ 3128488 h 5321354"/>
              <a:gd name="connsiteX154-6357" fmla="*/ 3123906 w 10693106"/>
              <a:gd name="connsiteY154-6358" fmla="*/ 3026888 h 5321354"/>
              <a:gd name="connsiteX155-6359" fmla="*/ 2988440 w 10693106"/>
              <a:gd name="connsiteY155-6360" fmla="*/ 2832154 h 5321354"/>
              <a:gd name="connsiteX156-6361" fmla="*/ 2971506 w 10693106"/>
              <a:gd name="connsiteY156-6362" fmla="*/ 2772888 h 5321354"/>
              <a:gd name="connsiteX157-6363" fmla="*/ 2996906 w 10693106"/>
              <a:gd name="connsiteY157-6364" fmla="*/ 2561221 h 5321354"/>
              <a:gd name="connsiteX158-6365" fmla="*/ 3013840 w 10693106"/>
              <a:gd name="connsiteY158-6366" fmla="*/ 2459621 h 5321354"/>
              <a:gd name="connsiteX159-6367" fmla="*/ 3005373 w 10693106"/>
              <a:gd name="connsiteY159-6368" fmla="*/ 2341088 h 5321354"/>
              <a:gd name="connsiteX160-6369" fmla="*/ 2988440 w 10693106"/>
              <a:gd name="connsiteY160-6370" fmla="*/ 2290288 h 5321354"/>
              <a:gd name="connsiteX161-6371" fmla="*/ 2802173 w 10693106"/>
              <a:gd name="connsiteY161-6372" fmla="*/ 2036288 h 5321354"/>
              <a:gd name="connsiteX162-6373" fmla="*/ 2641306 w 10693106"/>
              <a:gd name="connsiteY162-6374" fmla="*/ 1892354 h 5321354"/>
              <a:gd name="connsiteX163-6375" fmla="*/ 2590506 w 10693106"/>
              <a:gd name="connsiteY163-6376" fmla="*/ 1866954 h 5321354"/>
              <a:gd name="connsiteX164-6377" fmla="*/ 2531240 w 10693106"/>
              <a:gd name="connsiteY164-6378" fmla="*/ 1858488 h 5321354"/>
              <a:gd name="connsiteX165-6379" fmla="*/ 2446573 w 10693106"/>
              <a:gd name="connsiteY165-6380" fmla="*/ 1841554 h 5321354"/>
              <a:gd name="connsiteX166-6381" fmla="*/ 2251840 w 10693106"/>
              <a:gd name="connsiteY166-6382" fmla="*/ 1866954 h 5321354"/>
              <a:gd name="connsiteX167-6383" fmla="*/ 2167173 w 10693106"/>
              <a:gd name="connsiteY167-6384" fmla="*/ 1909288 h 5321354"/>
              <a:gd name="connsiteX168-6385" fmla="*/ 1980906 w 10693106"/>
              <a:gd name="connsiteY168-6386" fmla="*/ 1968554 h 5321354"/>
              <a:gd name="connsiteX169-6387" fmla="*/ 1904706 w 10693106"/>
              <a:gd name="connsiteY169-6388" fmla="*/ 2002421 h 5321354"/>
              <a:gd name="connsiteX170-6389" fmla="*/ 1828506 w 10693106"/>
              <a:gd name="connsiteY170-6390" fmla="*/ 2019354 h 5321354"/>
              <a:gd name="connsiteX171-6391" fmla="*/ 1726906 w 10693106"/>
              <a:gd name="connsiteY171-6392" fmla="*/ 2070154 h 5321354"/>
              <a:gd name="connsiteX172-6393" fmla="*/ 1659173 w 10693106"/>
              <a:gd name="connsiteY172-6394" fmla="*/ 2104021 h 5321354"/>
              <a:gd name="connsiteX173-6395" fmla="*/ 1498306 w 10693106"/>
              <a:gd name="connsiteY173-6396" fmla="*/ 2129421 h 5321354"/>
              <a:gd name="connsiteX174-6397" fmla="*/ 914106 w 10693106"/>
              <a:gd name="connsiteY174-6398" fmla="*/ 2061688 h 5321354"/>
              <a:gd name="connsiteX175-6399" fmla="*/ 617773 w 10693106"/>
              <a:gd name="connsiteY175-6400" fmla="*/ 1951621 h 5321354"/>
              <a:gd name="connsiteX176-6401" fmla="*/ 516173 w 10693106"/>
              <a:gd name="connsiteY176-6402" fmla="*/ 1866954 h 5321354"/>
              <a:gd name="connsiteX177-6403" fmla="*/ 355306 w 10693106"/>
              <a:gd name="connsiteY177-6404" fmla="*/ 1655288 h 5321354"/>
              <a:gd name="connsiteX178-6405" fmla="*/ 296040 w 10693106"/>
              <a:gd name="connsiteY178-6406" fmla="*/ 1553688 h 5321354"/>
              <a:gd name="connsiteX179-6407" fmla="*/ 253706 w 10693106"/>
              <a:gd name="connsiteY179-6408" fmla="*/ 1375888 h 5321354"/>
              <a:gd name="connsiteX180-6409" fmla="*/ 245240 w 10693106"/>
              <a:gd name="connsiteY180-6410" fmla="*/ 1248888 h 5321354"/>
              <a:gd name="connsiteX181-6411" fmla="*/ 236773 w 10693106"/>
              <a:gd name="connsiteY181-6412" fmla="*/ 1147288 h 5321354"/>
              <a:gd name="connsiteX182-6413" fmla="*/ 245240 w 10693106"/>
              <a:gd name="connsiteY182-6414" fmla="*/ 876354 h 5321354"/>
              <a:gd name="connsiteX183-6415" fmla="*/ 236773 w 10693106"/>
              <a:gd name="connsiteY183-6416" fmla="*/ 732421 h 5321354"/>
              <a:gd name="connsiteX184-6417" fmla="*/ 109773 w 10693106"/>
              <a:gd name="connsiteY184-6418" fmla="*/ 588488 h 5321354"/>
              <a:gd name="connsiteX185-6419" fmla="*/ 58973 w 10693106"/>
              <a:gd name="connsiteY185-6420" fmla="*/ 512288 h 5321354"/>
              <a:gd name="connsiteX186-6421" fmla="*/ 16640 w 10693106"/>
              <a:gd name="connsiteY186-6422" fmla="*/ 461488 h 5321354"/>
              <a:gd name="connsiteX187-6423" fmla="*/ 8173 w 10693106"/>
              <a:gd name="connsiteY187-6424" fmla="*/ 419154 h 5321354"/>
              <a:gd name="connsiteX188-6425" fmla="*/ 16640 w 10693106"/>
              <a:gd name="connsiteY188-6426" fmla="*/ 368354 h 5321354"/>
              <a:gd name="connsiteX0-6427" fmla="*/ 16640 w 10693106"/>
              <a:gd name="connsiteY0-6428" fmla="*/ 368354 h 5321354"/>
              <a:gd name="connsiteX1-6429" fmla="*/ 58973 w 10693106"/>
              <a:gd name="connsiteY1-6430" fmla="*/ 275221 h 5321354"/>
              <a:gd name="connsiteX2-6431" fmla="*/ 109773 w 10693106"/>
              <a:gd name="connsiteY2-6432" fmla="*/ 207488 h 5321354"/>
              <a:gd name="connsiteX3-6433" fmla="*/ 202906 w 10693106"/>
              <a:gd name="connsiteY3-6434" fmla="*/ 122821 h 5321354"/>
              <a:gd name="connsiteX4-6435" fmla="*/ 236773 w 10693106"/>
              <a:gd name="connsiteY4-6436" fmla="*/ 97421 h 5321354"/>
              <a:gd name="connsiteX5-6437" fmla="*/ 346840 w 10693106"/>
              <a:gd name="connsiteY5-6438" fmla="*/ 38154 h 5321354"/>
              <a:gd name="connsiteX6-6439" fmla="*/ 397640 w 10693106"/>
              <a:gd name="connsiteY6-6440" fmla="*/ 4288 h 5321354"/>
              <a:gd name="connsiteX7-6441" fmla="*/ 467297 w 10693106"/>
              <a:gd name="connsiteY7-6442" fmla="*/ 143218 h 5321354"/>
              <a:gd name="connsiteX8-6443" fmla="*/ 492697 w 10693106"/>
              <a:gd name="connsiteY8-6444" fmla="*/ 103579 h 5321354"/>
              <a:gd name="connsiteX9-6445" fmla="*/ 822897 w 10693106"/>
              <a:gd name="connsiteY9-6446" fmla="*/ 112045 h 5321354"/>
              <a:gd name="connsiteX10-6447" fmla="*/ 1091906 w 10693106"/>
              <a:gd name="connsiteY10-6448" fmla="*/ 29688 h 5321354"/>
              <a:gd name="connsiteX11-6449" fmla="*/ 1235840 w 10693106"/>
              <a:gd name="connsiteY11-6450" fmla="*/ 88954 h 5321354"/>
              <a:gd name="connsiteX12-6451" fmla="*/ 1337440 w 10693106"/>
              <a:gd name="connsiteY12-6452" fmla="*/ 165154 h 5321354"/>
              <a:gd name="connsiteX13-6453" fmla="*/ 1422106 w 10693106"/>
              <a:gd name="connsiteY13-6454" fmla="*/ 275221 h 5321354"/>
              <a:gd name="connsiteX14-6455" fmla="*/ 1481373 w 10693106"/>
              <a:gd name="connsiteY14-6456" fmla="*/ 342954 h 5321354"/>
              <a:gd name="connsiteX15-6457" fmla="*/ 1532173 w 10693106"/>
              <a:gd name="connsiteY15-6458" fmla="*/ 376821 h 5321354"/>
              <a:gd name="connsiteX16-6459" fmla="*/ 1684573 w 10693106"/>
              <a:gd name="connsiteY16-6460" fmla="*/ 436088 h 5321354"/>
              <a:gd name="connsiteX17-6461" fmla="*/ 1760773 w 10693106"/>
              <a:gd name="connsiteY17-6462" fmla="*/ 453021 h 5321354"/>
              <a:gd name="connsiteX18-6463" fmla="*/ 1997840 w 10693106"/>
              <a:gd name="connsiteY18-6464" fmla="*/ 444554 h 5321354"/>
              <a:gd name="connsiteX19-6465" fmla="*/ 2116373 w 10693106"/>
              <a:gd name="connsiteY19-6466" fmla="*/ 427621 h 5321354"/>
              <a:gd name="connsiteX20-6467" fmla="*/ 2260306 w 10693106"/>
              <a:gd name="connsiteY20-6468" fmla="*/ 410688 h 5321354"/>
              <a:gd name="connsiteX21-6469" fmla="*/ 2404240 w 10693106"/>
              <a:gd name="connsiteY21-6470" fmla="*/ 385288 h 5321354"/>
              <a:gd name="connsiteX22-6471" fmla="*/ 2455040 w 10693106"/>
              <a:gd name="connsiteY22-6472" fmla="*/ 359888 h 5321354"/>
              <a:gd name="connsiteX23-6473" fmla="*/ 2531240 w 10693106"/>
              <a:gd name="connsiteY23-6474" fmla="*/ 334488 h 5321354"/>
              <a:gd name="connsiteX24-6475" fmla="*/ 2683640 w 10693106"/>
              <a:gd name="connsiteY24-6476" fmla="*/ 207488 h 5321354"/>
              <a:gd name="connsiteX25-6477" fmla="*/ 2742906 w 10693106"/>
              <a:gd name="connsiteY25-6478" fmla="*/ 215954 h 5321354"/>
              <a:gd name="connsiteX26-6479" fmla="*/ 2764920 w 10693106"/>
              <a:gd name="connsiteY26-6480" fmla="*/ 202408 h 5321354"/>
              <a:gd name="connsiteX27-6481" fmla="*/ 2832653 w 10693106"/>
              <a:gd name="connsiteY27-6482" fmla="*/ 197328 h 5321354"/>
              <a:gd name="connsiteX28-6483" fmla="*/ 3002294 w 10693106"/>
              <a:gd name="connsiteY28-6484" fmla="*/ 184012 h 5321354"/>
              <a:gd name="connsiteX29-6485" fmla="*/ 3142763 w 10693106"/>
              <a:gd name="connsiteY29-6486" fmla="*/ 139753 h 5321354"/>
              <a:gd name="connsiteX30-6487" fmla="*/ 3398918 w 10693106"/>
              <a:gd name="connsiteY30-6488" fmla="*/ 101654 h 5321354"/>
              <a:gd name="connsiteX31-6489" fmla="*/ 3606506 w 10693106"/>
              <a:gd name="connsiteY31-6490" fmla="*/ 89725 h 5321354"/>
              <a:gd name="connsiteX32-6491" fmla="*/ 3682706 w 10693106"/>
              <a:gd name="connsiteY32-6492" fmla="*/ 109274 h 5321354"/>
              <a:gd name="connsiteX33-6493" fmla="*/ 3741973 w 10693106"/>
              <a:gd name="connsiteY33-6494" fmla="*/ 115893 h 5321354"/>
              <a:gd name="connsiteX34-6495" fmla="*/ 3792773 w 10693106"/>
              <a:gd name="connsiteY34-6496" fmla="*/ 151608 h 5321354"/>
              <a:gd name="connsiteX35-6497" fmla="*/ 3831720 w 10693106"/>
              <a:gd name="connsiteY35-6498" fmla="*/ 166848 h 5321354"/>
              <a:gd name="connsiteX36-6499" fmla="*/ 3896297 w 10693106"/>
              <a:gd name="connsiteY36-6500" fmla="*/ 186321 h 5321354"/>
              <a:gd name="connsiteX37-6501" fmla="*/ 3945173 w 10693106"/>
              <a:gd name="connsiteY37-6502" fmla="*/ 114354 h 5321354"/>
              <a:gd name="connsiteX38-6503" fmla="*/ 3995973 w 10693106"/>
              <a:gd name="connsiteY38-6504" fmla="*/ 139754 h 5321354"/>
              <a:gd name="connsiteX39-6505" fmla="*/ 4021373 w 10693106"/>
              <a:gd name="connsiteY39-6506" fmla="*/ 173621 h 5321354"/>
              <a:gd name="connsiteX40-6507" fmla="*/ 4055240 w 10693106"/>
              <a:gd name="connsiteY40-6508" fmla="*/ 182088 h 5321354"/>
              <a:gd name="connsiteX41-6509" fmla="*/ 4275373 w 10693106"/>
              <a:gd name="connsiteY41-6510" fmla="*/ 224421 h 5321354"/>
              <a:gd name="connsiteX42-6511" fmla="*/ 4402373 w 10693106"/>
              <a:gd name="connsiteY42-6512" fmla="*/ 258288 h 5321354"/>
              <a:gd name="connsiteX43-6513" fmla="*/ 4529373 w 10693106"/>
              <a:gd name="connsiteY43-6514" fmla="*/ 300621 h 5321354"/>
              <a:gd name="connsiteX44-6515" fmla="*/ 4859573 w 10693106"/>
              <a:gd name="connsiteY44-6516" fmla="*/ 376821 h 5321354"/>
              <a:gd name="connsiteX45-6517" fmla="*/ 5045840 w 10693106"/>
              <a:gd name="connsiteY45-6518" fmla="*/ 453021 h 5321354"/>
              <a:gd name="connsiteX46-6519" fmla="*/ 5325240 w 10693106"/>
              <a:gd name="connsiteY46-6520" fmla="*/ 613888 h 5321354"/>
              <a:gd name="connsiteX47-6521" fmla="*/ 5494573 w 10693106"/>
              <a:gd name="connsiteY47-6522" fmla="*/ 766288 h 5321354"/>
              <a:gd name="connsiteX48-6523" fmla="*/ 5562306 w 10693106"/>
              <a:gd name="connsiteY48-6524" fmla="*/ 842488 h 5321354"/>
              <a:gd name="connsiteX49-6525" fmla="*/ 5621573 w 10693106"/>
              <a:gd name="connsiteY49-6526" fmla="*/ 893288 h 5321354"/>
              <a:gd name="connsiteX50-6527" fmla="*/ 5672373 w 10693106"/>
              <a:gd name="connsiteY50-6528" fmla="*/ 961021 h 5321354"/>
              <a:gd name="connsiteX51-6529" fmla="*/ 5757040 w 10693106"/>
              <a:gd name="connsiteY51-6530" fmla="*/ 1062621 h 5321354"/>
              <a:gd name="connsiteX52-6531" fmla="*/ 5833240 w 10693106"/>
              <a:gd name="connsiteY52-6532" fmla="*/ 1155754 h 5321354"/>
              <a:gd name="connsiteX53-6533" fmla="*/ 6019506 w 10693106"/>
              <a:gd name="connsiteY53-6534" fmla="*/ 1358954 h 5321354"/>
              <a:gd name="connsiteX54-6535" fmla="*/ 6087240 w 10693106"/>
              <a:gd name="connsiteY54-6536" fmla="*/ 1409754 h 5321354"/>
              <a:gd name="connsiteX55-6537" fmla="*/ 6171906 w 10693106"/>
              <a:gd name="connsiteY55-6538" fmla="*/ 1511354 h 5321354"/>
              <a:gd name="connsiteX56-6539" fmla="*/ 6451306 w 10693106"/>
              <a:gd name="connsiteY56-6540" fmla="*/ 1723021 h 5321354"/>
              <a:gd name="connsiteX57-6541" fmla="*/ 6519040 w 10693106"/>
              <a:gd name="connsiteY57-6542" fmla="*/ 1731488 h 5321354"/>
              <a:gd name="connsiteX58-6543" fmla="*/ 6603706 w 10693106"/>
              <a:gd name="connsiteY58-6544" fmla="*/ 1765354 h 5321354"/>
              <a:gd name="connsiteX59-6545" fmla="*/ 6671440 w 10693106"/>
              <a:gd name="connsiteY59-6546" fmla="*/ 1799221 h 5321354"/>
              <a:gd name="connsiteX60-6547" fmla="*/ 6866173 w 10693106"/>
              <a:gd name="connsiteY60-6548" fmla="*/ 1824621 h 5321354"/>
              <a:gd name="connsiteX61-6549" fmla="*/ 7196373 w 10693106"/>
              <a:gd name="connsiteY61-6550" fmla="*/ 1807688 h 5321354"/>
              <a:gd name="connsiteX62-6551" fmla="*/ 7509640 w 10693106"/>
              <a:gd name="connsiteY62-6552" fmla="*/ 1731488 h 5321354"/>
              <a:gd name="connsiteX63-6553" fmla="*/ 7628173 w 10693106"/>
              <a:gd name="connsiteY63-6554" fmla="*/ 1706088 h 5321354"/>
              <a:gd name="connsiteX64-6555" fmla="*/ 7704373 w 10693106"/>
              <a:gd name="connsiteY64-6556" fmla="*/ 1663754 h 5321354"/>
              <a:gd name="connsiteX65-6557" fmla="*/ 7755173 w 10693106"/>
              <a:gd name="connsiteY65-6558" fmla="*/ 1655288 h 5321354"/>
              <a:gd name="connsiteX66-6559" fmla="*/ 7797506 w 10693106"/>
              <a:gd name="connsiteY66-6560" fmla="*/ 1621421 h 5321354"/>
              <a:gd name="connsiteX67-6561" fmla="*/ 7856773 w 10693106"/>
              <a:gd name="connsiteY67-6562" fmla="*/ 1604488 h 5321354"/>
              <a:gd name="connsiteX68-6563" fmla="*/ 7958373 w 10693106"/>
              <a:gd name="connsiteY68-6564" fmla="*/ 1536754 h 5321354"/>
              <a:gd name="connsiteX69-6565" fmla="*/ 8009173 w 10693106"/>
              <a:gd name="connsiteY69-6566" fmla="*/ 1485954 h 5321354"/>
              <a:gd name="connsiteX70-6567" fmla="*/ 8339373 w 10693106"/>
              <a:gd name="connsiteY70-6568" fmla="*/ 1240421 h 5321354"/>
              <a:gd name="connsiteX71-6569" fmla="*/ 8576440 w 10693106"/>
              <a:gd name="connsiteY71-6570" fmla="*/ 986421 h 5321354"/>
              <a:gd name="connsiteX72-6571" fmla="*/ 8652640 w 10693106"/>
              <a:gd name="connsiteY72-6572" fmla="*/ 707021 h 5321354"/>
              <a:gd name="connsiteX73-6573" fmla="*/ 8847373 w 10693106"/>
              <a:gd name="connsiteY73-6574" fmla="*/ 520754 h 5321354"/>
              <a:gd name="connsiteX74-6575" fmla="*/ 8982840 w 10693106"/>
              <a:gd name="connsiteY74-6576" fmla="*/ 427621 h 5321354"/>
              <a:gd name="connsiteX75-6577" fmla="*/ 9084440 w 10693106"/>
              <a:gd name="connsiteY75-6578" fmla="*/ 393754 h 5321354"/>
              <a:gd name="connsiteX76-6579" fmla="*/ 9152173 w 10693106"/>
              <a:gd name="connsiteY76-6580" fmla="*/ 368354 h 5321354"/>
              <a:gd name="connsiteX77-6581" fmla="*/ 9380773 w 10693106"/>
              <a:gd name="connsiteY77-6582" fmla="*/ 385288 h 5321354"/>
              <a:gd name="connsiteX78-6583" fmla="*/ 9744840 w 10693106"/>
              <a:gd name="connsiteY78-6584" fmla="*/ 495354 h 5321354"/>
              <a:gd name="connsiteX79-6585" fmla="*/ 9888773 w 10693106"/>
              <a:gd name="connsiteY79-6586" fmla="*/ 537688 h 5321354"/>
              <a:gd name="connsiteX80-6587" fmla="*/ 9998840 w 10693106"/>
              <a:gd name="connsiteY80-6588" fmla="*/ 588488 h 5321354"/>
              <a:gd name="connsiteX81-6589" fmla="*/ 10083506 w 10693106"/>
              <a:gd name="connsiteY81-6590" fmla="*/ 647754 h 5321354"/>
              <a:gd name="connsiteX82-6591" fmla="*/ 10286706 w 10693106"/>
              <a:gd name="connsiteY82-6592" fmla="*/ 715488 h 5321354"/>
              <a:gd name="connsiteX83-6593" fmla="*/ 10388306 w 10693106"/>
              <a:gd name="connsiteY83-6594" fmla="*/ 918688 h 5321354"/>
              <a:gd name="connsiteX84-6595" fmla="*/ 10540706 w 10693106"/>
              <a:gd name="connsiteY84-6596" fmla="*/ 1291221 h 5321354"/>
              <a:gd name="connsiteX85-6597" fmla="*/ 10557640 w 10693106"/>
              <a:gd name="connsiteY85-6598" fmla="*/ 1375888 h 5321354"/>
              <a:gd name="connsiteX86-6599" fmla="*/ 10583040 w 10693106"/>
              <a:gd name="connsiteY86-6600" fmla="*/ 1477488 h 5321354"/>
              <a:gd name="connsiteX87-6601" fmla="*/ 10616906 w 10693106"/>
              <a:gd name="connsiteY87-6602" fmla="*/ 1680688 h 5321354"/>
              <a:gd name="connsiteX88-6603" fmla="*/ 10633840 w 10693106"/>
              <a:gd name="connsiteY88-6604" fmla="*/ 1765354 h 5321354"/>
              <a:gd name="connsiteX89-6605" fmla="*/ 10650773 w 10693106"/>
              <a:gd name="connsiteY89-6606" fmla="*/ 1799221 h 5321354"/>
              <a:gd name="connsiteX90-6607" fmla="*/ 10676173 w 10693106"/>
              <a:gd name="connsiteY90-6608" fmla="*/ 1883888 h 5321354"/>
              <a:gd name="connsiteX91-6609" fmla="*/ 10693106 w 10693106"/>
              <a:gd name="connsiteY91-6610" fmla="*/ 2036288 h 5321354"/>
              <a:gd name="connsiteX92-6611" fmla="*/ 10625373 w 10693106"/>
              <a:gd name="connsiteY92-6612" fmla="*/ 2256421 h 5321354"/>
              <a:gd name="connsiteX93-6613" fmla="*/ 10608440 w 10693106"/>
              <a:gd name="connsiteY93-6614" fmla="*/ 2281821 h 5321354"/>
              <a:gd name="connsiteX94-6615" fmla="*/ 10540706 w 10693106"/>
              <a:gd name="connsiteY94-6616" fmla="*/ 2425754 h 5321354"/>
              <a:gd name="connsiteX95-6617" fmla="*/ 10498373 w 10693106"/>
              <a:gd name="connsiteY95-6618" fmla="*/ 2510421 h 5321354"/>
              <a:gd name="connsiteX96-6619" fmla="*/ 10439106 w 10693106"/>
              <a:gd name="connsiteY96-6620" fmla="*/ 2696688 h 5321354"/>
              <a:gd name="connsiteX97-6621" fmla="*/ 10430640 w 10693106"/>
              <a:gd name="connsiteY97-6622" fmla="*/ 2739021 h 5321354"/>
              <a:gd name="connsiteX98-6623" fmla="*/ 10405240 w 10693106"/>
              <a:gd name="connsiteY98-6624" fmla="*/ 2815221 h 5321354"/>
              <a:gd name="connsiteX99-6625" fmla="*/ 10396773 w 10693106"/>
              <a:gd name="connsiteY99-6626" fmla="*/ 2849088 h 5321354"/>
              <a:gd name="connsiteX100-6627" fmla="*/ 10362906 w 10693106"/>
              <a:gd name="connsiteY100-6628" fmla="*/ 2942221 h 5321354"/>
              <a:gd name="connsiteX101-6629" fmla="*/ 10329040 w 10693106"/>
              <a:gd name="connsiteY101-6630" fmla="*/ 2984554 h 5321354"/>
              <a:gd name="connsiteX102-6631" fmla="*/ 10227440 w 10693106"/>
              <a:gd name="connsiteY102-6632" fmla="*/ 3086154 h 5321354"/>
              <a:gd name="connsiteX103-6633" fmla="*/ 10168173 w 10693106"/>
              <a:gd name="connsiteY103-6634" fmla="*/ 3153888 h 5321354"/>
              <a:gd name="connsiteX104-6635" fmla="*/ 10117373 w 10693106"/>
              <a:gd name="connsiteY104-6636" fmla="*/ 3204688 h 5321354"/>
              <a:gd name="connsiteX105-6637" fmla="*/ 10032706 w 10693106"/>
              <a:gd name="connsiteY105-6638" fmla="*/ 3306288 h 5321354"/>
              <a:gd name="connsiteX106-6639" fmla="*/ 9948040 w 10693106"/>
              <a:gd name="connsiteY106-6640" fmla="*/ 3365554 h 5321354"/>
              <a:gd name="connsiteX107-6641" fmla="*/ 9905706 w 10693106"/>
              <a:gd name="connsiteY107-6642" fmla="*/ 3390954 h 5321354"/>
              <a:gd name="connsiteX108-6643" fmla="*/ 9829506 w 10693106"/>
              <a:gd name="connsiteY108-6644" fmla="*/ 3407888 h 5321354"/>
              <a:gd name="connsiteX109-6645" fmla="*/ 9727906 w 10693106"/>
              <a:gd name="connsiteY109-6646" fmla="*/ 3450221 h 5321354"/>
              <a:gd name="connsiteX110-6647" fmla="*/ 9634773 w 10693106"/>
              <a:gd name="connsiteY110-6648" fmla="*/ 3475621 h 5321354"/>
              <a:gd name="connsiteX111-6649" fmla="*/ 9456973 w 10693106"/>
              <a:gd name="connsiteY111-6650" fmla="*/ 3568754 h 5321354"/>
              <a:gd name="connsiteX112-6651" fmla="*/ 9313040 w 10693106"/>
              <a:gd name="connsiteY112-6652" fmla="*/ 3695754 h 5321354"/>
              <a:gd name="connsiteX113-6653" fmla="*/ 9279173 w 10693106"/>
              <a:gd name="connsiteY113-6654" fmla="*/ 3712688 h 5321354"/>
              <a:gd name="connsiteX114-6655" fmla="*/ 9067506 w 10693106"/>
              <a:gd name="connsiteY114-6656" fmla="*/ 3890488 h 5321354"/>
              <a:gd name="connsiteX115-6657" fmla="*/ 8999773 w 10693106"/>
              <a:gd name="connsiteY115-6658" fmla="*/ 3958221 h 5321354"/>
              <a:gd name="connsiteX116-6659" fmla="*/ 8813506 w 10693106"/>
              <a:gd name="connsiteY116-6660" fmla="*/ 4093688 h 5321354"/>
              <a:gd name="connsiteX117-6661" fmla="*/ 8728840 w 10693106"/>
              <a:gd name="connsiteY117-6662" fmla="*/ 4136021 h 5321354"/>
              <a:gd name="connsiteX118-6663" fmla="*/ 8373240 w 10693106"/>
              <a:gd name="connsiteY118-6664" fmla="*/ 4169888 h 5321354"/>
              <a:gd name="connsiteX119-6665" fmla="*/ 7966840 w 10693106"/>
              <a:gd name="connsiteY119-6666" fmla="*/ 4263021 h 5321354"/>
              <a:gd name="connsiteX120-6667" fmla="*/ 7687440 w 10693106"/>
              <a:gd name="connsiteY120-6668" fmla="*/ 4423888 h 5321354"/>
              <a:gd name="connsiteX121-6669" fmla="*/ 7551973 w 10693106"/>
              <a:gd name="connsiteY121-6670" fmla="*/ 4508554 h 5321354"/>
              <a:gd name="connsiteX122-6671" fmla="*/ 7374173 w 10693106"/>
              <a:gd name="connsiteY122-6672" fmla="*/ 4686354 h 5321354"/>
              <a:gd name="connsiteX123-6673" fmla="*/ 7374173 w 10693106"/>
              <a:gd name="connsiteY123-6674" fmla="*/ 4686354 h 5321354"/>
              <a:gd name="connsiteX124-6675" fmla="*/ 7221773 w 10693106"/>
              <a:gd name="connsiteY124-6676" fmla="*/ 4804888 h 5321354"/>
              <a:gd name="connsiteX125-6677" fmla="*/ 7027040 w 10693106"/>
              <a:gd name="connsiteY125-6678" fmla="*/ 4931888 h 5321354"/>
              <a:gd name="connsiteX126-6679" fmla="*/ 6883106 w 10693106"/>
              <a:gd name="connsiteY126-6680" fmla="*/ 4999621 h 5321354"/>
              <a:gd name="connsiteX127-6681" fmla="*/ 6815373 w 10693106"/>
              <a:gd name="connsiteY127-6682" fmla="*/ 5041954 h 5321354"/>
              <a:gd name="connsiteX128-6683" fmla="*/ 6646040 w 10693106"/>
              <a:gd name="connsiteY128-6684" fmla="*/ 5135088 h 5321354"/>
              <a:gd name="connsiteX129-6685" fmla="*/ 6527506 w 10693106"/>
              <a:gd name="connsiteY129-6686" fmla="*/ 5194354 h 5321354"/>
              <a:gd name="connsiteX130-6687" fmla="*/ 6298906 w 10693106"/>
              <a:gd name="connsiteY130-6688" fmla="*/ 5270554 h 5321354"/>
              <a:gd name="connsiteX131-6689" fmla="*/ 6197306 w 10693106"/>
              <a:gd name="connsiteY131-6690" fmla="*/ 5295954 h 5321354"/>
              <a:gd name="connsiteX132-6691" fmla="*/ 6061840 w 10693106"/>
              <a:gd name="connsiteY132-6692" fmla="*/ 5304421 h 5321354"/>
              <a:gd name="connsiteX133-6693" fmla="*/ 5917906 w 10693106"/>
              <a:gd name="connsiteY133-6694" fmla="*/ 5321354 h 5321354"/>
              <a:gd name="connsiteX134-6695" fmla="*/ 5748573 w 10693106"/>
              <a:gd name="connsiteY134-6696" fmla="*/ 5312888 h 5321354"/>
              <a:gd name="connsiteX135-6697" fmla="*/ 5282906 w 10693106"/>
              <a:gd name="connsiteY135-6698" fmla="*/ 5202821 h 5321354"/>
              <a:gd name="connsiteX136-6699" fmla="*/ 5138973 w 10693106"/>
              <a:gd name="connsiteY136-6700" fmla="*/ 5101221 h 5321354"/>
              <a:gd name="connsiteX137-6701" fmla="*/ 5020440 w 10693106"/>
              <a:gd name="connsiteY137-6702" fmla="*/ 4948821 h 5321354"/>
              <a:gd name="connsiteX138-6703" fmla="*/ 4952706 w 10693106"/>
              <a:gd name="connsiteY138-6704" fmla="*/ 4872621 h 5321354"/>
              <a:gd name="connsiteX139-6705" fmla="*/ 4884973 w 10693106"/>
              <a:gd name="connsiteY139-6706" fmla="*/ 4804888 h 5321354"/>
              <a:gd name="connsiteX140-6707" fmla="*/ 4732573 w 10693106"/>
              <a:gd name="connsiteY140-6708" fmla="*/ 4627088 h 5321354"/>
              <a:gd name="connsiteX141-6709" fmla="*/ 4673306 w 10693106"/>
              <a:gd name="connsiteY141-6710" fmla="*/ 4559354 h 5321354"/>
              <a:gd name="connsiteX142-6711" fmla="*/ 4487040 w 10693106"/>
              <a:gd name="connsiteY142-6712" fmla="*/ 4432354 h 5321354"/>
              <a:gd name="connsiteX143-6713" fmla="*/ 4427773 w 10693106"/>
              <a:gd name="connsiteY143-6714" fmla="*/ 4398488 h 5321354"/>
              <a:gd name="connsiteX144-6715" fmla="*/ 4343106 w 10693106"/>
              <a:gd name="connsiteY144-6716" fmla="*/ 4364621 h 5321354"/>
              <a:gd name="connsiteX145-6717" fmla="*/ 4224573 w 10693106"/>
              <a:gd name="connsiteY145-6718" fmla="*/ 4288421 h 5321354"/>
              <a:gd name="connsiteX146-6719" fmla="*/ 4156840 w 10693106"/>
              <a:gd name="connsiteY146-6720" fmla="*/ 4229154 h 5321354"/>
              <a:gd name="connsiteX147-6721" fmla="*/ 4021373 w 10693106"/>
              <a:gd name="connsiteY147-6722" fmla="*/ 4085221 h 5321354"/>
              <a:gd name="connsiteX148-6723" fmla="*/ 3919773 w 10693106"/>
              <a:gd name="connsiteY148-6724" fmla="*/ 3949754 h 5321354"/>
              <a:gd name="connsiteX149-6725" fmla="*/ 3877440 w 10693106"/>
              <a:gd name="connsiteY149-6726" fmla="*/ 3653421 h 5321354"/>
              <a:gd name="connsiteX150-6727" fmla="*/ 3852040 w 10693106"/>
              <a:gd name="connsiteY150-6728" fmla="*/ 3560288 h 5321354"/>
              <a:gd name="connsiteX151-6729" fmla="*/ 3801240 w 10693106"/>
              <a:gd name="connsiteY151-6730" fmla="*/ 3450221 h 5321354"/>
              <a:gd name="connsiteX152-6731" fmla="*/ 3733506 w 10693106"/>
              <a:gd name="connsiteY152-6732" fmla="*/ 3348621 h 5321354"/>
              <a:gd name="connsiteX153-6733" fmla="*/ 3242440 w 10693106"/>
              <a:gd name="connsiteY153-6734" fmla="*/ 3128488 h 5321354"/>
              <a:gd name="connsiteX154-6735" fmla="*/ 3123906 w 10693106"/>
              <a:gd name="connsiteY154-6736" fmla="*/ 3026888 h 5321354"/>
              <a:gd name="connsiteX155-6737" fmla="*/ 2988440 w 10693106"/>
              <a:gd name="connsiteY155-6738" fmla="*/ 2832154 h 5321354"/>
              <a:gd name="connsiteX156-6739" fmla="*/ 2971506 w 10693106"/>
              <a:gd name="connsiteY156-6740" fmla="*/ 2772888 h 5321354"/>
              <a:gd name="connsiteX157-6741" fmla="*/ 2996906 w 10693106"/>
              <a:gd name="connsiteY157-6742" fmla="*/ 2561221 h 5321354"/>
              <a:gd name="connsiteX158-6743" fmla="*/ 3013840 w 10693106"/>
              <a:gd name="connsiteY158-6744" fmla="*/ 2459621 h 5321354"/>
              <a:gd name="connsiteX159-6745" fmla="*/ 3005373 w 10693106"/>
              <a:gd name="connsiteY159-6746" fmla="*/ 2341088 h 5321354"/>
              <a:gd name="connsiteX160-6747" fmla="*/ 2988440 w 10693106"/>
              <a:gd name="connsiteY160-6748" fmla="*/ 2290288 h 5321354"/>
              <a:gd name="connsiteX161-6749" fmla="*/ 2802173 w 10693106"/>
              <a:gd name="connsiteY161-6750" fmla="*/ 2036288 h 5321354"/>
              <a:gd name="connsiteX162-6751" fmla="*/ 2641306 w 10693106"/>
              <a:gd name="connsiteY162-6752" fmla="*/ 1892354 h 5321354"/>
              <a:gd name="connsiteX163-6753" fmla="*/ 2590506 w 10693106"/>
              <a:gd name="connsiteY163-6754" fmla="*/ 1866954 h 5321354"/>
              <a:gd name="connsiteX164-6755" fmla="*/ 2531240 w 10693106"/>
              <a:gd name="connsiteY164-6756" fmla="*/ 1858488 h 5321354"/>
              <a:gd name="connsiteX165-6757" fmla="*/ 2446573 w 10693106"/>
              <a:gd name="connsiteY165-6758" fmla="*/ 1841554 h 5321354"/>
              <a:gd name="connsiteX166-6759" fmla="*/ 2251840 w 10693106"/>
              <a:gd name="connsiteY166-6760" fmla="*/ 1866954 h 5321354"/>
              <a:gd name="connsiteX167-6761" fmla="*/ 2167173 w 10693106"/>
              <a:gd name="connsiteY167-6762" fmla="*/ 1909288 h 5321354"/>
              <a:gd name="connsiteX168-6763" fmla="*/ 1980906 w 10693106"/>
              <a:gd name="connsiteY168-6764" fmla="*/ 1968554 h 5321354"/>
              <a:gd name="connsiteX169-6765" fmla="*/ 1904706 w 10693106"/>
              <a:gd name="connsiteY169-6766" fmla="*/ 2002421 h 5321354"/>
              <a:gd name="connsiteX170-6767" fmla="*/ 1828506 w 10693106"/>
              <a:gd name="connsiteY170-6768" fmla="*/ 2019354 h 5321354"/>
              <a:gd name="connsiteX171-6769" fmla="*/ 1726906 w 10693106"/>
              <a:gd name="connsiteY171-6770" fmla="*/ 2070154 h 5321354"/>
              <a:gd name="connsiteX172-6771" fmla="*/ 1659173 w 10693106"/>
              <a:gd name="connsiteY172-6772" fmla="*/ 2104021 h 5321354"/>
              <a:gd name="connsiteX173-6773" fmla="*/ 1498306 w 10693106"/>
              <a:gd name="connsiteY173-6774" fmla="*/ 2129421 h 5321354"/>
              <a:gd name="connsiteX174-6775" fmla="*/ 914106 w 10693106"/>
              <a:gd name="connsiteY174-6776" fmla="*/ 2061688 h 5321354"/>
              <a:gd name="connsiteX175-6777" fmla="*/ 617773 w 10693106"/>
              <a:gd name="connsiteY175-6778" fmla="*/ 1951621 h 5321354"/>
              <a:gd name="connsiteX176-6779" fmla="*/ 516173 w 10693106"/>
              <a:gd name="connsiteY176-6780" fmla="*/ 1866954 h 5321354"/>
              <a:gd name="connsiteX177-6781" fmla="*/ 355306 w 10693106"/>
              <a:gd name="connsiteY177-6782" fmla="*/ 1655288 h 5321354"/>
              <a:gd name="connsiteX178-6783" fmla="*/ 296040 w 10693106"/>
              <a:gd name="connsiteY178-6784" fmla="*/ 1553688 h 5321354"/>
              <a:gd name="connsiteX179-6785" fmla="*/ 253706 w 10693106"/>
              <a:gd name="connsiteY179-6786" fmla="*/ 1375888 h 5321354"/>
              <a:gd name="connsiteX180-6787" fmla="*/ 245240 w 10693106"/>
              <a:gd name="connsiteY180-6788" fmla="*/ 1248888 h 5321354"/>
              <a:gd name="connsiteX181-6789" fmla="*/ 236773 w 10693106"/>
              <a:gd name="connsiteY181-6790" fmla="*/ 1147288 h 5321354"/>
              <a:gd name="connsiteX182-6791" fmla="*/ 245240 w 10693106"/>
              <a:gd name="connsiteY182-6792" fmla="*/ 876354 h 5321354"/>
              <a:gd name="connsiteX183-6793" fmla="*/ 236773 w 10693106"/>
              <a:gd name="connsiteY183-6794" fmla="*/ 732421 h 5321354"/>
              <a:gd name="connsiteX184-6795" fmla="*/ 109773 w 10693106"/>
              <a:gd name="connsiteY184-6796" fmla="*/ 588488 h 5321354"/>
              <a:gd name="connsiteX185-6797" fmla="*/ 58973 w 10693106"/>
              <a:gd name="connsiteY185-6798" fmla="*/ 512288 h 5321354"/>
              <a:gd name="connsiteX186-6799" fmla="*/ 16640 w 10693106"/>
              <a:gd name="connsiteY186-6800" fmla="*/ 461488 h 5321354"/>
              <a:gd name="connsiteX187-6801" fmla="*/ 8173 w 10693106"/>
              <a:gd name="connsiteY187-6802" fmla="*/ 419154 h 5321354"/>
              <a:gd name="connsiteX188-6803" fmla="*/ 16640 w 10693106"/>
              <a:gd name="connsiteY188-6804" fmla="*/ 368354 h 5321354"/>
              <a:gd name="connsiteX0-6805" fmla="*/ 16640 w 10693106"/>
              <a:gd name="connsiteY0-6806" fmla="*/ 368354 h 5321354"/>
              <a:gd name="connsiteX1-6807" fmla="*/ 58973 w 10693106"/>
              <a:gd name="connsiteY1-6808" fmla="*/ 275221 h 5321354"/>
              <a:gd name="connsiteX2-6809" fmla="*/ 109773 w 10693106"/>
              <a:gd name="connsiteY2-6810" fmla="*/ 207488 h 5321354"/>
              <a:gd name="connsiteX3-6811" fmla="*/ 202906 w 10693106"/>
              <a:gd name="connsiteY3-6812" fmla="*/ 122821 h 5321354"/>
              <a:gd name="connsiteX4-6813" fmla="*/ 236773 w 10693106"/>
              <a:gd name="connsiteY4-6814" fmla="*/ 97421 h 5321354"/>
              <a:gd name="connsiteX5-6815" fmla="*/ 346840 w 10693106"/>
              <a:gd name="connsiteY5-6816" fmla="*/ 38154 h 5321354"/>
              <a:gd name="connsiteX6-6817" fmla="*/ 397640 w 10693106"/>
              <a:gd name="connsiteY6-6818" fmla="*/ 4288 h 5321354"/>
              <a:gd name="connsiteX7-6819" fmla="*/ 467297 w 10693106"/>
              <a:gd name="connsiteY7-6820" fmla="*/ 143218 h 5321354"/>
              <a:gd name="connsiteX8-6821" fmla="*/ 492697 w 10693106"/>
              <a:gd name="connsiteY8-6822" fmla="*/ 103579 h 5321354"/>
              <a:gd name="connsiteX9-6823" fmla="*/ 822897 w 10693106"/>
              <a:gd name="connsiteY9-6824" fmla="*/ 112045 h 5321354"/>
              <a:gd name="connsiteX10-6825" fmla="*/ 1091906 w 10693106"/>
              <a:gd name="connsiteY10-6826" fmla="*/ 29688 h 5321354"/>
              <a:gd name="connsiteX11-6827" fmla="*/ 1235840 w 10693106"/>
              <a:gd name="connsiteY11-6828" fmla="*/ 88954 h 5321354"/>
              <a:gd name="connsiteX12-6829" fmla="*/ 1337440 w 10693106"/>
              <a:gd name="connsiteY12-6830" fmla="*/ 165154 h 5321354"/>
              <a:gd name="connsiteX13-6831" fmla="*/ 1422106 w 10693106"/>
              <a:gd name="connsiteY13-6832" fmla="*/ 275221 h 5321354"/>
              <a:gd name="connsiteX14-6833" fmla="*/ 1481373 w 10693106"/>
              <a:gd name="connsiteY14-6834" fmla="*/ 342954 h 5321354"/>
              <a:gd name="connsiteX15-6835" fmla="*/ 1532173 w 10693106"/>
              <a:gd name="connsiteY15-6836" fmla="*/ 376821 h 5321354"/>
              <a:gd name="connsiteX16-6837" fmla="*/ 1684573 w 10693106"/>
              <a:gd name="connsiteY16-6838" fmla="*/ 436088 h 5321354"/>
              <a:gd name="connsiteX17-6839" fmla="*/ 1760773 w 10693106"/>
              <a:gd name="connsiteY17-6840" fmla="*/ 453021 h 5321354"/>
              <a:gd name="connsiteX18-6841" fmla="*/ 1997840 w 10693106"/>
              <a:gd name="connsiteY18-6842" fmla="*/ 444554 h 5321354"/>
              <a:gd name="connsiteX19-6843" fmla="*/ 2116373 w 10693106"/>
              <a:gd name="connsiteY19-6844" fmla="*/ 427621 h 5321354"/>
              <a:gd name="connsiteX20-6845" fmla="*/ 2260306 w 10693106"/>
              <a:gd name="connsiteY20-6846" fmla="*/ 410688 h 5321354"/>
              <a:gd name="connsiteX21-6847" fmla="*/ 2404240 w 10693106"/>
              <a:gd name="connsiteY21-6848" fmla="*/ 385288 h 5321354"/>
              <a:gd name="connsiteX22-6849" fmla="*/ 2455040 w 10693106"/>
              <a:gd name="connsiteY22-6850" fmla="*/ 359888 h 5321354"/>
              <a:gd name="connsiteX23-6851" fmla="*/ 2531240 w 10693106"/>
              <a:gd name="connsiteY23-6852" fmla="*/ 334488 h 5321354"/>
              <a:gd name="connsiteX24-6853" fmla="*/ 2683640 w 10693106"/>
              <a:gd name="connsiteY24-6854" fmla="*/ 207488 h 5321354"/>
              <a:gd name="connsiteX25-6855" fmla="*/ 2742906 w 10693106"/>
              <a:gd name="connsiteY25-6856" fmla="*/ 215954 h 5321354"/>
              <a:gd name="connsiteX26-6857" fmla="*/ 2764920 w 10693106"/>
              <a:gd name="connsiteY26-6858" fmla="*/ 202408 h 5321354"/>
              <a:gd name="connsiteX27-6859" fmla="*/ 2832653 w 10693106"/>
              <a:gd name="connsiteY27-6860" fmla="*/ 197328 h 5321354"/>
              <a:gd name="connsiteX28-6861" fmla="*/ 3002294 w 10693106"/>
              <a:gd name="connsiteY28-6862" fmla="*/ 184012 h 5321354"/>
              <a:gd name="connsiteX29-6863" fmla="*/ 3142763 w 10693106"/>
              <a:gd name="connsiteY29-6864" fmla="*/ 139753 h 5321354"/>
              <a:gd name="connsiteX30-6865" fmla="*/ 3398918 w 10693106"/>
              <a:gd name="connsiteY30-6866" fmla="*/ 101654 h 5321354"/>
              <a:gd name="connsiteX31-6867" fmla="*/ 3606506 w 10693106"/>
              <a:gd name="connsiteY31-6868" fmla="*/ 89725 h 5321354"/>
              <a:gd name="connsiteX32-6869" fmla="*/ 3682706 w 10693106"/>
              <a:gd name="connsiteY32-6870" fmla="*/ 109274 h 5321354"/>
              <a:gd name="connsiteX33-6871" fmla="*/ 3741973 w 10693106"/>
              <a:gd name="connsiteY33-6872" fmla="*/ 115893 h 5321354"/>
              <a:gd name="connsiteX34-6873" fmla="*/ 3792773 w 10693106"/>
              <a:gd name="connsiteY34-6874" fmla="*/ 151608 h 5321354"/>
              <a:gd name="connsiteX35-6875" fmla="*/ 3831720 w 10693106"/>
              <a:gd name="connsiteY35-6876" fmla="*/ 166848 h 5321354"/>
              <a:gd name="connsiteX36-6877" fmla="*/ 3896297 w 10693106"/>
              <a:gd name="connsiteY36-6878" fmla="*/ 186321 h 5321354"/>
              <a:gd name="connsiteX37-6879" fmla="*/ 3950253 w 10693106"/>
              <a:gd name="connsiteY37-6880" fmla="*/ 205794 h 5321354"/>
              <a:gd name="connsiteX38-6881" fmla="*/ 3995973 w 10693106"/>
              <a:gd name="connsiteY38-6882" fmla="*/ 139754 h 5321354"/>
              <a:gd name="connsiteX39-6883" fmla="*/ 4021373 w 10693106"/>
              <a:gd name="connsiteY39-6884" fmla="*/ 173621 h 5321354"/>
              <a:gd name="connsiteX40-6885" fmla="*/ 4055240 w 10693106"/>
              <a:gd name="connsiteY40-6886" fmla="*/ 182088 h 5321354"/>
              <a:gd name="connsiteX41-6887" fmla="*/ 4275373 w 10693106"/>
              <a:gd name="connsiteY41-6888" fmla="*/ 224421 h 5321354"/>
              <a:gd name="connsiteX42-6889" fmla="*/ 4402373 w 10693106"/>
              <a:gd name="connsiteY42-6890" fmla="*/ 258288 h 5321354"/>
              <a:gd name="connsiteX43-6891" fmla="*/ 4529373 w 10693106"/>
              <a:gd name="connsiteY43-6892" fmla="*/ 300621 h 5321354"/>
              <a:gd name="connsiteX44-6893" fmla="*/ 4859573 w 10693106"/>
              <a:gd name="connsiteY44-6894" fmla="*/ 376821 h 5321354"/>
              <a:gd name="connsiteX45-6895" fmla="*/ 5045840 w 10693106"/>
              <a:gd name="connsiteY45-6896" fmla="*/ 453021 h 5321354"/>
              <a:gd name="connsiteX46-6897" fmla="*/ 5325240 w 10693106"/>
              <a:gd name="connsiteY46-6898" fmla="*/ 613888 h 5321354"/>
              <a:gd name="connsiteX47-6899" fmla="*/ 5494573 w 10693106"/>
              <a:gd name="connsiteY47-6900" fmla="*/ 766288 h 5321354"/>
              <a:gd name="connsiteX48-6901" fmla="*/ 5562306 w 10693106"/>
              <a:gd name="connsiteY48-6902" fmla="*/ 842488 h 5321354"/>
              <a:gd name="connsiteX49-6903" fmla="*/ 5621573 w 10693106"/>
              <a:gd name="connsiteY49-6904" fmla="*/ 893288 h 5321354"/>
              <a:gd name="connsiteX50-6905" fmla="*/ 5672373 w 10693106"/>
              <a:gd name="connsiteY50-6906" fmla="*/ 961021 h 5321354"/>
              <a:gd name="connsiteX51-6907" fmla="*/ 5757040 w 10693106"/>
              <a:gd name="connsiteY51-6908" fmla="*/ 1062621 h 5321354"/>
              <a:gd name="connsiteX52-6909" fmla="*/ 5833240 w 10693106"/>
              <a:gd name="connsiteY52-6910" fmla="*/ 1155754 h 5321354"/>
              <a:gd name="connsiteX53-6911" fmla="*/ 6019506 w 10693106"/>
              <a:gd name="connsiteY53-6912" fmla="*/ 1358954 h 5321354"/>
              <a:gd name="connsiteX54-6913" fmla="*/ 6087240 w 10693106"/>
              <a:gd name="connsiteY54-6914" fmla="*/ 1409754 h 5321354"/>
              <a:gd name="connsiteX55-6915" fmla="*/ 6171906 w 10693106"/>
              <a:gd name="connsiteY55-6916" fmla="*/ 1511354 h 5321354"/>
              <a:gd name="connsiteX56-6917" fmla="*/ 6451306 w 10693106"/>
              <a:gd name="connsiteY56-6918" fmla="*/ 1723021 h 5321354"/>
              <a:gd name="connsiteX57-6919" fmla="*/ 6519040 w 10693106"/>
              <a:gd name="connsiteY57-6920" fmla="*/ 1731488 h 5321354"/>
              <a:gd name="connsiteX58-6921" fmla="*/ 6603706 w 10693106"/>
              <a:gd name="connsiteY58-6922" fmla="*/ 1765354 h 5321354"/>
              <a:gd name="connsiteX59-6923" fmla="*/ 6671440 w 10693106"/>
              <a:gd name="connsiteY59-6924" fmla="*/ 1799221 h 5321354"/>
              <a:gd name="connsiteX60-6925" fmla="*/ 6866173 w 10693106"/>
              <a:gd name="connsiteY60-6926" fmla="*/ 1824621 h 5321354"/>
              <a:gd name="connsiteX61-6927" fmla="*/ 7196373 w 10693106"/>
              <a:gd name="connsiteY61-6928" fmla="*/ 1807688 h 5321354"/>
              <a:gd name="connsiteX62-6929" fmla="*/ 7509640 w 10693106"/>
              <a:gd name="connsiteY62-6930" fmla="*/ 1731488 h 5321354"/>
              <a:gd name="connsiteX63-6931" fmla="*/ 7628173 w 10693106"/>
              <a:gd name="connsiteY63-6932" fmla="*/ 1706088 h 5321354"/>
              <a:gd name="connsiteX64-6933" fmla="*/ 7704373 w 10693106"/>
              <a:gd name="connsiteY64-6934" fmla="*/ 1663754 h 5321354"/>
              <a:gd name="connsiteX65-6935" fmla="*/ 7755173 w 10693106"/>
              <a:gd name="connsiteY65-6936" fmla="*/ 1655288 h 5321354"/>
              <a:gd name="connsiteX66-6937" fmla="*/ 7797506 w 10693106"/>
              <a:gd name="connsiteY66-6938" fmla="*/ 1621421 h 5321354"/>
              <a:gd name="connsiteX67-6939" fmla="*/ 7856773 w 10693106"/>
              <a:gd name="connsiteY67-6940" fmla="*/ 1604488 h 5321354"/>
              <a:gd name="connsiteX68-6941" fmla="*/ 7958373 w 10693106"/>
              <a:gd name="connsiteY68-6942" fmla="*/ 1536754 h 5321354"/>
              <a:gd name="connsiteX69-6943" fmla="*/ 8009173 w 10693106"/>
              <a:gd name="connsiteY69-6944" fmla="*/ 1485954 h 5321354"/>
              <a:gd name="connsiteX70-6945" fmla="*/ 8339373 w 10693106"/>
              <a:gd name="connsiteY70-6946" fmla="*/ 1240421 h 5321354"/>
              <a:gd name="connsiteX71-6947" fmla="*/ 8576440 w 10693106"/>
              <a:gd name="connsiteY71-6948" fmla="*/ 986421 h 5321354"/>
              <a:gd name="connsiteX72-6949" fmla="*/ 8652640 w 10693106"/>
              <a:gd name="connsiteY72-6950" fmla="*/ 707021 h 5321354"/>
              <a:gd name="connsiteX73-6951" fmla="*/ 8847373 w 10693106"/>
              <a:gd name="connsiteY73-6952" fmla="*/ 520754 h 5321354"/>
              <a:gd name="connsiteX74-6953" fmla="*/ 8982840 w 10693106"/>
              <a:gd name="connsiteY74-6954" fmla="*/ 427621 h 5321354"/>
              <a:gd name="connsiteX75-6955" fmla="*/ 9084440 w 10693106"/>
              <a:gd name="connsiteY75-6956" fmla="*/ 393754 h 5321354"/>
              <a:gd name="connsiteX76-6957" fmla="*/ 9152173 w 10693106"/>
              <a:gd name="connsiteY76-6958" fmla="*/ 368354 h 5321354"/>
              <a:gd name="connsiteX77-6959" fmla="*/ 9380773 w 10693106"/>
              <a:gd name="connsiteY77-6960" fmla="*/ 385288 h 5321354"/>
              <a:gd name="connsiteX78-6961" fmla="*/ 9744840 w 10693106"/>
              <a:gd name="connsiteY78-6962" fmla="*/ 495354 h 5321354"/>
              <a:gd name="connsiteX79-6963" fmla="*/ 9888773 w 10693106"/>
              <a:gd name="connsiteY79-6964" fmla="*/ 537688 h 5321354"/>
              <a:gd name="connsiteX80-6965" fmla="*/ 9998840 w 10693106"/>
              <a:gd name="connsiteY80-6966" fmla="*/ 588488 h 5321354"/>
              <a:gd name="connsiteX81-6967" fmla="*/ 10083506 w 10693106"/>
              <a:gd name="connsiteY81-6968" fmla="*/ 647754 h 5321354"/>
              <a:gd name="connsiteX82-6969" fmla="*/ 10286706 w 10693106"/>
              <a:gd name="connsiteY82-6970" fmla="*/ 715488 h 5321354"/>
              <a:gd name="connsiteX83-6971" fmla="*/ 10388306 w 10693106"/>
              <a:gd name="connsiteY83-6972" fmla="*/ 918688 h 5321354"/>
              <a:gd name="connsiteX84-6973" fmla="*/ 10540706 w 10693106"/>
              <a:gd name="connsiteY84-6974" fmla="*/ 1291221 h 5321354"/>
              <a:gd name="connsiteX85-6975" fmla="*/ 10557640 w 10693106"/>
              <a:gd name="connsiteY85-6976" fmla="*/ 1375888 h 5321354"/>
              <a:gd name="connsiteX86-6977" fmla="*/ 10583040 w 10693106"/>
              <a:gd name="connsiteY86-6978" fmla="*/ 1477488 h 5321354"/>
              <a:gd name="connsiteX87-6979" fmla="*/ 10616906 w 10693106"/>
              <a:gd name="connsiteY87-6980" fmla="*/ 1680688 h 5321354"/>
              <a:gd name="connsiteX88-6981" fmla="*/ 10633840 w 10693106"/>
              <a:gd name="connsiteY88-6982" fmla="*/ 1765354 h 5321354"/>
              <a:gd name="connsiteX89-6983" fmla="*/ 10650773 w 10693106"/>
              <a:gd name="connsiteY89-6984" fmla="*/ 1799221 h 5321354"/>
              <a:gd name="connsiteX90-6985" fmla="*/ 10676173 w 10693106"/>
              <a:gd name="connsiteY90-6986" fmla="*/ 1883888 h 5321354"/>
              <a:gd name="connsiteX91-6987" fmla="*/ 10693106 w 10693106"/>
              <a:gd name="connsiteY91-6988" fmla="*/ 2036288 h 5321354"/>
              <a:gd name="connsiteX92-6989" fmla="*/ 10625373 w 10693106"/>
              <a:gd name="connsiteY92-6990" fmla="*/ 2256421 h 5321354"/>
              <a:gd name="connsiteX93-6991" fmla="*/ 10608440 w 10693106"/>
              <a:gd name="connsiteY93-6992" fmla="*/ 2281821 h 5321354"/>
              <a:gd name="connsiteX94-6993" fmla="*/ 10540706 w 10693106"/>
              <a:gd name="connsiteY94-6994" fmla="*/ 2425754 h 5321354"/>
              <a:gd name="connsiteX95-6995" fmla="*/ 10498373 w 10693106"/>
              <a:gd name="connsiteY95-6996" fmla="*/ 2510421 h 5321354"/>
              <a:gd name="connsiteX96-6997" fmla="*/ 10439106 w 10693106"/>
              <a:gd name="connsiteY96-6998" fmla="*/ 2696688 h 5321354"/>
              <a:gd name="connsiteX97-6999" fmla="*/ 10430640 w 10693106"/>
              <a:gd name="connsiteY97-7000" fmla="*/ 2739021 h 5321354"/>
              <a:gd name="connsiteX98-7001" fmla="*/ 10405240 w 10693106"/>
              <a:gd name="connsiteY98-7002" fmla="*/ 2815221 h 5321354"/>
              <a:gd name="connsiteX99-7003" fmla="*/ 10396773 w 10693106"/>
              <a:gd name="connsiteY99-7004" fmla="*/ 2849088 h 5321354"/>
              <a:gd name="connsiteX100-7005" fmla="*/ 10362906 w 10693106"/>
              <a:gd name="connsiteY100-7006" fmla="*/ 2942221 h 5321354"/>
              <a:gd name="connsiteX101-7007" fmla="*/ 10329040 w 10693106"/>
              <a:gd name="connsiteY101-7008" fmla="*/ 2984554 h 5321354"/>
              <a:gd name="connsiteX102-7009" fmla="*/ 10227440 w 10693106"/>
              <a:gd name="connsiteY102-7010" fmla="*/ 3086154 h 5321354"/>
              <a:gd name="connsiteX103-7011" fmla="*/ 10168173 w 10693106"/>
              <a:gd name="connsiteY103-7012" fmla="*/ 3153888 h 5321354"/>
              <a:gd name="connsiteX104-7013" fmla="*/ 10117373 w 10693106"/>
              <a:gd name="connsiteY104-7014" fmla="*/ 3204688 h 5321354"/>
              <a:gd name="connsiteX105-7015" fmla="*/ 10032706 w 10693106"/>
              <a:gd name="connsiteY105-7016" fmla="*/ 3306288 h 5321354"/>
              <a:gd name="connsiteX106-7017" fmla="*/ 9948040 w 10693106"/>
              <a:gd name="connsiteY106-7018" fmla="*/ 3365554 h 5321354"/>
              <a:gd name="connsiteX107-7019" fmla="*/ 9905706 w 10693106"/>
              <a:gd name="connsiteY107-7020" fmla="*/ 3390954 h 5321354"/>
              <a:gd name="connsiteX108-7021" fmla="*/ 9829506 w 10693106"/>
              <a:gd name="connsiteY108-7022" fmla="*/ 3407888 h 5321354"/>
              <a:gd name="connsiteX109-7023" fmla="*/ 9727906 w 10693106"/>
              <a:gd name="connsiteY109-7024" fmla="*/ 3450221 h 5321354"/>
              <a:gd name="connsiteX110-7025" fmla="*/ 9634773 w 10693106"/>
              <a:gd name="connsiteY110-7026" fmla="*/ 3475621 h 5321354"/>
              <a:gd name="connsiteX111-7027" fmla="*/ 9456973 w 10693106"/>
              <a:gd name="connsiteY111-7028" fmla="*/ 3568754 h 5321354"/>
              <a:gd name="connsiteX112-7029" fmla="*/ 9313040 w 10693106"/>
              <a:gd name="connsiteY112-7030" fmla="*/ 3695754 h 5321354"/>
              <a:gd name="connsiteX113-7031" fmla="*/ 9279173 w 10693106"/>
              <a:gd name="connsiteY113-7032" fmla="*/ 3712688 h 5321354"/>
              <a:gd name="connsiteX114-7033" fmla="*/ 9067506 w 10693106"/>
              <a:gd name="connsiteY114-7034" fmla="*/ 3890488 h 5321354"/>
              <a:gd name="connsiteX115-7035" fmla="*/ 8999773 w 10693106"/>
              <a:gd name="connsiteY115-7036" fmla="*/ 3958221 h 5321354"/>
              <a:gd name="connsiteX116-7037" fmla="*/ 8813506 w 10693106"/>
              <a:gd name="connsiteY116-7038" fmla="*/ 4093688 h 5321354"/>
              <a:gd name="connsiteX117-7039" fmla="*/ 8728840 w 10693106"/>
              <a:gd name="connsiteY117-7040" fmla="*/ 4136021 h 5321354"/>
              <a:gd name="connsiteX118-7041" fmla="*/ 8373240 w 10693106"/>
              <a:gd name="connsiteY118-7042" fmla="*/ 4169888 h 5321354"/>
              <a:gd name="connsiteX119-7043" fmla="*/ 7966840 w 10693106"/>
              <a:gd name="connsiteY119-7044" fmla="*/ 4263021 h 5321354"/>
              <a:gd name="connsiteX120-7045" fmla="*/ 7687440 w 10693106"/>
              <a:gd name="connsiteY120-7046" fmla="*/ 4423888 h 5321354"/>
              <a:gd name="connsiteX121-7047" fmla="*/ 7551973 w 10693106"/>
              <a:gd name="connsiteY121-7048" fmla="*/ 4508554 h 5321354"/>
              <a:gd name="connsiteX122-7049" fmla="*/ 7374173 w 10693106"/>
              <a:gd name="connsiteY122-7050" fmla="*/ 4686354 h 5321354"/>
              <a:gd name="connsiteX123-7051" fmla="*/ 7374173 w 10693106"/>
              <a:gd name="connsiteY123-7052" fmla="*/ 4686354 h 5321354"/>
              <a:gd name="connsiteX124-7053" fmla="*/ 7221773 w 10693106"/>
              <a:gd name="connsiteY124-7054" fmla="*/ 4804888 h 5321354"/>
              <a:gd name="connsiteX125-7055" fmla="*/ 7027040 w 10693106"/>
              <a:gd name="connsiteY125-7056" fmla="*/ 4931888 h 5321354"/>
              <a:gd name="connsiteX126-7057" fmla="*/ 6883106 w 10693106"/>
              <a:gd name="connsiteY126-7058" fmla="*/ 4999621 h 5321354"/>
              <a:gd name="connsiteX127-7059" fmla="*/ 6815373 w 10693106"/>
              <a:gd name="connsiteY127-7060" fmla="*/ 5041954 h 5321354"/>
              <a:gd name="connsiteX128-7061" fmla="*/ 6646040 w 10693106"/>
              <a:gd name="connsiteY128-7062" fmla="*/ 5135088 h 5321354"/>
              <a:gd name="connsiteX129-7063" fmla="*/ 6527506 w 10693106"/>
              <a:gd name="connsiteY129-7064" fmla="*/ 5194354 h 5321354"/>
              <a:gd name="connsiteX130-7065" fmla="*/ 6298906 w 10693106"/>
              <a:gd name="connsiteY130-7066" fmla="*/ 5270554 h 5321354"/>
              <a:gd name="connsiteX131-7067" fmla="*/ 6197306 w 10693106"/>
              <a:gd name="connsiteY131-7068" fmla="*/ 5295954 h 5321354"/>
              <a:gd name="connsiteX132-7069" fmla="*/ 6061840 w 10693106"/>
              <a:gd name="connsiteY132-7070" fmla="*/ 5304421 h 5321354"/>
              <a:gd name="connsiteX133-7071" fmla="*/ 5917906 w 10693106"/>
              <a:gd name="connsiteY133-7072" fmla="*/ 5321354 h 5321354"/>
              <a:gd name="connsiteX134-7073" fmla="*/ 5748573 w 10693106"/>
              <a:gd name="connsiteY134-7074" fmla="*/ 5312888 h 5321354"/>
              <a:gd name="connsiteX135-7075" fmla="*/ 5282906 w 10693106"/>
              <a:gd name="connsiteY135-7076" fmla="*/ 5202821 h 5321354"/>
              <a:gd name="connsiteX136-7077" fmla="*/ 5138973 w 10693106"/>
              <a:gd name="connsiteY136-7078" fmla="*/ 5101221 h 5321354"/>
              <a:gd name="connsiteX137-7079" fmla="*/ 5020440 w 10693106"/>
              <a:gd name="connsiteY137-7080" fmla="*/ 4948821 h 5321354"/>
              <a:gd name="connsiteX138-7081" fmla="*/ 4952706 w 10693106"/>
              <a:gd name="connsiteY138-7082" fmla="*/ 4872621 h 5321354"/>
              <a:gd name="connsiteX139-7083" fmla="*/ 4884973 w 10693106"/>
              <a:gd name="connsiteY139-7084" fmla="*/ 4804888 h 5321354"/>
              <a:gd name="connsiteX140-7085" fmla="*/ 4732573 w 10693106"/>
              <a:gd name="connsiteY140-7086" fmla="*/ 4627088 h 5321354"/>
              <a:gd name="connsiteX141-7087" fmla="*/ 4673306 w 10693106"/>
              <a:gd name="connsiteY141-7088" fmla="*/ 4559354 h 5321354"/>
              <a:gd name="connsiteX142-7089" fmla="*/ 4487040 w 10693106"/>
              <a:gd name="connsiteY142-7090" fmla="*/ 4432354 h 5321354"/>
              <a:gd name="connsiteX143-7091" fmla="*/ 4427773 w 10693106"/>
              <a:gd name="connsiteY143-7092" fmla="*/ 4398488 h 5321354"/>
              <a:gd name="connsiteX144-7093" fmla="*/ 4343106 w 10693106"/>
              <a:gd name="connsiteY144-7094" fmla="*/ 4364621 h 5321354"/>
              <a:gd name="connsiteX145-7095" fmla="*/ 4224573 w 10693106"/>
              <a:gd name="connsiteY145-7096" fmla="*/ 4288421 h 5321354"/>
              <a:gd name="connsiteX146-7097" fmla="*/ 4156840 w 10693106"/>
              <a:gd name="connsiteY146-7098" fmla="*/ 4229154 h 5321354"/>
              <a:gd name="connsiteX147-7099" fmla="*/ 4021373 w 10693106"/>
              <a:gd name="connsiteY147-7100" fmla="*/ 4085221 h 5321354"/>
              <a:gd name="connsiteX148-7101" fmla="*/ 3919773 w 10693106"/>
              <a:gd name="connsiteY148-7102" fmla="*/ 3949754 h 5321354"/>
              <a:gd name="connsiteX149-7103" fmla="*/ 3877440 w 10693106"/>
              <a:gd name="connsiteY149-7104" fmla="*/ 3653421 h 5321354"/>
              <a:gd name="connsiteX150-7105" fmla="*/ 3852040 w 10693106"/>
              <a:gd name="connsiteY150-7106" fmla="*/ 3560288 h 5321354"/>
              <a:gd name="connsiteX151-7107" fmla="*/ 3801240 w 10693106"/>
              <a:gd name="connsiteY151-7108" fmla="*/ 3450221 h 5321354"/>
              <a:gd name="connsiteX152-7109" fmla="*/ 3733506 w 10693106"/>
              <a:gd name="connsiteY152-7110" fmla="*/ 3348621 h 5321354"/>
              <a:gd name="connsiteX153-7111" fmla="*/ 3242440 w 10693106"/>
              <a:gd name="connsiteY153-7112" fmla="*/ 3128488 h 5321354"/>
              <a:gd name="connsiteX154-7113" fmla="*/ 3123906 w 10693106"/>
              <a:gd name="connsiteY154-7114" fmla="*/ 3026888 h 5321354"/>
              <a:gd name="connsiteX155-7115" fmla="*/ 2988440 w 10693106"/>
              <a:gd name="connsiteY155-7116" fmla="*/ 2832154 h 5321354"/>
              <a:gd name="connsiteX156-7117" fmla="*/ 2971506 w 10693106"/>
              <a:gd name="connsiteY156-7118" fmla="*/ 2772888 h 5321354"/>
              <a:gd name="connsiteX157-7119" fmla="*/ 2996906 w 10693106"/>
              <a:gd name="connsiteY157-7120" fmla="*/ 2561221 h 5321354"/>
              <a:gd name="connsiteX158-7121" fmla="*/ 3013840 w 10693106"/>
              <a:gd name="connsiteY158-7122" fmla="*/ 2459621 h 5321354"/>
              <a:gd name="connsiteX159-7123" fmla="*/ 3005373 w 10693106"/>
              <a:gd name="connsiteY159-7124" fmla="*/ 2341088 h 5321354"/>
              <a:gd name="connsiteX160-7125" fmla="*/ 2988440 w 10693106"/>
              <a:gd name="connsiteY160-7126" fmla="*/ 2290288 h 5321354"/>
              <a:gd name="connsiteX161-7127" fmla="*/ 2802173 w 10693106"/>
              <a:gd name="connsiteY161-7128" fmla="*/ 2036288 h 5321354"/>
              <a:gd name="connsiteX162-7129" fmla="*/ 2641306 w 10693106"/>
              <a:gd name="connsiteY162-7130" fmla="*/ 1892354 h 5321354"/>
              <a:gd name="connsiteX163-7131" fmla="*/ 2590506 w 10693106"/>
              <a:gd name="connsiteY163-7132" fmla="*/ 1866954 h 5321354"/>
              <a:gd name="connsiteX164-7133" fmla="*/ 2531240 w 10693106"/>
              <a:gd name="connsiteY164-7134" fmla="*/ 1858488 h 5321354"/>
              <a:gd name="connsiteX165-7135" fmla="*/ 2446573 w 10693106"/>
              <a:gd name="connsiteY165-7136" fmla="*/ 1841554 h 5321354"/>
              <a:gd name="connsiteX166-7137" fmla="*/ 2251840 w 10693106"/>
              <a:gd name="connsiteY166-7138" fmla="*/ 1866954 h 5321354"/>
              <a:gd name="connsiteX167-7139" fmla="*/ 2167173 w 10693106"/>
              <a:gd name="connsiteY167-7140" fmla="*/ 1909288 h 5321354"/>
              <a:gd name="connsiteX168-7141" fmla="*/ 1980906 w 10693106"/>
              <a:gd name="connsiteY168-7142" fmla="*/ 1968554 h 5321354"/>
              <a:gd name="connsiteX169-7143" fmla="*/ 1904706 w 10693106"/>
              <a:gd name="connsiteY169-7144" fmla="*/ 2002421 h 5321354"/>
              <a:gd name="connsiteX170-7145" fmla="*/ 1828506 w 10693106"/>
              <a:gd name="connsiteY170-7146" fmla="*/ 2019354 h 5321354"/>
              <a:gd name="connsiteX171-7147" fmla="*/ 1726906 w 10693106"/>
              <a:gd name="connsiteY171-7148" fmla="*/ 2070154 h 5321354"/>
              <a:gd name="connsiteX172-7149" fmla="*/ 1659173 w 10693106"/>
              <a:gd name="connsiteY172-7150" fmla="*/ 2104021 h 5321354"/>
              <a:gd name="connsiteX173-7151" fmla="*/ 1498306 w 10693106"/>
              <a:gd name="connsiteY173-7152" fmla="*/ 2129421 h 5321354"/>
              <a:gd name="connsiteX174-7153" fmla="*/ 914106 w 10693106"/>
              <a:gd name="connsiteY174-7154" fmla="*/ 2061688 h 5321354"/>
              <a:gd name="connsiteX175-7155" fmla="*/ 617773 w 10693106"/>
              <a:gd name="connsiteY175-7156" fmla="*/ 1951621 h 5321354"/>
              <a:gd name="connsiteX176-7157" fmla="*/ 516173 w 10693106"/>
              <a:gd name="connsiteY176-7158" fmla="*/ 1866954 h 5321354"/>
              <a:gd name="connsiteX177-7159" fmla="*/ 355306 w 10693106"/>
              <a:gd name="connsiteY177-7160" fmla="*/ 1655288 h 5321354"/>
              <a:gd name="connsiteX178-7161" fmla="*/ 296040 w 10693106"/>
              <a:gd name="connsiteY178-7162" fmla="*/ 1553688 h 5321354"/>
              <a:gd name="connsiteX179-7163" fmla="*/ 253706 w 10693106"/>
              <a:gd name="connsiteY179-7164" fmla="*/ 1375888 h 5321354"/>
              <a:gd name="connsiteX180-7165" fmla="*/ 245240 w 10693106"/>
              <a:gd name="connsiteY180-7166" fmla="*/ 1248888 h 5321354"/>
              <a:gd name="connsiteX181-7167" fmla="*/ 236773 w 10693106"/>
              <a:gd name="connsiteY181-7168" fmla="*/ 1147288 h 5321354"/>
              <a:gd name="connsiteX182-7169" fmla="*/ 245240 w 10693106"/>
              <a:gd name="connsiteY182-7170" fmla="*/ 876354 h 5321354"/>
              <a:gd name="connsiteX183-7171" fmla="*/ 236773 w 10693106"/>
              <a:gd name="connsiteY183-7172" fmla="*/ 732421 h 5321354"/>
              <a:gd name="connsiteX184-7173" fmla="*/ 109773 w 10693106"/>
              <a:gd name="connsiteY184-7174" fmla="*/ 588488 h 5321354"/>
              <a:gd name="connsiteX185-7175" fmla="*/ 58973 w 10693106"/>
              <a:gd name="connsiteY185-7176" fmla="*/ 512288 h 5321354"/>
              <a:gd name="connsiteX186-7177" fmla="*/ 16640 w 10693106"/>
              <a:gd name="connsiteY186-7178" fmla="*/ 461488 h 5321354"/>
              <a:gd name="connsiteX187-7179" fmla="*/ 8173 w 10693106"/>
              <a:gd name="connsiteY187-7180" fmla="*/ 419154 h 5321354"/>
              <a:gd name="connsiteX188-7181" fmla="*/ 16640 w 10693106"/>
              <a:gd name="connsiteY188-7182" fmla="*/ 368354 h 5321354"/>
              <a:gd name="connsiteX0-7183" fmla="*/ 16640 w 10693106"/>
              <a:gd name="connsiteY0-7184" fmla="*/ 368354 h 5321354"/>
              <a:gd name="connsiteX1-7185" fmla="*/ 58973 w 10693106"/>
              <a:gd name="connsiteY1-7186" fmla="*/ 275221 h 5321354"/>
              <a:gd name="connsiteX2-7187" fmla="*/ 109773 w 10693106"/>
              <a:gd name="connsiteY2-7188" fmla="*/ 207488 h 5321354"/>
              <a:gd name="connsiteX3-7189" fmla="*/ 202906 w 10693106"/>
              <a:gd name="connsiteY3-7190" fmla="*/ 122821 h 5321354"/>
              <a:gd name="connsiteX4-7191" fmla="*/ 236773 w 10693106"/>
              <a:gd name="connsiteY4-7192" fmla="*/ 97421 h 5321354"/>
              <a:gd name="connsiteX5-7193" fmla="*/ 346840 w 10693106"/>
              <a:gd name="connsiteY5-7194" fmla="*/ 38154 h 5321354"/>
              <a:gd name="connsiteX6-7195" fmla="*/ 397640 w 10693106"/>
              <a:gd name="connsiteY6-7196" fmla="*/ 4288 h 5321354"/>
              <a:gd name="connsiteX7-7197" fmla="*/ 467297 w 10693106"/>
              <a:gd name="connsiteY7-7198" fmla="*/ 143218 h 5321354"/>
              <a:gd name="connsiteX8-7199" fmla="*/ 492697 w 10693106"/>
              <a:gd name="connsiteY8-7200" fmla="*/ 103579 h 5321354"/>
              <a:gd name="connsiteX9-7201" fmla="*/ 822897 w 10693106"/>
              <a:gd name="connsiteY9-7202" fmla="*/ 112045 h 5321354"/>
              <a:gd name="connsiteX10-7203" fmla="*/ 1091906 w 10693106"/>
              <a:gd name="connsiteY10-7204" fmla="*/ 29688 h 5321354"/>
              <a:gd name="connsiteX11-7205" fmla="*/ 1235840 w 10693106"/>
              <a:gd name="connsiteY11-7206" fmla="*/ 88954 h 5321354"/>
              <a:gd name="connsiteX12-7207" fmla="*/ 1337440 w 10693106"/>
              <a:gd name="connsiteY12-7208" fmla="*/ 165154 h 5321354"/>
              <a:gd name="connsiteX13-7209" fmla="*/ 1422106 w 10693106"/>
              <a:gd name="connsiteY13-7210" fmla="*/ 275221 h 5321354"/>
              <a:gd name="connsiteX14-7211" fmla="*/ 1481373 w 10693106"/>
              <a:gd name="connsiteY14-7212" fmla="*/ 342954 h 5321354"/>
              <a:gd name="connsiteX15-7213" fmla="*/ 1532173 w 10693106"/>
              <a:gd name="connsiteY15-7214" fmla="*/ 376821 h 5321354"/>
              <a:gd name="connsiteX16-7215" fmla="*/ 1684573 w 10693106"/>
              <a:gd name="connsiteY16-7216" fmla="*/ 436088 h 5321354"/>
              <a:gd name="connsiteX17-7217" fmla="*/ 1760773 w 10693106"/>
              <a:gd name="connsiteY17-7218" fmla="*/ 453021 h 5321354"/>
              <a:gd name="connsiteX18-7219" fmla="*/ 1997840 w 10693106"/>
              <a:gd name="connsiteY18-7220" fmla="*/ 444554 h 5321354"/>
              <a:gd name="connsiteX19-7221" fmla="*/ 2116373 w 10693106"/>
              <a:gd name="connsiteY19-7222" fmla="*/ 427621 h 5321354"/>
              <a:gd name="connsiteX20-7223" fmla="*/ 2260306 w 10693106"/>
              <a:gd name="connsiteY20-7224" fmla="*/ 410688 h 5321354"/>
              <a:gd name="connsiteX21-7225" fmla="*/ 2404240 w 10693106"/>
              <a:gd name="connsiteY21-7226" fmla="*/ 385288 h 5321354"/>
              <a:gd name="connsiteX22-7227" fmla="*/ 2455040 w 10693106"/>
              <a:gd name="connsiteY22-7228" fmla="*/ 359888 h 5321354"/>
              <a:gd name="connsiteX23-7229" fmla="*/ 2531240 w 10693106"/>
              <a:gd name="connsiteY23-7230" fmla="*/ 334488 h 5321354"/>
              <a:gd name="connsiteX24-7231" fmla="*/ 2683640 w 10693106"/>
              <a:gd name="connsiteY24-7232" fmla="*/ 207488 h 5321354"/>
              <a:gd name="connsiteX25-7233" fmla="*/ 2742906 w 10693106"/>
              <a:gd name="connsiteY25-7234" fmla="*/ 215954 h 5321354"/>
              <a:gd name="connsiteX26-7235" fmla="*/ 2764920 w 10693106"/>
              <a:gd name="connsiteY26-7236" fmla="*/ 202408 h 5321354"/>
              <a:gd name="connsiteX27-7237" fmla="*/ 2832653 w 10693106"/>
              <a:gd name="connsiteY27-7238" fmla="*/ 197328 h 5321354"/>
              <a:gd name="connsiteX28-7239" fmla="*/ 3002294 w 10693106"/>
              <a:gd name="connsiteY28-7240" fmla="*/ 184012 h 5321354"/>
              <a:gd name="connsiteX29-7241" fmla="*/ 3142763 w 10693106"/>
              <a:gd name="connsiteY29-7242" fmla="*/ 139753 h 5321354"/>
              <a:gd name="connsiteX30-7243" fmla="*/ 3398918 w 10693106"/>
              <a:gd name="connsiteY30-7244" fmla="*/ 101654 h 5321354"/>
              <a:gd name="connsiteX31-7245" fmla="*/ 3606506 w 10693106"/>
              <a:gd name="connsiteY31-7246" fmla="*/ 89725 h 5321354"/>
              <a:gd name="connsiteX32-7247" fmla="*/ 3682706 w 10693106"/>
              <a:gd name="connsiteY32-7248" fmla="*/ 109274 h 5321354"/>
              <a:gd name="connsiteX33-7249" fmla="*/ 3741973 w 10693106"/>
              <a:gd name="connsiteY33-7250" fmla="*/ 115893 h 5321354"/>
              <a:gd name="connsiteX34-7251" fmla="*/ 3792773 w 10693106"/>
              <a:gd name="connsiteY34-7252" fmla="*/ 151608 h 5321354"/>
              <a:gd name="connsiteX35-7253" fmla="*/ 3831720 w 10693106"/>
              <a:gd name="connsiteY35-7254" fmla="*/ 166848 h 5321354"/>
              <a:gd name="connsiteX36-7255" fmla="*/ 3896297 w 10693106"/>
              <a:gd name="connsiteY36-7256" fmla="*/ 186321 h 5321354"/>
              <a:gd name="connsiteX37-7257" fmla="*/ 3950253 w 10693106"/>
              <a:gd name="connsiteY37-7258" fmla="*/ 205794 h 5321354"/>
              <a:gd name="connsiteX38-7259" fmla="*/ 3995973 w 10693106"/>
              <a:gd name="connsiteY38-7260" fmla="*/ 139754 h 5321354"/>
              <a:gd name="connsiteX39-7261" fmla="*/ 4021373 w 10693106"/>
              <a:gd name="connsiteY39-7262" fmla="*/ 173621 h 5321354"/>
              <a:gd name="connsiteX40-7263" fmla="*/ 4055240 w 10693106"/>
              <a:gd name="connsiteY40-7264" fmla="*/ 182088 h 5321354"/>
              <a:gd name="connsiteX41-7265" fmla="*/ 4275373 w 10693106"/>
              <a:gd name="connsiteY41-7266" fmla="*/ 224421 h 5321354"/>
              <a:gd name="connsiteX42-7267" fmla="*/ 4402373 w 10693106"/>
              <a:gd name="connsiteY42-7268" fmla="*/ 258288 h 5321354"/>
              <a:gd name="connsiteX43-7269" fmla="*/ 4529373 w 10693106"/>
              <a:gd name="connsiteY43-7270" fmla="*/ 300621 h 5321354"/>
              <a:gd name="connsiteX44-7271" fmla="*/ 4859573 w 10693106"/>
              <a:gd name="connsiteY44-7272" fmla="*/ 376821 h 5321354"/>
              <a:gd name="connsiteX45-7273" fmla="*/ 5045840 w 10693106"/>
              <a:gd name="connsiteY45-7274" fmla="*/ 453021 h 5321354"/>
              <a:gd name="connsiteX46-7275" fmla="*/ 5325240 w 10693106"/>
              <a:gd name="connsiteY46-7276" fmla="*/ 613888 h 5321354"/>
              <a:gd name="connsiteX47-7277" fmla="*/ 5494573 w 10693106"/>
              <a:gd name="connsiteY47-7278" fmla="*/ 766288 h 5321354"/>
              <a:gd name="connsiteX48-7279" fmla="*/ 5562306 w 10693106"/>
              <a:gd name="connsiteY48-7280" fmla="*/ 842488 h 5321354"/>
              <a:gd name="connsiteX49-7281" fmla="*/ 5621573 w 10693106"/>
              <a:gd name="connsiteY49-7282" fmla="*/ 893288 h 5321354"/>
              <a:gd name="connsiteX50-7283" fmla="*/ 5672373 w 10693106"/>
              <a:gd name="connsiteY50-7284" fmla="*/ 961021 h 5321354"/>
              <a:gd name="connsiteX51-7285" fmla="*/ 5757040 w 10693106"/>
              <a:gd name="connsiteY51-7286" fmla="*/ 1062621 h 5321354"/>
              <a:gd name="connsiteX52-7287" fmla="*/ 5833240 w 10693106"/>
              <a:gd name="connsiteY52-7288" fmla="*/ 1155754 h 5321354"/>
              <a:gd name="connsiteX53-7289" fmla="*/ 6019506 w 10693106"/>
              <a:gd name="connsiteY53-7290" fmla="*/ 1358954 h 5321354"/>
              <a:gd name="connsiteX54-7291" fmla="*/ 6087240 w 10693106"/>
              <a:gd name="connsiteY54-7292" fmla="*/ 1409754 h 5321354"/>
              <a:gd name="connsiteX55-7293" fmla="*/ 6171906 w 10693106"/>
              <a:gd name="connsiteY55-7294" fmla="*/ 1511354 h 5321354"/>
              <a:gd name="connsiteX56-7295" fmla="*/ 6451306 w 10693106"/>
              <a:gd name="connsiteY56-7296" fmla="*/ 1723021 h 5321354"/>
              <a:gd name="connsiteX57-7297" fmla="*/ 6519040 w 10693106"/>
              <a:gd name="connsiteY57-7298" fmla="*/ 1731488 h 5321354"/>
              <a:gd name="connsiteX58-7299" fmla="*/ 6603706 w 10693106"/>
              <a:gd name="connsiteY58-7300" fmla="*/ 1765354 h 5321354"/>
              <a:gd name="connsiteX59-7301" fmla="*/ 6671440 w 10693106"/>
              <a:gd name="connsiteY59-7302" fmla="*/ 1799221 h 5321354"/>
              <a:gd name="connsiteX60-7303" fmla="*/ 6866173 w 10693106"/>
              <a:gd name="connsiteY60-7304" fmla="*/ 1824621 h 5321354"/>
              <a:gd name="connsiteX61-7305" fmla="*/ 7196373 w 10693106"/>
              <a:gd name="connsiteY61-7306" fmla="*/ 1807688 h 5321354"/>
              <a:gd name="connsiteX62-7307" fmla="*/ 7509640 w 10693106"/>
              <a:gd name="connsiteY62-7308" fmla="*/ 1731488 h 5321354"/>
              <a:gd name="connsiteX63-7309" fmla="*/ 7628173 w 10693106"/>
              <a:gd name="connsiteY63-7310" fmla="*/ 1706088 h 5321354"/>
              <a:gd name="connsiteX64-7311" fmla="*/ 7704373 w 10693106"/>
              <a:gd name="connsiteY64-7312" fmla="*/ 1663754 h 5321354"/>
              <a:gd name="connsiteX65-7313" fmla="*/ 7755173 w 10693106"/>
              <a:gd name="connsiteY65-7314" fmla="*/ 1655288 h 5321354"/>
              <a:gd name="connsiteX66-7315" fmla="*/ 7797506 w 10693106"/>
              <a:gd name="connsiteY66-7316" fmla="*/ 1621421 h 5321354"/>
              <a:gd name="connsiteX67-7317" fmla="*/ 7856773 w 10693106"/>
              <a:gd name="connsiteY67-7318" fmla="*/ 1604488 h 5321354"/>
              <a:gd name="connsiteX68-7319" fmla="*/ 7958373 w 10693106"/>
              <a:gd name="connsiteY68-7320" fmla="*/ 1536754 h 5321354"/>
              <a:gd name="connsiteX69-7321" fmla="*/ 8009173 w 10693106"/>
              <a:gd name="connsiteY69-7322" fmla="*/ 1485954 h 5321354"/>
              <a:gd name="connsiteX70-7323" fmla="*/ 8339373 w 10693106"/>
              <a:gd name="connsiteY70-7324" fmla="*/ 1240421 h 5321354"/>
              <a:gd name="connsiteX71-7325" fmla="*/ 8576440 w 10693106"/>
              <a:gd name="connsiteY71-7326" fmla="*/ 986421 h 5321354"/>
              <a:gd name="connsiteX72-7327" fmla="*/ 8652640 w 10693106"/>
              <a:gd name="connsiteY72-7328" fmla="*/ 707021 h 5321354"/>
              <a:gd name="connsiteX73-7329" fmla="*/ 8847373 w 10693106"/>
              <a:gd name="connsiteY73-7330" fmla="*/ 520754 h 5321354"/>
              <a:gd name="connsiteX74-7331" fmla="*/ 8982840 w 10693106"/>
              <a:gd name="connsiteY74-7332" fmla="*/ 427621 h 5321354"/>
              <a:gd name="connsiteX75-7333" fmla="*/ 9084440 w 10693106"/>
              <a:gd name="connsiteY75-7334" fmla="*/ 393754 h 5321354"/>
              <a:gd name="connsiteX76-7335" fmla="*/ 9152173 w 10693106"/>
              <a:gd name="connsiteY76-7336" fmla="*/ 368354 h 5321354"/>
              <a:gd name="connsiteX77-7337" fmla="*/ 9380773 w 10693106"/>
              <a:gd name="connsiteY77-7338" fmla="*/ 385288 h 5321354"/>
              <a:gd name="connsiteX78-7339" fmla="*/ 9744840 w 10693106"/>
              <a:gd name="connsiteY78-7340" fmla="*/ 495354 h 5321354"/>
              <a:gd name="connsiteX79-7341" fmla="*/ 9888773 w 10693106"/>
              <a:gd name="connsiteY79-7342" fmla="*/ 537688 h 5321354"/>
              <a:gd name="connsiteX80-7343" fmla="*/ 9998840 w 10693106"/>
              <a:gd name="connsiteY80-7344" fmla="*/ 588488 h 5321354"/>
              <a:gd name="connsiteX81-7345" fmla="*/ 10083506 w 10693106"/>
              <a:gd name="connsiteY81-7346" fmla="*/ 647754 h 5321354"/>
              <a:gd name="connsiteX82-7347" fmla="*/ 10286706 w 10693106"/>
              <a:gd name="connsiteY82-7348" fmla="*/ 715488 h 5321354"/>
              <a:gd name="connsiteX83-7349" fmla="*/ 10388306 w 10693106"/>
              <a:gd name="connsiteY83-7350" fmla="*/ 918688 h 5321354"/>
              <a:gd name="connsiteX84-7351" fmla="*/ 10540706 w 10693106"/>
              <a:gd name="connsiteY84-7352" fmla="*/ 1291221 h 5321354"/>
              <a:gd name="connsiteX85-7353" fmla="*/ 10557640 w 10693106"/>
              <a:gd name="connsiteY85-7354" fmla="*/ 1375888 h 5321354"/>
              <a:gd name="connsiteX86-7355" fmla="*/ 10583040 w 10693106"/>
              <a:gd name="connsiteY86-7356" fmla="*/ 1477488 h 5321354"/>
              <a:gd name="connsiteX87-7357" fmla="*/ 10616906 w 10693106"/>
              <a:gd name="connsiteY87-7358" fmla="*/ 1680688 h 5321354"/>
              <a:gd name="connsiteX88-7359" fmla="*/ 10633840 w 10693106"/>
              <a:gd name="connsiteY88-7360" fmla="*/ 1765354 h 5321354"/>
              <a:gd name="connsiteX89-7361" fmla="*/ 10650773 w 10693106"/>
              <a:gd name="connsiteY89-7362" fmla="*/ 1799221 h 5321354"/>
              <a:gd name="connsiteX90-7363" fmla="*/ 10676173 w 10693106"/>
              <a:gd name="connsiteY90-7364" fmla="*/ 1883888 h 5321354"/>
              <a:gd name="connsiteX91-7365" fmla="*/ 10693106 w 10693106"/>
              <a:gd name="connsiteY91-7366" fmla="*/ 2036288 h 5321354"/>
              <a:gd name="connsiteX92-7367" fmla="*/ 10625373 w 10693106"/>
              <a:gd name="connsiteY92-7368" fmla="*/ 2256421 h 5321354"/>
              <a:gd name="connsiteX93-7369" fmla="*/ 10608440 w 10693106"/>
              <a:gd name="connsiteY93-7370" fmla="*/ 2281821 h 5321354"/>
              <a:gd name="connsiteX94-7371" fmla="*/ 10540706 w 10693106"/>
              <a:gd name="connsiteY94-7372" fmla="*/ 2425754 h 5321354"/>
              <a:gd name="connsiteX95-7373" fmla="*/ 10498373 w 10693106"/>
              <a:gd name="connsiteY95-7374" fmla="*/ 2510421 h 5321354"/>
              <a:gd name="connsiteX96-7375" fmla="*/ 10439106 w 10693106"/>
              <a:gd name="connsiteY96-7376" fmla="*/ 2696688 h 5321354"/>
              <a:gd name="connsiteX97-7377" fmla="*/ 10430640 w 10693106"/>
              <a:gd name="connsiteY97-7378" fmla="*/ 2739021 h 5321354"/>
              <a:gd name="connsiteX98-7379" fmla="*/ 10405240 w 10693106"/>
              <a:gd name="connsiteY98-7380" fmla="*/ 2815221 h 5321354"/>
              <a:gd name="connsiteX99-7381" fmla="*/ 10396773 w 10693106"/>
              <a:gd name="connsiteY99-7382" fmla="*/ 2849088 h 5321354"/>
              <a:gd name="connsiteX100-7383" fmla="*/ 10362906 w 10693106"/>
              <a:gd name="connsiteY100-7384" fmla="*/ 2942221 h 5321354"/>
              <a:gd name="connsiteX101-7385" fmla="*/ 10329040 w 10693106"/>
              <a:gd name="connsiteY101-7386" fmla="*/ 2984554 h 5321354"/>
              <a:gd name="connsiteX102-7387" fmla="*/ 10227440 w 10693106"/>
              <a:gd name="connsiteY102-7388" fmla="*/ 3086154 h 5321354"/>
              <a:gd name="connsiteX103-7389" fmla="*/ 10168173 w 10693106"/>
              <a:gd name="connsiteY103-7390" fmla="*/ 3153888 h 5321354"/>
              <a:gd name="connsiteX104-7391" fmla="*/ 10117373 w 10693106"/>
              <a:gd name="connsiteY104-7392" fmla="*/ 3204688 h 5321354"/>
              <a:gd name="connsiteX105-7393" fmla="*/ 10032706 w 10693106"/>
              <a:gd name="connsiteY105-7394" fmla="*/ 3306288 h 5321354"/>
              <a:gd name="connsiteX106-7395" fmla="*/ 9948040 w 10693106"/>
              <a:gd name="connsiteY106-7396" fmla="*/ 3365554 h 5321354"/>
              <a:gd name="connsiteX107-7397" fmla="*/ 9905706 w 10693106"/>
              <a:gd name="connsiteY107-7398" fmla="*/ 3390954 h 5321354"/>
              <a:gd name="connsiteX108-7399" fmla="*/ 9829506 w 10693106"/>
              <a:gd name="connsiteY108-7400" fmla="*/ 3407888 h 5321354"/>
              <a:gd name="connsiteX109-7401" fmla="*/ 9727906 w 10693106"/>
              <a:gd name="connsiteY109-7402" fmla="*/ 3450221 h 5321354"/>
              <a:gd name="connsiteX110-7403" fmla="*/ 9634773 w 10693106"/>
              <a:gd name="connsiteY110-7404" fmla="*/ 3475621 h 5321354"/>
              <a:gd name="connsiteX111-7405" fmla="*/ 9456973 w 10693106"/>
              <a:gd name="connsiteY111-7406" fmla="*/ 3568754 h 5321354"/>
              <a:gd name="connsiteX112-7407" fmla="*/ 9313040 w 10693106"/>
              <a:gd name="connsiteY112-7408" fmla="*/ 3695754 h 5321354"/>
              <a:gd name="connsiteX113-7409" fmla="*/ 9279173 w 10693106"/>
              <a:gd name="connsiteY113-7410" fmla="*/ 3712688 h 5321354"/>
              <a:gd name="connsiteX114-7411" fmla="*/ 9067506 w 10693106"/>
              <a:gd name="connsiteY114-7412" fmla="*/ 3890488 h 5321354"/>
              <a:gd name="connsiteX115-7413" fmla="*/ 8999773 w 10693106"/>
              <a:gd name="connsiteY115-7414" fmla="*/ 3958221 h 5321354"/>
              <a:gd name="connsiteX116-7415" fmla="*/ 8813506 w 10693106"/>
              <a:gd name="connsiteY116-7416" fmla="*/ 4093688 h 5321354"/>
              <a:gd name="connsiteX117-7417" fmla="*/ 8728840 w 10693106"/>
              <a:gd name="connsiteY117-7418" fmla="*/ 4136021 h 5321354"/>
              <a:gd name="connsiteX118-7419" fmla="*/ 8373240 w 10693106"/>
              <a:gd name="connsiteY118-7420" fmla="*/ 4169888 h 5321354"/>
              <a:gd name="connsiteX119-7421" fmla="*/ 7966840 w 10693106"/>
              <a:gd name="connsiteY119-7422" fmla="*/ 4263021 h 5321354"/>
              <a:gd name="connsiteX120-7423" fmla="*/ 7687440 w 10693106"/>
              <a:gd name="connsiteY120-7424" fmla="*/ 4423888 h 5321354"/>
              <a:gd name="connsiteX121-7425" fmla="*/ 7551973 w 10693106"/>
              <a:gd name="connsiteY121-7426" fmla="*/ 4508554 h 5321354"/>
              <a:gd name="connsiteX122-7427" fmla="*/ 7374173 w 10693106"/>
              <a:gd name="connsiteY122-7428" fmla="*/ 4686354 h 5321354"/>
              <a:gd name="connsiteX123-7429" fmla="*/ 7374173 w 10693106"/>
              <a:gd name="connsiteY123-7430" fmla="*/ 4686354 h 5321354"/>
              <a:gd name="connsiteX124-7431" fmla="*/ 7221773 w 10693106"/>
              <a:gd name="connsiteY124-7432" fmla="*/ 4804888 h 5321354"/>
              <a:gd name="connsiteX125-7433" fmla="*/ 7027040 w 10693106"/>
              <a:gd name="connsiteY125-7434" fmla="*/ 4931888 h 5321354"/>
              <a:gd name="connsiteX126-7435" fmla="*/ 6883106 w 10693106"/>
              <a:gd name="connsiteY126-7436" fmla="*/ 4999621 h 5321354"/>
              <a:gd name="connsiteX127-7437" fmla="*/ 6815373 w 10693106"/>
              <a:gd name="connsiteY127-7438" fmla="*/ 5041954 h 5321354"/>
              <a:gd name="connsiteX128-7439" fmla="*/ 6646040 w 10693106"/>
              <a:gd name="connsiteY128-7440" fmla="*/ 5135088 h 5321354"/>
              <a:gd name="connsiteX129-7441" fmla="*/ 6527506 w 10693106"/>
              <a:gd name="connsiteY129-7442" fmla="*/ 5194354 h 5321354"/>
              <a:gd name="connsiteX130-7443" fmla="*/ 6298906 w 10693106"/>
              <a:gd name="connsiteY130-7444" fmla="*/ 5270554 h 5321354"/>
              <a:gd name="connsiteX131-7445" fmla="*/ 6197306 w 10693106"/>
              <a:gd name="connsiteY131-7446" fmla="*/ 5295954 h 5321354"/>
              <a:gd name="connsiteX132-7447" fmla="*/ 6061840 w 10693106"/>
              <a:gd name="connsiteY132-7448" fmla="*/ 5304421 h 5321354"/>
              <a:gd name="connsiteX133-7449" fmla="*/ 5917906 w 10693106"/>
              <a:gd name="connsiteY133-7450" fmla="*/ 5321354 h 5321354"/>
              <a:gd name="connsiteX134-7451" fmla="*/ 5748573 w 10693106"/>
              <a:gd name="connsiteY134-7452" fmla="*/ 5312888 h 5321354"/>
              <a:gd name="connsiteX135-7453" fmla="*/ 5282906 w 10693106"/>
              <a:gd name="connsiteY135-7454" fmla="*/ 5202821 h 5321354"/>
              <a:gd name="connsiteX136-7455" fmla="*/ 5138973 w 10693106"/>
              <a:gd name="connsiteY136-7456" fmla="*/ 5101221 h 5321354"/>
              <a:gd name="connsiteX137-7457" fmla="*/ 5020440 w 10693106"/>
              <a:gd name="connsiteY137-7458" fmla="*/ 4948821 h 5321354"/>
              <a:gd name="connsiteX138-7459" fmla="*/ 4952706 w 10693106"/>
              <a:gd name="connsiteY138-7460" fmla="*/ 4872621 h 5321354"/>
              <a:gd name="connsiteX139-7461" fmla="*/ 4884973 w 10693106"/>
              <a:gd name="connsiteY139-7462" fmla="*/ 4804888 h 5321354"/>
              <a:gd name="connsiteX140-7463" fmla="*/ 4732573 w 10693106"/>
              <a:gd name="connsiteY140-7464" fmla="*/ 4627088 h 5321354"/>
              <a:gd name="connsiteX141-7465" fmla="*/ 4673306 w 10693106"/>
              <a:gd name="connsiteY141-7466" fmla="*/ 4559354 h 5321354"/>
              <a:gd name="connsiteX142-7467" fmla="*/ 4487040 w 10693106"/>
              <a:gd name="connsiteY142-7468" fmla="*/ 4432354 h 5321354"/>
              <a:gd name="connsiteX143-7469" fmla="*/ 4187743 w 10693106"/>
              <a:gd name="connsiteY143-7470" fmla="*/ 4550888 h 5321354"/>
              <a:gd name="connsiteX144-7471" fmla="*/ 4343106 w 10693106"/>
              <a:gd name="connsiteY144-7472" fmla="*/ 4364621 h 5321354"/>
              <a:gd name="connsiteX145-7473" fmla="*/ 4224573 w 10693106"/>
              <a:gd name="connsiteY145-7474" fmla="*/ 4288421 h 5321354"/>
              <a:gd name="connsiteX146-7475" fmla="*/ 4156840 w 10693106"/>
              <a:gd name="connsiteY146-7476" fmla="*/ 4229154 h 5321354"/>
              <a:gd name="connsiteX147-7477" fmla="*/ 4021373 w 10693106"/>
              <a:gd name="connsiteY147-7478" fmla="*/ 4085221 h 5321354"/>
              <a:gd name="connsiteX148-7479" fmla="*/ 3919773 w 10693106"/>
              <a:gd name="connsiteY148-7480" fmla="*/ 3949754 h 5321354"/>
              <a:gd name="connsiteX149-7481" fmla="*/ 3877440 w 10693106"/>
              <a:gd name="connsiteY149-7482" fmla="*/ 3653421 h 5321354"/>
              <a:gd name="connsiteX150-7483" fmla="*/ 3852040 w 10693106"/>
              <a:gd name="connsiteY150-7484" fmla="*/ 3560288 h 5321354"/>
              <a:gd name="connsiteX151-7485" fmla="*/ 3801240 w 10693106"/>
              <a:gd name="connsiteY151-7486" fmla="*/ 3450221 h 5321354"/>
              <a:gd name="connsiteX152-7487" fmla="*/ 3733506 w 10693106"/>
              <a:gd name="connsiteY152-7488" fmla="*/ 3348621 h 5321354"/>
              <a:gd name="connsiteX153-7489" fmla="*/ 3242440 w 10693106"/>
              <a:gd name="connsiteY153-7490" fmla="*/ 3128488 h 5321354"/>
              <a:gd name="connsiteX154-7491" fmla="*/ 3123906 w 10693106"/>
              <a:gd name="connsiteY154-7492" fmla="*/ 3026888 h 5321354"/>
              <a:gd name="connsiteX155-7493" fmla="*/ 2988440 w 10693106"/>
              <a:gd name="connsiteY155-7494" fmla="*/ 2832154 h 5321354"/>
              <a:gd name="connsiteX156-7495" fmla="*/ 2971506 w 10693106"/>
              <a:gd name="connsiteY156-7496" fmla="*/ 2772888 h 5321354"/>
              <a:gd name="connsiteX157-7497" fmla="*/ 2996906 w 10693106"/>
              <a:gd name="connsiteY157-7498" fmla="*/ 2561221 h 5321354"/>
              <a:gd name="connsiteX158-7499" fmla="*/ 3013840 w 10693106"/>
              <a:gd name="connsiteY158-7500" fmla="*/ 2459621 h 5321354"/>
              <a:gd name="connsiteX159-7501" fmla="*/ 3005373 w 10693106"/>
              <a:gd name="connsiteY159-7502" fmla="*/ 2341088 h 5321354"/>
              <a:gd name="connsiteX160-7503" fmla="*/ 2988440 w 10693106"/>
              <a:gd name="connsiteY160-7504" fmla="*/ 2290288 h 5321354"/>
              <a:gd name="connsiteX161-7505" fmla="*/ 2802173 w 10693106"/>
              <a:gd name="connsiteY161-7506" fmla="*/ 2036288 h 5321354"/>
              <a:gd name="connsiteX162-7507" fmla="*/ 2641306 w 10693106"/>
              <a:gd name="connsiteY162-7508" fmla="*/ 1892354 h 5321354"/>
              <a:gd name="connsiteX163-7509" fmla="*/ 2590506 w 10693106"/>
              <a:gd name="connsiteY163-7510" fmla="*/ 1866954 h 5321354"/>
              <a:gd name="connsiteX164-7511" fmla="*/ 2531240 w 10693106"/>
              <a:gd name="connsiteY164-7512" fmla="*/ 1858488 h 5321354"/>
              <a:gd name="connsiteX165-7513" fmla="*/ 2446573 w 10693106"/>
              <a:gd name="connsiteY165-7514" fmla="*/ 1841554 h 5321354"/>
              <a:gd name="connsiteX166-7515" fmla="*/ 2251840 w 10693106"/>
              <a:gd name="connsiteY166-7516" fmla="*/ 1866954 h 5321354"/>
              <a:gd name="connsiteX167-7517" fmla="*/ 2167173 w 10693106"/>
              <a:gd name="connsiteY167-7518" fmla="*/ 1909288 h 5321354"/>
              <a:gd name="connsiteX168-7519" fmla="*/ 1980906 w 10693106"/>
              <a:gd name="connsiteY168-7520" fmla="*/ 1968554 h 5321354"/>
              <a:gd name="connsiteX169-7521" fmla="*/ 1904706 w 10693106"/>
              <a:gd name="connsiteY169-7522" fmla="*/ 2002421 h 5321354"/>
              <a:gd name="connsiteX170-7523" fmla="*/ 1828506 w 10693106"/>
              <a:gd name="connsiteY170-7524" fmla="*/ 2019354 h 5321354"/>
              <a:gd name="connsiteX171-7525" fmla="*/ 1726906 w 10693106"/>
              <a:gd name="connsiteY171-7526" fmla="*/ 2070154 h 5321354"/>
              <a:gd name="connsiteX172-7527" fmla="*/ 1659173 w 10693106"/>
              <a:gd name="connsiteY172-7528" fmla="*/ 2104021 h 5321354"/>
              <a:gd name="connsiteX173-7529" fmla="*/ 1498306 w 10693106"/>
              <a:gd name="connsiteY173-7530" fmla="*/ 2129421 h 5321354"/>
              <a:gd name="connsiteX174-7531" fmla="*/ 914106 w 10693106"/>
              <a:gd name="connsiteY174-7532" fmla="*/ 2061688 h 5321354"/>
              <a:gd name="connsiteX175-7533" fmla="*/ 617773 w 10693106"/>
              <a:gd name="connsiteY175-7534" fmla="*/ 1951621 h 5321354"/>
              <a:gd name="connsiteX176-7535" fmla="*/ 516173 w 10693106"/>
              <a:gd name="connsiteY176-7536" fmla="*/ 1866954 h 5321354"/>
              <a:gd name="connsiteX177-7537" fmla="*/ 355306 w 10693106"/>
              <a:gd name="connsiteY177-7538" fmla="*/ 1655288 h 5321354"/>
              <a:gd name="connsiteX178-7539" fmla="*/ 296040 w 10693106"/>
              <a:gd name="connsiteY178-7540" fmla="*/ 1553688 h 5321354"/>
              <a:gd name="connsiteX179-7541" fmla="*/ 253706 w 10693106"/>
              <a:gd name="connsiteY179-7542" fmla="*/ 1375888 h 5321354"/>
              <a:gd name="connsiteX180-7543" fmla="*/ 245240 w 10693106"/>
              <a:gd name="connsiteY180-7544" fmla="*/ 1248888 h 5321354"/>
              <a:gd name="connsiteX181-7545" fmla="*/ 236773 w 10693106"/>
              <a:gd name="connsiteY181-7546" fmla="*/ 1147288 h 5321354"/>
              <a:gd name="connsiteX182-7547" fmla="*/ 245240 w 10693106"/>
              <a:gd name="connsiteY182-7548" fmla="*/ 876354 h 5321354"/>
              <a:gd name="connsiteX183-7549" fmla="*/ 236773 w 10693106"/>
              <a:gd name="connsiteY183-7550" fmla="*/ 732421 h 5321354"/>
              <a:gd name="connsiteX184-7551" fmla="*/ 109773 w 10693106"/>
              <a:gd name="connsiteY184-7552" fmla="*/ 588488 h 5321354"/>
              <a:gd name="connsiteX185-7553" fmla="*/ 58973 w 10693106"/>
              <a:gd name="connsiteY185-7554" fmla="*/ 512288 h 5321354"/>
              <a:gd name="connsiteX186-7555" fmla="*/ 16640 w 10693106"/>
              <a:gd name="connsiteY186-7556" fmla="*/ 461488 h 5321354"/>
              <a:gd name="connsiteX187-7557" fmla="*/ 8173 w 10693106"/>
              <a:gd name="connsiteY187-7558" fmla="*/ 419154 h 5321354"/>
              <a:gd name="connsiteX188-7559" fmla="*/ 16640 w 10693106"/>
              <a:gd name="connsiteY188-7560" fmla="*/ 368354 h 5321354"/>
              <a:gd name="connsiteX0-7561" fmla="*/ 16640 w 10693106"/>
              <a:gd name="connsiteY0-7562" fmla="*/ 368354 h 5321354"/>
              <a:gd name="connsiteX1-7563" fmla="*/ 58973 w 10693106"/>
              <a:gd name="connsiteY1-7564" fmla="*/ 275221 h 5321354"/>
              <a:gd name="connsiteX2-7565" fmla="*/ 109773 w 10693106"/>
              <a:gd name="connsiteY2-7566" fmla="*/ 207488 h 5321354"/>
              <a:gd name="connsiteX3-7567" fmla="*/ 202906 w 10693106"/>
              <a:gd name="connsiteY3-7568" fmla="*/ 122821 h 5321354"/>
              <a:gd name="connsiteX4-7569" fmla="*/ 236773 w 10693106"/>
              <a:gd name="connsiteY4-7570" fmla="*/ 97421 h 5321354"/>
              <a:gd name="connsiteX5-7571" fmla="*/ 346840 w 10693106"/>
              <a:gd name="connsiteY5-7572" fmla="*/ 38154 h 5321354"/>
              <a:gd name="connsiteX6-7573" fmla="*/ 397640 w 10693106"/>
              <a:gd name="connsiteY6-7574" fmla="*/ 4288 h 5321354"/>
              <a:gd name="connsiteX7-7575" fmla="*/ 467297 w 10693106"/>
              <a:gd name="connsiteY7-7576" fmla="*/ 143218 h 5321354"/>
              <a:gd name="connsiteX8-7577" fmla="*/ 492697 w 10693106"/>
              <a:gd name="connsiteY8-7578" fmla="*/ 103579 h 5321354"/>
              <a:gd name="connsiteX9-7579" fmla="*/ 822897 w 10693106"/>
              <a:gd name="connsiteY9-7580" fmla="*/ 112045 h 5321354"/>
              <a:gd name="connsiteX10-7581" fmla="*/ 1091906 w 10693106"/>
              <a:gd name="connsiteY10-7582" fmla="*/ 29688 h 5321354"/>
              <a:gd name="connsiteX11-7583" fmla="*/ 1235840 w 10693106"/>
              <a:gd name="connsiteY11-7584" fmla="*/ 88954 h 5321354"/>
              <a:gd name="connsiteX12-7585" fmla="*/ 1337440 w 10693106"/>
              <a:gd name="connsiteY12-7586" fmla="*/ 165154 h 5321354"/>
              <a:gd name="connsiteX13-7587" fmla="*/ 1422106 w 10693106"/>
              <a:gd name="connsiteY13-7588" fmla="*/ 275221 h 5321354"/>
              <a:gd name="connsiteX14-7589" fmla="*/ 1481373 w 10693106"/>
              <a:gd name="connsiteY14-7590" fmla="*/ 342954 h 5321354"/>
              <a:gd name="connsiteX15-7591" fmla="*/ 1532173 w 10693106"/>
              <a:gd name="connsiteY15-7592" fmla="*/ 376821 h 5321354"/>
              <a:gd name="connsiteX16-7593" fmla="*/ 1684573 w 10693106"/>
              <a:gd name="connsiteY16-7594" fmla="*/ 436088 h 5321354"/>
              <a:gd name="connsiteX17-7595" fmla="*/ 1760773 w 10693106"/>
              <a:gd name="connsiteY17-7596" fmla="*/ 453021 h 5321354"/>
              <a:gd name="connsiteX18-7597" fmla="*/ 1997840 w 10693106"/>
              <a:gd name="connsiteY18-7598" fmla="*/ 444554 h 5321354"/>
              <a:gd name="connsiteX19-7599" fmla="*/ 2116373 w 10693106"/>
              <a:gd name="connsiteY19-7600" fmla="*/ 427621 h 5321354"/>
              <a:gd name="connsiteX20-7601" fmla="*/ 2260306 w 10693106"/>
              <a:gd name="connsiteY20-7602" fmla="*/ 410688 h 5321354"/>
              <a:gd name="connsiteX21-7603" fmla="*/ 2404240 w 10693106"/>
              <a:gd name="connsiteY21-7604" fmla="*/ 385288 h 5321354"/>
              <a:gd name="connsiteX22-7605" fmla="*/ 2455040 w 10693106"/>
              <a:gd name="connsiteY22-7606" fmla="*/ 359888 h 5321354"/>
              <a:gd name="connsiteX23-7607" fmla="*/ 2531240 w 10693106"/>
              <a:gd name="connsiteY23-7608" fmla="*/ 334488 h 5321354"/>
              <a:gd name="connsiteX24-7609" fmla="*/ 2683640 w 10693106"/>
              <a:gd name="connsiteY24-7610" fmla="*/ 207488 h 5321354"/>
              <a:gd name="connsiteX25-7611" fmla="*/ 2742906 w 10693106"/>
              <a:gd name="connsiteY25-7612" fmla="*/ 215954 h 5321354"/>
              <a:gd name="connsiteX26-7613" fmla="*/ 2764920 w 10693106"/>
              <a:gd name="connsiteY26-7614" fmla="*/ 202408 h 5321354"/>
              <a:gd name="connsiteX27-7615" fmla="*/ 2832653 w 10693106"/>
              <a:gd name="connsiteY27-7616" fmla="*/ 197328 h 5321354"/>
              <a:gd name="connsiteX28-7617" fmla="*/ 3002294 w 10693106"/>
              <a:gd name="connsiteY28-7618" fmla="*/ 184012 h 5321354"/>
              <a:gd name="connsiteX29-7619" fmla="*/ 3142763 w 10693106"/>
              <a:gd name="connsiteY29-7620" fmla="*/ 139753 h 5321354"/>
              <a:gd name="connsiteX30-7621" fmla="*/ 3398918 w 10693106"/>
              <a:gd name="connsiteY30-7622" fmla="*/ 101654 h 5321354"/>
              <a:gd name="connsiteX31-7623" fmla="*/ 3606506 w 10693106"/>
              <a:gd name="connsiteY31-7624" fmla="*/ 89725 h 5321354"/>
              <a:gd name="connsiteX32-7625" fmla="*/ 3682706 w 10693106"/>
              <a:gd name="connsiteY32-7626" fmla="*/ 109274 h 5321354"/>
              <a:gd name="connsiteX33-7627" fmla="*/ 3741973 w 10693106"/>
              <a:gd name="connsiteY33-7628" fmla="*/ 115893 h 5321354"/>
              <a:gd name="connsiteX34-7629" fmla="*/ 3792773 w 10693106"/>
              <a:gd name="connsiteY34-7630" fmla="*/ 151608 h 5321354"/>
              <a:gd name="connsiteX35-7631" fmla="*/ 3831720 w 10693106"/>
              <a:gd name="connsiteY35-7632" fmla="*/ 166848 h 5321354"/>
              <a:gd name="connsiteX36-7633" fmla="*/ 3896297 w 10693106"/>
              <a:gd name="connsiteY36-7634" fmla="*/ 186321 h 5321354"/>
              <a:gd name="connsiteX37-7635" fmla="*/ 3950253 w 10693106"/>
              <a:gd name="connsiteY37-7636" fmla="*/ 205794 h 5321354"/>
              <a:gd name="connsiteX38-7637" fmla="*/ 3995973 w 10693106"/>
              <a:gd name="connsiteY38-7638" fmla="*/ 139754 h 5321354"/>
              <a:gd name="connsiteX39-7639" fmla="*/ 4021373 w 10693106"/>
              <a:gd name="connsiteY39-7640" fmla="*/ 173621 h 5321354"/>
              <a:gd name="connsiteX40-7641" fmla="*/ 4055240 w 10693106"/>
              <a:gd name="connsiteY40-7642" fmla="*/ 182088 h 5321354"/>
              <a:gd name="connsiteX41-7643" fmla="*/ 4275373 w 10693106"/>
              <a:gd name="connsiteY41-7644" fmla="*/ 224421 h 5321354"/>
              <a:gd name="connsiteX42-7645" fmla="*/ 4402373 w 10693106"/>
              <a:gd name="connsiteY42-7646" fmla="*/ 258288 h 5321354"/>
              <a:gd name="connsiteX43-7647" fmla="*/ 4529373 w 10693106"/>
              <a:gd name="connsiteY43-7648" fmla="*/ 300621 h 5321354"/>
              <a:gd name="connsiteX44-7649" fmla="*/ 4859573 w 10693106"/>
              <a:gd name="connsiteY44-7650" fmla="*/ 376821 h 5321354"/>
              <a:gd name="connsiteX45-7651" fmla="*/ 5045840 w 10693106"/>
              <a:gd name="connsiteY45-7652" fmla="*/ 453021 h 5321354"/>
              <a:gd name="connsiteX46-7653" fmla="*/ 5325240 w 10693106"/>
              <a:gd name="connsiteY46-7654" fmla="*/ 613888 h 5321354"/>
              <a:gd name="connsiteX47-7655" fmla="*/ 5494573 w 10693106"/>
              <a:gd name="connsiteY47-7656" fmla="*/ 766288 h 5321354"/>
              <a:gd name="connsiteX48-7657" fmla="*/ 5562306 w 10693106"/>
              <a:gd name="connsiteY48-7658" fmla="*/ 842488 h 5321354"/>
              <a:gd name="connsiteX49-7659" fmla="*/ 5621573 w 10693106"/>
              <a:gd name="connsiteY49-7660" fmla="*/ 893288 h 5321354"/>
              <a:gd name="connsiteX50-7661" fmla="*/ 5672373 w 10693106"/>
              <a:gd name="connsiteY50-7662" fmla="*/ 961021 h 5321354"/>
              <a:gd name="connsiteX51-7663" fmla="*/ 5757040 w 10693106"/>
              <a:gd name="connsiteY51-7664" fmla="*/ 1062621 h 5321354"/>
              <a:gd name="connsiteX52-7665" fmla="*/ 5833240 w 10693106"/>
              <a:gd name="connsiteY52-7666" fmla="*/ 1155754 h 5321354"/>
              <a:gd name="connsiteX53-7667" fmla="*/ 6019506 w 10693106"/>
              <a:gd name="connsiteY53-7668" fmla="*/ 1358954 h 5321354"/>
              <a:gd name="connsiteX54-7669" fmla="*/ 6087240 w 10693106"/>
              <a:gd name="connsiteY54-7670" fmla="*/ 1409754 h 5321354"/>
              <a:gd name="connsiteX55-7671" fmla="*/ 6171906 w 10693106"/>
              <a:gd name="connsiteY55-7672" fmla="*/ 1511354 h 5321354"/>
              <a:gd name="connsiteX56-7673" fmla="*/ 6451306 w 10693106"/>
              <a:gd name="connsiteY56-7674" fmla="*/ 1723021 h 5321354"/>
              <a:gd name="connsiteX57-7675" fmla="*/ 6519040 w 10693106"/>
              <a:gd name="connsiteY57-7676" fmla="*/ 1731488 h 5321354"/>
              <a:gd name="connsiteX58-7677" fmla="*/ 6603706 w 10693106"/>
              <a:gd name="connsiteY58-7678" fmla="*/ 1765354 h 5321354"/>
              <a:gd name="connsiteX59-7679" fmla="*/ 6671440 w 10693106"/>
              <a:gd name="connsiteY59-7680" fmla="*/ 1799221 h 5321354"/>
              <a:gd name="connsiteX60-7681" fmla="*/ 6866173 w 10693106"/>
              <a:gd name="connsiteY60-7682" fmla="*/ 1824621 h 5321354"/>
              <a:gd name="connsiteX61-7683" fmla="*/ 7196373 w 10693106"/>
              <a:gd name="connsiteY61-7684" fmla="*/ 1807688 h 5321354"/>
              <a:gd name="connsiteX62-7685" fmla="*/ 7509640 w 10693106"/>
              <a:gd name="connsiteY62-7686" fmla="*/ 1731488 h 5321354"/>
              <a:gd name="connsiteX63-7687" fmla="*/ 7628173 w 10693106"/>
              <a:gd name="connsiteY63-7688" fmla="*/ 1706088 h 5321354"/>
              <a:gd name="connsiteX64-7689" fmla="*/ 7704373 w 10693106"/>
              <a:gd name="connsiteY64-7690" fmla="*/ 1663754 h 5321354"/>
              <a:gd name="connsiteX65-7691" fmla="*/ 7755173 w 10693106"/>
              <a:gd name="connsiteY65-7692" fmla="*/ 1655288 h 5321354"/>
              <a:gd name="connsiteX66-7693" fmla="*/ 7797506 w 10693106"/>
              <a:gd name="connsiteY66-7694" fmla="*/ 1621421 h 5321354"/>
              <a:gd name="connsiteX67-7695" fmla="*/ 7856773 w 10693106"/>
              <a:gd name="connsiteY67-7696" fmla="*/ 1604488 h 5321354"/>
              <a:gd name="connsiteX68-7697" fmla="*/ 7958373 w 10693106"/>
              <a:gd name="connsiteY68-7698" fmla="*/ 1536754 h 5321354"/>
              <a:gd name="connsiteX69-7699" fmla="*/ 8009173 w 10693106"/>
              <a:gd name="connsiteY69-7700" fmla="*/ 1485954 h 5321354"/>
              <a:gd name="connsiteX70-7701" fmla="*/ 8339373 w 10693106"/>
              <a:gd name="connsiteY70-7702" fmla="*/ 1240421 h 5321354"/>
              <a:gd name="connsiteX71-7703" fmla="*/ 8576440 w 10693106"/>
              <a:gd name="connsiteY71-7704" fmla="*/ 986421 h 5321354"/>
              <a:gd name="connsiteX72-7705" fmla="*/ 8652640 w 10693106"/>
              <a:gd name="connsiteY72-7706" fmla="*/ 707021 h 5321354"/>
              <a:gd name="connsiteX73-7707" fmla="*/ 8847373 w 10693106"/>
              <a:gd name="connsiteY73-7708" fmla="*/ 520754 h 5321354"/>
              <a:gd name="connsiteX74-7709" fmla="*/ 8982840 w 10693106"/>
              <a:gd name="connsiteY74-7710" fmla="*/ 427621 h 5321354"/>
              <a:gd name="connsiteX75-7711" fmla="*/ 9084440 w 10693106"/>
              <a:gd name="connsiteY75-7712" fmla="*/ 393754 h 5321354"/>
              <a:gd name="connsiteX76-7713" fmla="*/ 9152173 w 10693106"/>
              <a:gd name="connsiteY76-7714" fmla="*/ 368354 h 5321354"/>
              <a:gd name="connsiteX77-7715" fmla="*/ 9380773 w 10693106"/>
              <a:gd name="connsiteY77-7716" fmla="*/ 385288 h 5321354"/>
              <a:gd name="connsiteX78-7717" fmla="*/ 9744840 w 10693106"/>
              <a:gd name="connsiteY78-7718" fmla="*/ 495354 h 5321354"/>
              <a:gd name="connsiteX79-7719" fmla="*/ 9888773 w 10693106"/>
              <a:gd name="connsiteY79-7720" fmla="*/ 537688 h 5321354"/>
              <a:gd name="connsiteX80-7721" fmla="*/ 9998840 w 10693106"/>
              <a:gd name="connsiteY80-7722" fmla="*/ 588488 h 5321354"/>
              <a:gd name="connsiteX81-7723" fmla="*/ 10083506 w 10693106"/>
              <a:gd name="connsiteY81-7724" fmla="*/ 647754 h 5321354"/>
              <a:gd name="connsiteX82-7725" fmla="*/ 10286706 w 10693106"/>
              <a:gd name="connsiteY82-7726" fmla="*/ 715488 h 5321354"/>
              <a:gd name="connsiteX83-7727" fmla="*/ 10388306 w 10693106"/>
              <a:gd name="connsiteY83-7728" fmla="*/ 918688 h 5321354"/>
              <a:gd name="connsiteX84-7729" fmla="*/ 10540706 w 10693106"/>
              <a:gd name="connsiteY84-7730" fmla="*/ 1291221 h 5321354"/>
              <a:gd name="connsiteX85-7731" fmla="*/ 10557640 w 10693106"/>
              <a:gd name="connsiteY85-7732" fmla="*/ 1375888 h 5321354"/>
              <a:gd name="connsiteX86-7733" fmla="*/ 10583040 w 10693106"/>
              <a:gd name="connsiteY86-7734" fmla="*/ 1477488 h 5321354"/>
              <a:gd name="connsiteX87-7735" fmla="*/ 10616906 w 10693106"/>
              <a:gd name="connsiteY87-7736" fmla="*/ 1680688 h 5321354"/>
              <a:gd name="connsiteX88-7737" fmla="*/ 10633840 w 10693106"/>
              <a:gd name="connsiteY88-7738" fmla="*/ 1765354 h 5321354"/>
              <a:gd name="connsiteX89-7739" fmla="*/ 10650773 w 10693106"/>
              <a:gd name="connsiteY89-7740" fmla="*/ 1799221 h 5321354"/>
              <a:gd name="connsiteX90-7741" fmla="*/ 10676173 w 10693106"/>
              <a:gd name="connsiteY90-7742" fmla="*/ 1883888 h 5321354"/>
              <a:gd name="connsiteX91-7743" fmla="*/ 10693106 w 10693106"/>
              <a:gd name="connsiteY91-7744" fmla="*/ 2036288 h 5321354"/>
              <a:gd name="connsiteX92-7745" fmla="*/ 10625373 w 10693106"/>
              <a:gd name="connsiteY92-7746" fmla="*/ 2256421 h 5321354"/>
              <a:gd name="connsiteX93-7747" fmla="*/ 10608440 w 10693106"/>
              <a:gd name="connsiteY93-7748" fmla="*/ 2281821 h 5321354"/>
              <a:gd name="connsiteX94-7749" fmla="*/ 10540706 w 10693106"/>
              <a:gd name="connsiteY94-7750" fmla="*/ 2425754 h 5321354"/>
              <a:gd name="connsiteX95-7751" fmla="*/ 10498373 w 10693106"/>
              <a:gd name="connsiteY95-7752" fmla="*/ 2510421 h 5321354"/>
              <a:gd name="connsiteX96-7753" fmla="*/ 10439106 w 10693106"/>
              <a:gd name="connsiteY96-7754" fmla="*/ 2696688 h 5321354"/>
              <a:gd name="connsiteX97-7755" fmla="*/ 10430640 w 10693106"/>
              <a:gd name="connsiteY97-7756" fmla="*/ 2739021 h 5321354"/>
              <a:gd name="connsiteX98-7757" fmla="*/ 10405240 w 10693106"/>
              <a:gd name="connsiteY98-7758" fmla="*/ 2815221 h 5321354"/>
              <a:gd name="connsiteX99-7759" fmla="*/ 10396773 w 10693106"/>
              <a:gd name="connsiteY99-7760" fmla="*/ 2849088 h 5321354"/>
              <a:gd name="connsiteX100-7761" fmla="*/ 10362906 w 10693106"/>
              <a:gd name="connsiteY100-7762" fmla="*/ 2942221 h 5321354"/>
              <a:gd name="connsiteX101-7763" fmla="*/ 10329040 w 10693106"/>
              <a:gd name="connsiteY101-7764" fmla="*/ 2984554 h 5321354"/>
              <a:gd name="connsiteX102-7765" fmla="*/ 10227440 w 10693106"/>
              <a:gd name="connsiteY102-7766" fmla="*/ 3086154 h 5321354"/>
              <a:gd name="connsiteX103-7767" fmla="*/ 10168173 w 10693106"/>
              <a:gd name="connsiteY103-7768" fmla="*/ 3153888 h 5321354"/>
              <a:gd name="connsiteX104-7769" fmla="*/ 10117373 w 10693106"/>
              <a:gd name="connsiteY104-7770" fmla="*/ 3204688 h 5321354"/>
              <a:gd name="connsiteX105-7771" fmla="*/ 10032706 w 10693106"/>
              <a:gd name="connsiteY105-7772" fmla="*/ 3306288 h 5321354"/>
              <a:gd name="connsiteX106-7773" fmla="*/ 9948040 w 10693106"/>
              <a:gd name="connsiteY106-7774" fmla="*/ 3365554 h 5321354"/>
              <a:gd name="connsiteX107-7775" fmla="*/ 9905706 w 10693106"/>
              <a:gd name="connsiteY107-7776" fmla="*/ 3390954 h 5321354"/>
              <a:gd name="connsiteX108-7777" fmla="*/ 9829506 w 10693106"/>
              <a:gd name="connsiteY108-7778" fmla="*/ 3407888 h 5321354"/>
              <a:gd name="connsiteX109-7779" fmla="*/ 9727906 w 10693106"/>
              <a:gd name="connsiteY109-7780" fmla="*/ 3450221 h 5321354"/>
              <a:gd name="connsiteX110-7781" fmla="*/ 9634773 w 10693106"/>
              <a:gd name="connsiteY110-7782" fmla="*/ 3475621 h 5321354"/>
              <a:gd name="connsiteX111-7783" fmla="*/ 9456973 w 10693106"/>
              <a:gd name="connsiteY111-7784" fmla="*/ 3568754 h 5321354"/>
              <a:gd name="connsiteX112-7785" fmla="*/ 9313040 w 10693106"/>
              <a:gd name="connsiteY112-7786" fmla="*/ 3695754 h 5321354"/>
              <a:gd name="connsiteX113-7787" fmla="*/ 9279173 w 10693106"/>
              <a:gd name="connsiteY113-7788" fmla="*/ 3712688 h 5321354"/>
              <a:gd name="connsiteX114-7789" fmla="*/ 9067506 w 10693106"/>
              <a:gd name="connsiteY114-7790" fmla="*/ 3890488 h 5321354"/>
              <a:gd name="connsiteX115-7791" fmla="*/ 8999773 w 10693106"/>
              <a:gd name="connsiteY115-7792" fmla="*/ 3958221 h 5321354"/>
              <a:gd name="connsiteX116-7793" fmla="*/ 8813506 w 10693106"/>
              <a:gd name="connsiteY116-7794" fmla="*/ 4093688 h 5321354"/>
              <a:gd name="connsiteX117-7795" fmla="*/ 8728840 w 10693106"/>
              <a:gd name="connsiteY117-7796" fmla="*/ 4136021 h 5321354"/>
              <a:gd name="connsiteX118-7797" fmla="*/ 8373240 w 10693106"/>
              <a:gd name="connsiteY118-7798" fmla="*/ 4169888 h 5321354"/>
              <a:gd name="connsiteX119-7799" fmla="*/ 7966840 w 10693106"/>
              <a:gd name="connsiteY119-7800" fmla="*/ 4263021 h 5321354"/>
              <a:gd name="connsiteX120-7801" fmla="*/ 7687440 w 10693106"/>
              <a:gd name="connsiteY120-7802" fmla="*/ 4423888 h 5321354"/>
              <a:gd name="connsiteX121-7803" fmla="*/ 7551973 w 10693106"/>
              <a:gd name="connsiteY121-7804" fmla="*/ 4508554 h 5321354"/>
              <a:gd name="connsiteX122-7805" fmla="*/ 7374173 w 10693106"/>
              <a:gd name="connsiteY122-7806" fmla="*/ 4686354 h 5321354"/>
              <a:gd name="connsiteX123-7807" fmla="*/ 7374173 w 10693106"/>
              <a:gd name="connsiteY123-7808" fmla="*/ 4686354 h 5321354"/>
              <a:gd name="connsiteX124-7809" fmla="*/ 7221773 w 10693106"/>
              <a:gd name="connsiteY124-7810" fmla="*/ 4804888 h 5321354"/>
              <a:gd name="connsiteX125-7811" fmla="*/ 7027040 w 10693106"/>
              <a:gd name="connsiteY125-7812" fmla="*/ 4931888 h 5321354"/>
              <a:gd name="connsiteX126-7813" fmla="*/ 6883106 w 10693106"/>
              <a:gd name="connsiteY126-7814" fmla="*/ 4999621 h 5321354"/>
              <a:gd name="connsiteX127-7815" fmla="*/ 6815373 w 10693106"/>
              <a:gd name="connsiteY127-7816" fmla="*/ 5041954 h 5321354"/>
              <a:gd name="connsiteX128-7817" fmla="*/ 6646040 w 10693106"/>
              <a:gd name="connsiteY128-7818" fmla="*/ 5135088 h 5321354"/>
              <a:gd name="connsiteX129-7819" fmla="*/ 6527506 w 10693106"/>
              <a:gd name="connsiteY129-7820" fmla="*/ 5194354 h 5321354"/>
              <a:gd name="connsiteX130-7821" fmla="*/ 6298906 w 10693106"/>
              <a:gd name="connsiteY130-7822" fmla="*/ 5270554 h 5321354"/>
              <a:gd name="connsiteX131-7823" fmla="*/ 6197306 w 10693106"/>
              <a:gd name="connsiteY131-7824" fmla="*/ 5295954 h 5321354"/>
              <a:gd name="connsiteX132-7825" fmla="*/ 6061840 w 10693106"/>
              <a:gd name="connsiteY132-7826" fmla="*/ 5304421 h 5321354"/>
              <a:gd name="connsiteX133-7827" fmla="*/ 5917906 w 10693106"/>
              <a:gd name="connsiteY133-7828" fmla="*/ 5321354 h 5321354"/>
              <a:gd name="connsiteX134-7829" fmla="*/ 5748573 w 10693106"/>
              <a:gd name="connsiteY134-7830" fmla="*/ 5312888 h 5321354"/>
              <a:gd name="connsiteX135-7831" fmla="*/ 5282906 w 10693106"/>
              <a:gd name="connsiteY135-7832" fmla="*/ 5202821 h 5321354"/>
              <a:gd name="connsiteX136-7833" fmla="*/ 5138973 w 10693106"/>
              <a:gd name="connsiteY136-7834" fmla="*/ 5101221 h 5321354"/>
              <a:gd name="connsiteX137-7835" fmla="*/ 5020440 w 10693106"/>
              <a:gd name="connsiteY137-7836" fmla="*/ 4948821 h 5321354"/>
              <a:gd name="connsiteX138-7837" fmla="*/ 4952706 w 10693106"/>
              <a:gd name="connsiteY138-7838" fmla="*/ 4872621 h 5321354"/>
              <a:gd name="connsiteX139-7839" fmla="*/ 4884973 w 10693106"/>
              <a:gd name="connsiteY139-7840" fmla="*/ 4804888 h 5321354"/>
              <a:gd name="connsiteX140-7841" fmla="*/ 4732573 w 10693106"/>
              <a:gd name="connsiteY140-7842" fmla="*/ 4627088 h 5321354"/>
              <a:gd name="connsiteX141-7843" fmla="*/ 4673306 w 10693106"/>
              <a:gd name="connsiteY141-7844" fmla="*/ 4559354 h 5321354"/>
              <a:gd name="connsiteX142-7845" fmla="*/ 4487040 w 10693106"/>
              <a:gd name="connsiteY142-7846" fmla="*/ 4432354 h 5321354"/>
              <a:gd name="connsiteX143-7847" fmla="*/ 4187743 w 10693106"/>
              <a:gd name="connsiteY143-7848" fmla="*/ 4550888 h 5321354"/>
              <a:gd name="connsiteX144-7849" fmla="*/ 4038306 w 10693106"/>
              <a:gd name="connsiteY144-7850" fmla="*/ 4395101 h 5321354"/>
              <a:gd name="connsiteX145-7851" fmla="*/ 4224573 w 10693106"/>
              <a:gd name="connsiteY145-7852" fmla="*/ 4288421 h 5321354"/>
              <a:gd name="connsiteX146-7853" fmla="*/ 4156840 w 10693106"/>
              <a:gd name="connsiteY146-7854" fmla="*/ 4229154 h 5321354"/>
              <a:gd name="connsiteX147-7855" fmla="*/ 4021373 w 10693106"/>
              <a:gd name="connsiteY147-7856" fmla="*/ 4085221 h 5321354"/>
              <a:gd name="connsiteX148-7857" fmla="*/ 3919773 w 10693106"/>
              <a:gd name="connsiteY148-7858" fmla="*/ 3949754 h 5321354"/>
              <a:gd name="connsiteX149-7859" fmla="*/ 3877440 w 10693106"/>
              <a:gd name="connsiteY149-7860" fmla="*/ 3653421 h 5321354"/>
              <a:gd name="connsiteX150-7861" fmla="*/ 3852040 w 10693106"/>
              <a:gd name="connsiteY150-7862" fmla="*/ 3560288 h 5321354"/>
              <a:gd name="connsiteX151-7863" fmla="*/ 3801240 w 10693106"/>
              <a:gd name="connsiteY151-7864" fmla="*/ 3450221 h 5321354"/>
              <a:gd name="connsiteX152-7865" fmla="*/ 3733506 w 10693106"/>
              <a:gd name="connsiteY152-7866" fmla="*/ 3348621 h 5321354"/>
              <a:gd name="connsiteX153-7867" fmla="*/ 3242440 w 10693106"/>
              <a:gd name="connsiteY153-7868" fmla="*/ 3128488 h 5321354"/>
              <a:gd name="connsiteX154-7869" fmla="*/ 3123906 w 10693106"/>
              <a:gd name="connsiteY154-7870" fmla="*/ 3026888 h 5321354"/>
              <a:gd name="connsiteX155-7871" fmla="*/ 2988440 w 10693106"/>
              <a:gd name="connsiteY155-7872" fmla="*/ 2832154 h 5321354"/>
              <a:gd name="connsiteX156-7873" fmla="*/ 2971506 w 10693106"/>
              <a:gd name="connsiteY156-7874" fmla="*/ 2772888 h 5321354"/>
              <a:gd name="connsiteX157-7875" fmla="*/ 2996906 w 10693106"/>
              <a:gd name="connsiteY157-7876" fmla="*/ 2561221 h 5321354"/>
              <a:gd name="connsiteX158-7877" fmla="*/ 3013840 w 10693106"/>
              <a:gd name="connsiteY158-7878" fmla="*/ 2459621 h 5321354"/>
              <a:gd name="connsiteX159-7879" fmla="*/ 3005373 w 10693106"/>
              <a:gd name="connsiteY159-7880" fmla="*/ 2341088 h 5321354"/>
              <a:gd name="connsiteX160-7881" fmla="*/ 2988440 w 10693106"/>
              <a:gd name="connsiteY160-7882" fmla="*/ 2290288 h 5321354"/>
              <a:gd name="connsiteX161-7883" fmla="*/ 2802173 w 10693106"/>
              <a:gd name="connsiteY161-7884" fmla="*/ 2036288 h 5321354"/>
              <a:gd name="connsiteX162-7885" fmla="*/ 2641306 w 10693106"/>
              <a:gd name="connsiteY162-7886" fmla="*/ 1892354 h 5321354"/>
              <a:gd name="connsiteX163-7887" fmla="*/ 2590506 w 10693106"/>
              <a:gd name="connsiteY163-7888" fmla="*/ 1866954 h 5321354"/>
              <a:gd name="connsiteX164-7889" fmla="*/ 2531240 w 10693106"/>
              <a:gd name="connsiteY164-7890" fmla="*/ 1858488 h 5321354"/>
              <a:gd name="connsiteX165-7891" fmla="*/ 2446573 w 10693106"/>
              <a:gd name="connsiteY165-7892" fmla="*/ 1841554 h 5321354"/>
              <a:gd name="connsiteX166-7893" fmla="*/ 2251840 w 10693106"/>
              <a:gd name="connsiteY166-7894" fmla="*/ 1866954 h 5321354"/>
              <a:gd name="connsiteX167-7895" fmla="*/ 2167173 w 10693106"/>
              <a:gd name="connsiteY167-7896" fmla="*/ 1909288 h 5321354"/>
              <a:gd name="connsiteX168-7897" fmla="*/ 1980906 w 10693106"/>
              <a:gd name="connsiteY168-7898" fmla="*/ 1968554 h 5321354"/>
              <a:gd name="connsiteX169-7899" fmla="*/ 1904706 w 10693106"/>
              <a:gd name="connsiteY169-7900" fmla="*/ 2002421 h 5321354"/>
              <a:gd name="connsiteX170-7901" fmla="*/ 1828506 w 10693106"/>
              <a:gd name="connsiteY170-7902" fmla="*/ 2019354 h 5321354"/>
              <a:gd name="connsiteX171-7903" fmla="*/ 1726906 w 10693106"/>
              <a:gd name="connsiteY171-7904" fmla="*/ 2070154 h 5321354"/>
              <a:gd name="connsiteX172-7905" fmla="*/ 1659173 w 10693106"/>
              <a:gd name="connsiteY172-7906" fmla="*/ 2104021 h 5321354"/>
              <a:gd name="connsiteX173-7907" fmla="*/ 1498306 w 10693106"/>
              <a:gd name="connsiteY173-7908" fmla="*/ 2129421 h 5321354"/>
              <a:gd name="connsiteX174-7909" fmla="*/ 914106 w 10693106"/>
              <a:gd name="connsiteY174-7910" fmla="*/ 2061688 h 5321354"/>
              <a:gd name="connsiteX175-7911" fmla="*/ 617773 w 10693106"/>
              <a:gd name="connsiteY175-7912" fmla="*/ 1951621 h 5321354"/>
              <a:gd name="connsiteX176-7913" fmla="*/ 516173 w 10693106"/>
              <a:gd name="connsiteY176-7914" fmla="*/ 1866954 h 5321354"/>
              <a:gd name="connsiteX177-7915" fmla="*/ 355306 w 10693106"/>
              <a:gd name="connsiteY177-7916" fmla="*/ 1655288 h 5321354"/>
              <a:gd name="connsiteX178-7917" fmla="*/ 296040 w 10693106"/>
              <a:gd name="connsiteY178-7918" fmla="*/ 1553688 h 5321354"/>
              <a:gd name="connsiteX179-7919" fmla="*/ 253706 w 10693106"/>
              <a:gd name="connsiteY179-7920" fmla="*/ 1375888 h 5321354"/>
              <a:gd name="connsiteX180-7921" fmla="*/ 245240 w 10693106"/>
              <a:gd name="connsiteY180-7922" fmla="*/ 1248888 h 5321354"/>
              <a:gd name="connsiteX181-7923" fmla="*/ 236773 w 10693106"/>
              <a:gd name="connsiteY181-7924" fmla="*/ 1147288 h 5321354"/>
              <a:gd name="connsiteX182-7925" fmla="*/ 245240 w 10693106"/>
              <a:gd name="connsiteY182-7926" fmla="*/ 876354 h 5321354"/>
              <a:gd name="connsiteX183-7927" fmla="*/ 236773 w 10693106"/>
              <a:gd name="connsiteY183-7928" fmla="*/ 732421 h 5321354"/>
              <a:gd name="connsiteX184-7929" fmla="*/ 109773 w 10693106"/>
              <a:gd name="connsiteY184-7930" fmla="*/ 588488 h 5321354"/>
              <a:gd name="connsiteX185-7931" fmla="*/ 58973 w 10693106"/>
              <a:gd name="connsiteY185-7932" fmla="*/ 512288 h 5321354"/>
              <a:gd name="connsiteX186-7933" fmla="*/ 16640 w 10693106"/>
              <a:gd name="connsiteY186-7934" fmla="*/ 461488 h 5321354"/>
              <a:gd name="connsiteX187-7935" fmla="*/ 8173 w 10693106"/>
              <a:gd name="connsiteY187-7936" fmla="*/ 419154 h 5321354"/>
              <a:gd name="connsiteX188-7937" fmla="*/ 16640 w 10693106"/>
              <a:gd name="connsiteY188-7938" fmla="*/ 368354 h 5321354"/>
              <a:gd name="connsiteX0-7939" fmla="*/ 16640 w 10693106"/>
              <a:gd name="connsiteY0-7940" fmla="*/ 368354 h 5321354"/>
              <a:gd name="connsiteX1-7941" fmla="*/ 58973 w 10693106"/>
              <a:gd name="connsiteY1-7942" fmla="*/ 275221 h 5321354"/>
              <a:gd name="connsiteX2-7943" fmla="*/ 109773 w 10693106"/>
              <a:gd name="connsiteY2-7944" fmla="*/ 207488 h 5321354"/>
              <a:gd name="connsiteX3-7945" fmla="*/ 202906 w 10693106"/>
              <a:gd name="connsiteY3-7946" fmla="*/ 122821 h 5321354"/>
              <a:gd name="connsiteX4-7947" fmla="*/ 236773 w 10693106"/>
              <a:gd name="connsiteY4-7948" fmla="*/ 97421 h 5321354"/>
              <a:gd name="connsiteX5-7949" fmla="*/ 346840 w 10693106"/>
              <a:gd name="connsiteY5-7950" fmla="*/ 38154 h 5321354"/>
              <a:gd name="connsiteX6-7951" fmla="*/ 397640 w 10693106"/>
              <a:gd name="connsiteY6-7952" fmla="*/ 4288 h 5321354"/>
              <a:gd name="connsiteX7-7953" fmla="*/ 467297 w 10693106"/>
              <a:gd name="connsiteY7-7954" fmla="*/ 143218 h 5321354"/>
              <a:gd name="connsiteX8-7955" fmla="*/ 492697 w 10693106"/>
              <a:gd name="connsiteY8-7956" fmla="*/ 103579 h 5321354"/>
              <a:gd name="connsiteX9-7957" fmla="*/ 822897 w 10693106"/>
              <a:gd name="connsiteY9-7958" fmla="*/ 112045 h 5321354"/>
              <a:gd name="connsiteX10-7959" fmla="*/ 1091906 w 10693106"/>
              <a:gd name="connsiteY10-7960" fmla="*/ 29688 h 5321354"/>
              <a:gd name="connsiteX11-7961" fmla="*/ 1235840 w 10693106"/>
              <a:gd name="connsiteY11-7962" fmla="*/ 88954 h 5321354"/>
              <a:gd name="connsiteX12-7963" fmla="*/ 1337440 w 10693106"/>
              <a:gd name="connsiteY12-7964" fmla="*/ 165154 h 5321354"/>
              <a:gd name="connsiteX13-7965" fmla="*/ 1422106 w 10693106"/>
              <a:gd name="connsiteY13-7966" fmla="*/ 275221 h 5321354"/>
              <a:gd name="connsiteX14-7967" fmla="*/ 1481373 w 10693106"/>
              <a:gd name="connsiteY14-7968" fmla="*/ 342954 h 5321354"/>
              <a:gd name="connsiteX15-7969" fmla="*/ 1532173 w 10693106"/>
              <a:gd name="connsiteY15-7970" fmla="*/ 376821 h 5321354"/>
              <a:gd name="connsiteX16-7971" fmla="*/ 1684573 w 10693106"/>
              <a:gd name="connsiteY16-7972" fmla="*/ 436088 h 5321354"/>
              <a:gd name="connsiteX17-7973" fmla="*/ 1760773 w 10693106"/>
              <a:gd name="connsiteY17-7974" fmla="*/ 453021 h 5321354"/>
              <a:gd name="connsiteX18-7975" fmla="*/ 1997840 w 10693106"/>
              <a:gd name="connsiteY18-7976" fmla="*/ 444554 h 5321354"/>
              <a:gd name="connsiteX19-7977" fmla="*/ 2116373 w 10693106"/>
              <a:gd name="connsiteY19-7978" fmla="*/ 427621 h 5321354"/>
              <a:gd name="connsiteX20-7979" fmla="*/ 2260306 w 10693106"/>
              <a:gd name="connsiteY20-7980" fmla="*/ 410688 h 5321354"/>
              <a:gd name="connsiteX21-7981" fmla="*/ 2404240 w 10693106"/>
              <a:gd name="connsiteY21-7982" fmla="*/ 385288 h 5321354"/>
              <a:gd name="connsiteX22-7983" fmla="*/ 2455040 w 10693106"/>
              <a:gd name="connsiteY22-7984" fmla="*/ 359888 h 5321354"/>
              <a:gd name="connsiteX23-7985" fmla="*/ 2531240 w 10693106"/>
              <a:gd name="connsiteY23-7986" fmla="*/ 334488 h 5321354"/>
              <a:gd name="connsiteX24-7987" fmla="*/ 2683640 w 10693106"/>
              <a:gd name="connsiteY24-7988" fmla="*/ 207488 h 5321354"/>
              <a:gd name="connsiteX25-7989" fmla="*/ 2742906 w 10693106"/>
              <a:gd name="connsiteY25-7990" fmla="*/ 215954 h 5321354"/>
              <a:gd name="connsiteX26-7991" fmla="*/ 2764920 w 10693106"/>
              <a:gd name="connsiteY26-7992" fmla="*/ 202408 h 5321354"/>
              <a:gd name="connsiteX27-7993" fmla="*/ 2832653 w 10693106"/>
              <a:gd name="connsiteY27-7994" fmla="*/ 197328 h 5321354"/>
              <a:gd name="connsiteX28-7995" fmla="*/ 3002294 w 10693106"/>
              <a:gd name="connsiteY28-7996" fmla="*/ 184012 h 5321354"/>
              <a:gd name="connsiteX29-7997" fmla="*/ 3142763 w 10693106"/>
              <a:gd name="connsiteY29-7998" fmla="*/ 139753 h 5321354"/>
              <a:gd name="connsiteX30-7999" fmla="*/ 3398918 w 10693106"/>
              <a:gd name="connsiteY30-8000" fmla="*/ 101654 h 5321354"/>
              <a:gd name="connsiteX31-8001" fmla="*/ 3606506 w 10693106"/>
              <a:gd name="connsiteY31-8002" fmla="*/ 89725 h 5321354"/>
              <a:gd name="connsiteX32-8003" fmla="*/ 3682706 w 10693106"/>
              <a:gd name="connsiteY32-8004" fmla="*/ 109274 h 5321354"/>
              <a:gd name="connsiteX33-8005" fmla="*/ 3741973 w 10693106"/>
              <a:gd name="connsiteY33-8006" fmla="*/ 115893 h 5321354"/>
              <a:gd name="connsiteX34-8007" fmla="*/ 3792773 w 10693106"/>
              <a:gd name="connsiteY34-8008" fmla="*/ 151608 h 5321354"/>
              <a:gd name="connsiteX35-8009" fmla="*/ 3831720 w 10693106"/>
              <a:gd name="connsiteY35-8010" fmla="*/ 166848 h 5321354"/>
              <a:gd name="connsiteX36-8011" fmla="*/ 3896297 w 10693106"/>
              <a:gd name="connsiteY36-8012" fmla="*/ 186321 h 5321354"/>
              <a:gd name="connsiteX37-8013" fmla="*/ 3950253 w 10693106"/>
              <a:gd name="connsiteY37-8014" fmla="*/ 205794 h 5321354"/>
              <a:gd name="connsiteX38-8015" fmla="*/ 3995973 w 10693106"/>
              <a:gd name="connsiteY38-8016" fmla="*/ 139754 h 5321354"/>
              <a:gd name="connsiteX39-8017" fmla="*/ 4021373 w 10693106"/>
              <a:gd name="connsiteY39-8018" fmla="*/ 173621 h 5321354"/>
              <a:gd name="connsiteX40-8019" fmla="*/ 4055240 w 10693106"/>
              <a:gd name="connsiteY40-8020" fmla="*/ 182088 h 5321354"/>
              <a:gd name="connsiteX41-8021" fmla="*/ 4275373 w 10693106"/>
              <a:gd name="connsiteY41-8022" fmla="*/ 224421 h 5321354"/>
              <a:gd name="connsiteX42-8023" fmla="*/ 4402373 w 10693106"/>
              <a:gd name="connsiteY42-8024" fmla="*/ 258288 h 5321354"/>
              <a:gd name="connsiteX43-8025" fmla="*/ 4529373 w 10693106"/>
              <a:gd name="connsiteY43-8026" fmla="*/ 300621 h 5321354"/>
              <a:gd name="connsiteX44-8027" fmla="*/ 4859573 w 10693106"/>
              <a:gd name="connsiteY44-8028" fmla="*/ 376821 h 5321354"/>
              <a:gd name="connsiteX45-8029" fmla="*/ 5045840 w 10693106"/>
              <a:gd name="connsiteY45-8030" fmla="*/ 453021 h 5321354"/>
              <a:gd name="connsiteX46-8031" fmla="*/ 5325240 w 10693106"/>
              <a:gd name="connsiteY46-8032" fmla="*/ 613888 h 5321354"/>
              <a:gd name="connsiteX47-8033" fmla="*/ 5494573 w 10693106"/>
              <a:gd name="connsiteY47-8034" fmla="*/ 766288 h 5321354"/>
              <a:gd name="connsiteX48-8035" fmla="*/ 5562306 w 10693106"/>
              <a:gd name="connsiteY48-8036" fmla="*/ 842488 h 5321354"/>
              <a:gd name="connsiteX49-8037" fmla="*/ 5621573 w 10693106"/>
              <a:gd name="connsiteY49-8038" fmla="*/ 893288 h 5321354"/>
              <a:gd name="connsiteX50-8039" fmla="*/ 5672373 w 10693106"/>
              <a:gd name="connsiteY50-8040" fmla="*/ 961021 h 5321354"/>
              <a:gd name="connsiteX51-8041" fmla="*/ 5757040 w 10693106"/>
              <a:gd name="connsiteY51-8042" fmla="*/ 1062621 h 5321354"/>
              <a:gd name="connsiteX52-8043" fmla="*/ 5833240 w 10693106"/>
              <a:gd name="connsiteY52-8044" fmla="*/ 1155754 h 5321354"/>
              <a:gd name="connsiteX53-8045" fmla="*/ 6019506 w 10693106"/>
              <a:gd name="connsiteY53-8046" fmla="*/ 1358954 h 5321354"/>
              <a:gd name="connsiteX54-8047" fmla="*/ 6087240 w 10693106"/>
              <a:gd name="connsiteY54-8048" fmla="*/ 1409754 h 5321354"/>
              <a:gd name="connsiteX55-8049" fmla="*/ 6171906 w 10693106"/>
              <a:gd name="connsiteY55-8050" fmla="*/ 1511354 h 5321354"/>
              <a:gd name="connsiteX56-8051" fmla="*/ 6451306 w 10693106"/>
              <a:gd name="connsiteY56-8052" fmla="*/ 1723021 h 5321354"/>
              <a:gd name="connsiteX57-8053" fmla="*/ 6519040 w 10693106"/>
              <a:gd name="connsiteY57-8054" fmla="*/ 1731488 h 5321354"/>
              <a:gd name="connsiteX58-8055" fmla="*/ 6603706 w 10693106"/>
              <a:gd name="connsiteY58-8056" fmla="*/ 1765354 h 5321354"/>
              <a:gd name="connsiteX59-8057" fmla="*/ 6671440 w 10693106"/>
              <a:gd name="connsiteY59-8058" fmla="*/ 1799221 h 5321354"/>
              <a:gd name="connsiteX60-8059" fmla="*/ 6866173 w 10693106"/>
              <a:gd name="connsiteY60-8060" fmla="*/ 1824621 h 5321354"/>
              <a:gd name="connsiteX61-8061" fmla="*/ 7196373 w 10693106"/>
              <a:gd name="connsiteY61-8062" fmla="*/ 1807688 h 5321354"/>
              <a:gd name="connsiteX62-8063" fmla="*/ 7509640 w 10693106"/>
              <a:gd name="connsiteY62-8064" fmla="*/ 1731488 h 5321354"/>
              <a:gd name="connsiteX63-8065" fmla="*/ 7628173 w 10693106"/>
              <a:gd name="connsiteY63-8066" fmla="*/ 1706088 h 5321354"/>
              <a:gd name="connsiteX64-8067" fmla="*/ 7704373 w 10693106"/>
              <a:gd name="connsiteY64-8068" fmla="*/ 1663754 h 5321354"/>
              <a:gd name="connsiteX65-8069" fmla="*/ 7755173 w 10693106"/>
              <a:gd name="connsiteY65-8070" fmla="*/ 1655288 h 5321354"/>
              <a:gd name="connsiteX66-8071" fmla="*/ 7797506 w 10693106"/>
              <a:gd name="connsiteY66-8072" fmla="*/ 1621421 h 5321354"/>
              <a:gd name="connsiteX67-8073" fmla="*/ 7856773 w 10693106"/>
              <a:gd name="connsiteY67-8074" fmla="*/ 1604488 h 5321354"/>
              <a:gd name="connsiteX68-8075" fmla="*/ 7958373 w 10693106"/>
              <a:gd name="connsiteY68-8076" fmla="*/ 1536754 h 5321354"/>
              <a:gd name="connsiteX69-8077" fmla="*/ 8009173 w 10693106"/>
              <a:gd name="connsiteY69-8078" fmla="*/ 1485954 h 5321354"/>
              <a:gd name="connsiteX70-8079" fmla="*/ 8339373 w 10693106"/>
              <a:gd name="connsiteY70-8080" fmla="*/ 1240421 h 5321354"/>
              <a:gd name="connsiteX71-8081" fmla="*/ 8576440 w 10693106"/>
              <a:gd name="connsiteY71-8082" fmla="*/ 986421 h 5321354"/>
              <a:gd name="connsiteX72-8083" fmla="*/ 8652640 w 10693106"/>
              <a:gd name="connsiteY72-8084" fmla="*/ 707021 h 5321354"/>
              <a:gd name="connsiteX73-8085" fmla="*/ 8847373 w 10693106"/>
              <a:gd name="connsiteY73-8086" fmla="*/ 520754 h 5321354"/>
              <a:gd name="connsiteX74-8087" fmla="*/ 8982840 w 10693106"/>
              <a:gd name="connsiteY74-8088" fmla="*/ 427621 h 5321354"/>
              <a:gd name="connsiteX75-8089" fmla="*/ 9084440 w 10693106"/>
              <a:gd name="connsiteY75-8090" fmla="*/ 393754 h 5321354"/>
              <a:gd name="connsiteX76-8091" fmla="*/ 9152173 w 10693106"/>
              <a:gd name="connsiteY76-8092" fmla="*/ 368354 h 5321354"/>
              <a:gd name="connsiteX77-8093" fmla="*/ 9380773 w 10693106"/>
              <a:gd name="connsiteY77-8094" fmla="*/ 385288 h 5321354"/>
              <a:gd name="connsiteX78-8095" fmla="*/ 9744840 w 10693106"/>
              <a:gd name="connsiteY78-8096" fmla="*/ 495354 h 5321354"/>
              <a:gd name="connsiteX79-8097" fmla="*/ 9888773 w 10693106"/>
              <a:gd name="connsiteY79-8098" fmla="*/ 537688 h 5321354"/>
              <a:gd name="connsiteX80-8099" fmla="*/ 9998840 w 10693106"/>
              <a:gd name="connsiteY80-8100" fmla="*/ 588488 h 5321354"/>
              <a:gd name="connsiteX81-8101" fmla="*/ 10083506 w 10693106"/>
              <a:gd name="connsiteY81-8102" fmla="*/ 647754 h 5321354"/>
              <a:gd name="connsiteX82-8103" fmla="*/ 10286706 w 10693106"/>
              <a:gd name="connsiteY82-8104" fmla="*/ 715488 h 5321354"/>
              <a:gd name="connsiteX83-8105" fmla="*/ 10388306 w 10693106"/>
              <a:gd name="connsiteY83-8106" fmla="*/ 918688 h 5321354"/>
              <a:gd name="connsiteX84-8107" fmla="*/ 10540706 w 10693106"/>
              <a:gd name="connsiteY84-8108" fmla="*/ 1291221 h 5321354"/>
              <a:gd name="connsiteX85-8109" fmla="*/ 10557640 w 10693106"/>
              <a:gd name="connsiteY85-8110" fmla="*/ 1375888 h 5321354"/>
              <a:gd name="connsiteX86-8111" fmla="*/ 10583040 w 10693106"/>
              <a:gd name="connsiteY86-8112" fmla="*/ 1477488 h 5321354"/>
              <a:gd name="connsiteX87-8113" fmla="*/ 10616906 w 10693106"/>
              <a:gd name="connsiteY87-8114" fmla="*/ 1680688 h 5321354"/>
              <a:gd name="connsiteX88-8115" fmla="*/ 10633840 w 10693106"/>
              <a:gd name="connsiteY88-8116" fmla="*/ 1765354 h 5321354"/>
              <a:gd name="connsiteX89-8117" fmla="*/ 10650773 w 10693106"/>
              <a:gd name="connsiteY89-8118" fmla="*/ 1799221 h 5321354"/>
              <a:gd name="connsiteX90-8119" fmla="*/ 10676173 w 10693106"/>
              <a:gd name="connsiteY90-8120" fmla="*/ 1883888 h 5321354"/>
              <a:gd name="connsiteX91-8121" fmla="*/ 10693106 w 10693106"/>
              <a:gd name="connsiteY91-8122" fmla="*/ 2036288 h 5321354"/>
              <a:gd name="connsiteX92-8123" fmla="*/ 10625373 w 10693106"/>
              <a:gd name="connsiteY92-8124" fmla="*/ 2256421 h 5321354"/>
              <a:gd name="connsiteX93-8125" fmla="*/ 10608440 w 10693106"/>
              <a:gd name="connsiteY93-8126" fmla="*/ 2281821 h 5321354"/>
              <a:gd name="connsiteX94-8127" fmla="*/ 10540706 w 10693106"/>
              <a:gd name="connsiteY94-8128" fmla="*/ 2425754 h 5321354"/>
              <a:gd name="connsiteX95-8129" fmla="*/ 10498373 w 10693106"/>
              <a:gd name="connsiteY95-8130" fmla="*/ 2510421 h 5321354"/>
              <a:gd name="connsiteX96-8131" fmla="*/ 10439106 w 10693106"/>
              <a:gd name="connsiteY96-8132" fmla="*/ 2696688 h 5321354"/>
              <a:gd name="connsiteX97-8133" fmla="*/ 10430640 w 10693106"/>
              <a:gd name="connsiteY97-8134" fmla="*/ 2739021 h 5321354"/>
              <a:gd name="connsiteX98-8135" fmla="*/ 10405240 w 10693106"/>
              <a:gd name="connsiteY98-8136" fmla="*/ 2815221 h 5321354"/>
              <a:gd name="connsiteX99-8137" fmla="*/ 10396773 w 10693106"/>
              <a:gd name="connsiteY99-8138" fmla="*/ 2849088 h 5321354"/>
              <a:gd name="connsiteX100-8139" fmla="*/ 10362906 w 10693106"/>
              <a:gd name="connsiteY100-8140" fmla="*/ 2942221 h 5321354"/>
              <a:gd name="connsiteX101-8141" fmla="*/ 10329040 w 10693106"/>
              <a:gd name="connsiteY101-8142" fmla="*/ 2984554 h 5321354"/>
              <a:gd name="connsiteX102-8143" fmla="*/ 10227440 w 10693106"/>
              <a:gd name="connsiteY102-8144" fmla="*/ 3086154 h 5321354"/>
              <a:gd name="connsiteX103-8145" fmla="*/ 10168173 w 10693106"/>
              <a:gd name="connsiteY103-8146" fmla="*/ 3153888 h 5321354"/>
              <a:gd name="connsiteX104-8147" fmla="*/ 10117373 w 10693106"/>
              <a:gd name="connsiteY104-8148" fmla="*/ 3204688 h 5321354"/>
              <a:gd name="connsiteX105-8149" fmla="*/ 10032706 w 10693106"/>
              <a:gd name="connsiteY105-8150" fmla="*/ 3306288 h 5321354"/>
              <a:gd name="connsiteX106-8151" fmla="*/ 9948040 w 10693106"/>
              <a:gd name="connsiteY106-8152" fmla="*/ 3365554 h 5321354"/>
              <a:gd name="connsiteX107-8153" fmla="*/ 9905706 w 10693106"/>
              <a:gd name="connsiteY107-8154" fmla="*/ 3390954 h 5321354"/>
              <a:gd name="connsiteX108-8155" fmla="*/ 9829506 w 10693106"/>
              <a:gd name="connsiteY108-8156" fmla="*/ 3407888 h 5321354"/>
              <a:gd name="connsiteX109-8157" fmla="*/ 9727906 w 10693106"/>
              <a:gd name="connsiteY109-8158" fmla="*/ 3450221 h 5321354"/>
              <a:gd name="connsiteX110-8159" fmla="*/ 9634773 w 10693106"/>
              <a:gd name="connsiteY110-8160" fmla="*/ 3475621 h 5321354"/>
              <a:gd name="connsiteX111-8161" fmla="*/ 9456973 w 10693106"/>
              <a:gd name="connsiteY111-8162" fmla="*/ 3568754 h 5321354"/>
              <a:gd name="connsiteX112-8163" fmla="*/ 9313040 w 10693106"/>
              <a:gd name="connsiteY112-8164" fmla="*/ 3695754 h 5321354"/>
              <a:gd name="connsiteX113-8165" fmla="*/ 9279173 w 10693106"/>
              <a:gd name="connsiteY113-8166" fmla="*/ 3712688 h 5321354"/>
              <a:gd name="connsiteX114-8167" fmla="*/ 9067506 w 10693106"/>
              <a:gd name="connsiteY114-8168" fmla="*/ 3890488 h 5321354"/>
              <a:gd name="connsiteX115-8169" fmla="*/ 8999773 w 10693106"/>
              <a:gd name="connsiteY115-8170" fmla="*/ 3958221 h 5321354"/>
              <a:gd name="connsiteX116-8171" fmla="*/ 8813506 w 10693106"/>
              <a:gd name="connsiteY116-8172" fmla="*/ 4093688 h 5321354"/>
              <a:gd name="connsiteX117-8173" fmla="*/ 8728840 w 10693106"/>
              <a:gd name="connsiteY117-8174" fmla="*/ 4136021 h 5321354"/>
              <a:gd name="connsiteX118-8175" fmla="*/ 8373240 w 10693106"/>
              <a:gd name="connsiteY118-8176" fmla="*/ 4169888 h 5321354"/>
              <a:gd name="connsiteX119-8177" fmla="*/ 7966840 w 10693106"/>
              <a:gd name="connsiteY119-8178" fmla="*/ 4263021 h 5321354"/>
              <a:gd name="connsiteX120-8179" fmla="*/ 7687440 w 10693106"/>
              <a:gd name="connsiteY120-8180" fmla="*/ 4423888 h 5321354"/>
              <a:gd name="connsiteX121-8181" fmla="*/ 7551973 w 10693106"/>
              <a:gd name="connsiteY121-8182" fmla="*/ 4508554 h 5321354"/>
              <a:gd name="connsiteX122-8183" fmla="*/ 7374173 w 10693106"/>
              <a:gd name="connsiteY122-8184" fmla="*/ 4686354 h 5321354"/>
              <a:gd name="connsiteX123-8185" fmla="*/ 7374173 w 10693106"/>
              <a:gd name="connsiteY123-8186" fmla="*/ 4686354 h 5321354"/>
              <a:gd name="connsiteX124-8187" fmla="*/ 7221773 w 10693106"/>
              <a:gd name="connsiteY124-8188" fmla="*/ 4804888 h 5321354"/>
              <a:gd name="connsiteX125-8189" fmla="*/ 7027040 w 10693106"/>
              <a:gd name="connsiteY125-8190" fmla="*/ 4931888 h 5321354"/>
              <a:gd name="connsiteX126-8191" fmla="*/ 6883106 w 10693106"/>
              <a:gd name="connsiteY126-8192" fmla="*/ 4999621 h 5321354"/>
              <a:gd name="connsiteX127-8193" fmla="*/ 6815373 w 10693106"/>
              <a:gd name="connsiteY127-8194" fmla="*/ 5041954 h 5321354"/>
              <a:gd name="connsiteX128-8195" fmla="*/ 6646040 w 10693106"/>
              <a:gd name="connsiteY128-8196" fmla="*/ 5135088 h 5321354"/>
              <a:gd name="connsiteX129-8197" fmla="*/ 6527506 w 10693106"/>
              <a:gd name="connsiteY129-8198" fmla="*/ 5194354 h 5321354"/>
              <a:gd name="connsiteX130-8199" fmla="*/ 6298906 w 10693106"/>
              <a:gd name="connsiteY130-8200" fmla="*/ 5270554 h 5321354"/>
              <a:gd name="connsiteX131-8201" fmla="*/ 6197306 w 10693106"/>
              <a:gd name="connsiteY131-8202" fmla="*/ 5295954 h 5321354"/>
              <a:gd name="connsiteX132-8203" fmla="*/ 6061840 w 10693106"/>
              <a:gd name="connsiteY132-8204" fmla="*/ 5304421 h 5321354"/>
              <a:gd name="connsiteX133-8205" fmla="*/ 5917906 w 10693106"/>
              <a:gd name="connsiteY133-8206" fmla="*/ 5321354 h 5321354"/>
              <a:gd name="connsiteX134-8207" fmla="*/ 5748573 w 10693106"/>
              <a:gd name="connsiteY134-8208" fmla="*/ 5312888 h 5321354"/>
              <a:gd name="connsiteX135-8209" fmla="*/ 5282906 w 10693106"/>
              <a:gd name="connsiteY135-8210" fmla="*/ 5202821 h 5321354"/>
              <a:gd name="connsiteX136-8211" fmla="*/ 5138973 w 10693106"/>
              <a:gd name="connsiteY136-8212" fmla="*/ 5101221 h 5321354"/>
              <a:gd name="connsiteX137-8213" fmla="*/ 5020440 w 10693106"/>
              <a:gd name="connsiteY137-8214" fmla="*/ 4948821 h 5321354"/>
              <a:gd name="connsiteX138-8215" fmla="*/ 4952706 w 10693106"/>
              <a:gd name="connsiteY138-8216" fmla="*/ 4872621 h 5321354"/>
              <a:gd name="connsiteX139-8217" fmla="*/ 4884973 w 10693106"/>
              <a:gd name="connsiteY139-8218" fmla="*/ 4804888 h 5321354"/>
              <a:gd name="connsiteX140-8219" fmla="*/ 4732573 w 10693106"/>
              <a:gd name="connsiteY140-8220" fmla="*/ 4627088 h 5321354"/>
              <a:gd name="connsiteX141-8221" fmla="*/ 4673306 w 10693106"/>
              <a:gd name="connsiteY141-8222" fmla="*/ 4559354 h 5321354"/>
              <a:gd name="connsiteX142-8223" fmla="*/ 4487040 w 10693106"/>
              <a:gd name="connsiteY142-8224" fmla="*/ 4432354 h 5321354"/>
              <a:gd name="connsiteX143-8225" fmla="*/ 4187743 w 10693106"/>
              <a:gd name="connsiteY143-8226" fmla="*/ 4550888 h 5321354"/>
              <a:gd name="connsiteX144-8227" fmla="*/ 4038306 w 10693106"/>
              <a:gd name="connsiteY144-8228" fmla="*/ 4395101 h 5321354"/>
              <a:gd name="connsiteX145-8229" fmla="*/ 4224573 w 10693106"/>
              <a:gd name="connsiteY145-8230" fmla="*/ 4288421 h 5321354"/>
              <a:gd name="connsiteX146-8231" fmla="*/ 3993010 w 10693106"/>
              <a:gd name="connsiteY146-8232" fmla="*/ 4194864 h 5321354"/>
              <a:gd name="connsiteX147-8233" fmla="*/ 4021373 w 10693106"/>
              <a:gd name="connsiteY147-8234" fmla="*/ 4085221 h 5321354"/>
              <a:gd name="connsiteX148-8235" fmla="*/ 3919773 w 10693106"/>
              <a:gd name="connsiteY148-8236" fmla="*/ 3949754 h 5321354"/>
              <a:gd name="connsiteX149-8237" fmla="*/ 3877440 w 10693106"/>
              <a:gd name="connsiteY149-8238" fmla="*/ 3653421 h 5321354"/>
              <a:gd name="connsiteX150-8239" fmla="*/ 3852040 w 10693106"/>
              <a:gd name="connsiteY150-8240" fmla="*/ 3560288 h 5321354"/>
              <a:gd name="connsiteX151-8241" fmla="*/ 3801240 w 10693106"/>
              <a:gd name="connsiteY151-8242" fmla="*/ 3450221 h 5321354"/>
              <a:gd name="connsiteX152-8243" fmla="*/ 3733506 w 10693106"/>
              <a:gd name="connsiteY152-8244" fmla="*/ 3348621 h 5321354"/>
              <a:gd name="connsiteX153-8245" fmla="*/ 3242440 w 10693106"/>
              <a:gd name="connsiteY153-8246" fmla="*/ 3128488 h 5321354"/>
              <a:gd name="connsiteX154-8247" fmla="*/ 3123906 w 10693106"/>
              <a:gd name="connsiteY154-8248" fmla="*/ 3026888 h 5321354"/>
              <a:gd name="connsiteX155-8249" fmla="*/ 2988440 w 10693106"/>
              <a:gd name="connsiteY155-8250" fmla="*/ 2832154 h 5321354"/>
              <a:gd name="connsiteX156-8251" fmla="*/ 2971506 w 10693106"/>
              <a:gd name="connsiteY156-8252" fmla="*/ 2772888 h 5321354"/>
              <a:gd name="connsiteX157-8253" fmla="*/ 2996906 w 10693106"/>
              <a:gd name="connsiteY157-8254" fmla="*/ 2561221 h 5321354"/>
              <a:gd name="connsiteX158-8255" fmla="*/ 3013840 w 10693106"/>
              <a:gd name="connsiteY158-8256" fmla="*/ 2459621 h 5321354"/>
              <a:gd name="connsiteX159-8257" fmla="*/ 3005373 w 10693106"/>
              <a:gd name="connsiteY159-8258" fmla="*/ 2341088 h 5321354"/>
              <a:gd name="connsiteX160-8259" fmla="*/ 2988440 w 10693106"/>
              <a:gd name="connsiteY160-8260" fmla="*/ 2290288 h 5321354"/>
              <a:gd name="connsiteX161-8261" fmla="*/ 2802173 w 10693106"/>
              <a:gd name="connsiteY161-8262" fmla="*/ 2036288 h 5321354"/>
              <a:gd name="connsiteX162-8263" fmla="*/ 2641306 w 10693106"/>
              <a:gd name="connsiteY162-8264" fmla="*/ 1892354 h 5321354"/>
              <a:gd name="connsiteX163-8265" fmla="*/ 2590506 w 10693106"/>
              <a:gd name="connsiteY163-8266" fmla="*/ 1866954 h 5321354"/>
              <a:gd name="connsiteX164-8267" fmla="*/ 2531240 w 10693106"/>
              <a:gd name="connsiteY164-8268" fmla="*/ 1858488 h 5321354"/>
              <a:gd name="connsiteX165-8269" fmla="*/ 2446573 w 10693106"/>
              <a:gd name="connsiteY165-8270" fmla="*/ 1841554 h 5321354"/>
              <a:gd name="connsiteX166-8271" fmla="*/ 2251840 w 10693106"/>
              <a:gd name="connsiteY166-8272" fmla="*/ 1866954 h 5321354"/>
              <a:gd name="connsiteX167-8273" fmla="*/ 2167173 w 10693106"/>
              <a:gd name="connsiteY167-8274" fmla="*/ 1909288 h 5321354"/>
              <a:gd name="connsiteX168-8275" fmla="*/ 1980906 w 10693106"/>
              <a:gd name="connsiteY168-8276" fmla="*/ 1968554 h 5321354"/>
              <a:gd name="connsiteX169-8277" fmla="*/ 1904706 w 10693106"/>
              <a:gd name="connsiteY169-8278" fmla="*/ 2002421 h 5321354"/>
              <a:gd name="connsiteX170-8279" fmla="*/ 1828506 w 10693106"/>
              <a:gd name="connsiteY170-8280" fmla="*/ 2019354 h 5321354"/>
              <a:gd name="connsiteX171-8281" fmla="*/ 1726906 w 10693106"/>
              <a:gd name="connsiteY171-8282" fmla="*/ 2070154 h 5321354"/>
              <a:gd name="connsiteX172-8283" fmla="*/ 1659173 w 10693106"/>
              <a:gd name="connsiteY172-8284" fmla="*/ 2104021 h 5321354"/>
              <a:gd name="connsiteX173-8285" fmla="*/ 1498306 w 10693106"/>
              <a:gd name="connsiteY173-8286" fmla="*/ 2129421 h 5321354"/>
              <a:gd name="connsiteX174-8287" fmla="*/ 914106 w 10693106"/>
              <a:gd name="connsiteY174-8288" fmla="*/ 2061688 h 5321354"/>
              <a:gd name="connsiteX175-8289" fmla="*/ 617773 w 10693106"/>
              <a:gd name="connsiteY175-8290" fmla="*/ 1951621 h 5321354"/>
              <a:gd name="connsiteX176-8291" fmla="*/ 516173 w 10693106"/>
              <a:gd name="connsiteY176-8292" fmla="*/ 1866954 h 5321354"/>
              <a:gd name="connsiteX177-8293" fmla="*/ 355306 w 10693106"/>
              <a:gd name="connsiteY177-8294" fmla="*/ 1655288 h 5321354"/>
              <a:gd name="connsiteX178-8295" fmla="*/ 296040 w 10693106"/>
              <a:gd name="connsiteY178-8296" fmla="*/ 1553688 h 5321354"/>
              <a:gd name="connsiteX179-8297" fmla="*/ 253706 w 10693106"/>
              <a:gd name="connsiteY179-8298" fmla="*/ 1375888 h 5321354"/>
              <a:gd name="connsiteX180-8299" fmla="*/ 245240 w 10693106"/>
              <a:gd name="connsiteY180-8300" fmla="*/ 1248888 h 5321354"/>
              <a:gd name="connsiteX181-8301" fmla="*/ 236773 w 10693106"/>
              <a:gd name="connsiteY181-8302" fmla="*/ 1147288 h 5321354"/>
              <a:gd name="connsiteX182-8303" fmla="*/ 245240 w 10693106"/>
              <a:gd name="connsiteY182-8304" fmla="*/ 876354 h 5321354"/>
              <a:gd name="connsiteX183-8305" fmla="*/ 236773 w 10693106"/>
              <a:gd name="connsiteY183-8306" fmla="*/ 732421 h 5321354"/>
              <a:gd name="connsiteX184-8307" fmla="*/ 109773 w 10693106"/>
              <a:gd name="connsiteY184-8308" fmla="*/ 588488 h 5321354"/>
              <a:gd name="connsiteX185-8309" fmla="*/ 58973 w 10693106"/>
              <a:gd name="connsiteY185-8310" fmla="*/ 512288 h 5321354"/>
              <a:gd name="connsiteX186-8311" fmla="*/ 16640 w 10693106"/>
              <a:gd name="connsiteY186-8312" fmla="*/ 461488 h 5321354"/>
              <a:gd name="connsiteX187-8313" fmla="*/ 8173 w 10693106"/>
              <a:gd name="connsiteY187-8314" fmla="*/ 419154 h 5321354"/>
              <a:gd name="connsiteX188-8315" fmla="*/ 16640 w 10693106"/>
              <a:gd name="connsiteY188-8316" fmla="*/ 368354 h 5321354"/>
              <a:gd name="connsiteX0-8317" fmla="*/ 16640 w 10693106"/>
              <a:gd name="connsiteY0-8318" fmla="*/ 368354 h 5321354"/>
              <a:gd name="connsiteX1-8319" fmla="*/ 58973 w 10693106"/>
              <a:gd name="connsiteY1-8320" fmla="*/ 275221 h 5321354"/>
              <a:gd name="connsiteX2-8321" fmla="*/ 109773 w 10693106"/>
              <a:gd name="connsiteY2-8322" fmla="*/ 207488 h 5321354"/>
              <a:gd name="connsiteX3-8323" fmla="*/ 202906 w 10693106"/>
              <a:gd name="connsiteY3-8324" fmla="*/ 122821 h 5321354"/>
              <a:gd name="connsiteX4-8325" fmla="*/ 236773 w 10693106"/>
              <a:gd name="connsiteY4-8326" fmla="*/ 97421 h 5321354"/>
              <a:gd name="connsiteX5-8327" fmla="*/ 346840 w 10693106"/>
              <a:gd name="connsiteY5-8328" fmla="*/ 38154 h 5321354"/>
              <a:gd name="connsiteX6-8329" fmla="*/ 397640 w 10693106"/>
              <a:gd name="connsiteY6-8330" fmla="*/ 4288 h 5321354"/>
              <a:gd name="connsiteX7-8331" fmla="*/ 467297 w 10693106"/>
              <a:gd name="connsiteY7-8332" fmla="*/ 143218 h 5321354"/>
              <a:gd name="connsiteX8-8333" fmla="*/ 492697 w 10693106"/>
              <a:gd name="connsiteY8-8334" fmla="*/ 103579 h 5321354"/>
              <a:gd name="connsiteX9-8335" fmla="*/ 822897 w 10693106"/>
              <a:gd name="connsiteY9-8336" fmla="*/ 112045 h 5321354"/>
              <a:gd name="connsiteX10-8337" fmla="*/ 1091906 w 10693106"/>
              <a:gd name="connsiteY10-8338" fmla="*/ 29688 h 5321354"/>
              <a:gd name="connsiteX11-8339" fmla="*/ 1235840 w 10693106"/>
              <a:gd name="connsiteY11-8340" fmla="*/ 88954 h 5321354"/>
              <a:gd name="connsiteX12-8341" fmla="*/ 1337440 w 10693106"/>
              <a:gd name="connsiteY12-8342" fmla="*/ 165154 h 5321354"/>
              <a:gd name="connsiteX13-8343" fmla="*/ 1422106 w 10693106"/>
              <a:gd name="connsiteY13-8344" fmla="*/ 275221 h 5321354"/>
              <a:gd name="connsiteX14-8345" fmla="*/ 1481373 w 10693106"/>
              <a:gd name="connsiteY14-8346" fmla="*/ 342954 h 5321354"/>
              <a:gd name="connsiteX15-8347" fmla="*/ 1532173 w 10693106"/>
              <a:gd name="connsiteY15-8348" fmla="*/ 376821 h 5321354"/>
              <a:gd name="connsiteX16-8349" fmla="*/ 1684573 w 10693106"/>
              <a:gd name="connsiteY16-8350" fmla="*/ 436088 h 5321354"/>
              <a:gd name="connsiteX17-8351" fmla="*/ 1760773 w 10693106"/>
              <a:gd name="connsiteY17-8352" fmla="*/ 453021 h 5321354"/>
              <a:gd name="connsiteX18-8353" fmla="*/ 1997840 w 10693106"/>
              <a:gd name="connsiteY18-8354" fmla="*/ 444554 h 5321354"/>
              <a:gd name="connsiteX19-8355" fmla="*/ 2116373 w 10693106"/>
              <a:gd name="connsiteY19-8356" fmla="*/ 427621 h 5321354"/>
              <a:gd name="connsiteX20-8357" fmla="*/ 2260306 w 10693106"/>
              <a:gd name="connsiteY20-8358" fmla="*/ 410688 h 5321354"/>
              <a:gd name="connsiteX21-8359" fmla="*/ 2404240 w 10693106"/>
              <a:gd name="connsiteY21-8360" fmla="*/ 385288 h 5321354"/>
              <a:gd name="connsiteX22-8361" fmla="*/ 2455040 w 10693106"/>
              <a:gd name="connsiteY22-8362" fmla="*/ 359888 h 5321354"/>
              <a:gd name="connsiteX23-8363" fmla="*/ 2531240 w 10693106"/>
              <a:gd name="connsiteY23-8364" fmla="*/ 334488 h 5321354"/>
              <a:gd name="connsiteX24-8365" fmla="*/ 2683640 w 10693106"/>
              <a:gd name="connsiteY24-8366" fmla="*/ 207488 h 5321354"/>
              <a:gd name="connsiteX25-8367" fmla="*/ 2742906 w 10693106"/>
              <a:gd name="connsiteY25-8368" fmla="*/ 215954 h 5321354"/>
              <a:gd name="connsiteX26-8369" fmla="*/ 2764920 w 10693106"/>
              <a:gd name="connsiteY26-8370" fmla="*/ 202408 h 5321354"/>
              <a:gd name="connsiteX27-8371" fmla="*/ 2832653 w 10693106"/>
              <a:gd name="connsiteY27-8372" fmla="*/ 197328 h 5321354"/>
              <a:gd name="connsiteX28-8373" fmla="*/ 3002294 w 10693106"/>
              <a:gd name="connsiteY28-8374" fmla="*/ 184012 h 5321354"/>
              <a:gd name="connsiteX29-8375" fmla="*/ 3142763 w 10693106"/>
              <a:gd name="connsiteY29-8376" fmla="*/ 139753 h 5321354"/>
              <a:gd name="connsiteX30-8377" fmla="*/ 3398918 w 10693106"/>
              <a:gd name="connsiteY30-8378" fmla="*/ 101654 h 5321354"/>
              <a:gd name="connsiteX31-8379" fmla="*/ 3606506 w 10693106"/>
              <a:gd name="connsiteY31-8380" fmla="*/ 89725 h 5321354"/>
              <a:gd name="connsiteX32-8381" fmla="*/ 3682706 w 10693106"/>
              <a:gd name="connsiteY32-8382" fmla="*/ 109274 h 5321354"/>
              <a:gd name="connsiteX33-8383" fmla="*/ 3741973 w 10693106"/>
              <a:gd name="connsiteY33-8384" fmla="*/ 115893 h 5321354"/>
              <a:gd name="connsiteX34-8385" fmla="*/ 3792773 w 10693106"/>
              <a:gd name="connsiteY34-8386" fmla="*/ 151608 h 5321354"/>
              <a:gd name="connsiteX35-8387" fmla="*/ 3831720 w 10693106"/>
              <a:gd name="connsiteY35-8388" fmla="*/ 166848 h 5321354"/>
              <a:gd name="connsiteX36-8389" fmla="*/ 3896297 w 10693106"/>
              <a:gd name="connsiteY36-8390" fmla="*/ 186321 h 5321354"/>
              <a:gd name="connsiteX37-8391" fmla="*/ 3950253 w 10693106"/>
              <a:gd name="connsiteY37-8392" fmla="*/ 205794 h 5321354"/>
              <a:gd name="connsiteX38-8393" fmla="*/ 3995973 w 10693106"/>
              <a:gd name="connsiteY38-8394" fmla="*/ 139754 h 5321354"/>
              <a:gd name="connsiteX39-8395" fmla="*/ 4021373 w 10693106"/>
              <a:gd name="connsiteY39-8396" fmla="*/ 173621 h 5321354"/>
              <a:gd name="connsiteX40-8397" fmla="*/ 4055240 w 10693106"/>
              <a:gd name="connsiteY40-8398" fmla="*/ 182088 h 5321354"/>
              <a:gd name="connsiteX41-8399" fmla="*/ 4275373 w 10693106"/>
              <a:gd name="connsiteY41-8400" fmla="*/ 224421 h 5321354"/>
              <a:gd name="connsiteX42-8401" fmla="*/ 4402373 w 10693106"/>
              <a:gd name="connsiteY42-8402" fmla="*/ 258288 h 5321354"/>
              <a:gd name="connsiteX43-8403" fmla="*/ 4529373 w 10693106"/>
              <a:gd name="connsiteY43-8404" fmla="*/ 300621 h 5321354"/>
              <a:gd name="connsiteX44-8405" fmla="*/ 4859573 w 10693106"/>
              <a:gd name="connsiteY44-8406" fmla="*/ 376821 h 5321354"/>
              <a:gd name="connsiteX45-8407" fmla="*/ 5045840 w 10693106"/>
              <a:gd name="connsiteY45-8408" fmla="*/ 453021 h 5321354"/>
              <a:gd name="connsiteX46-8409" fmla="*/ 5325240 w 10693106"/>
              <a:gd name="connsiteY46-8410" fmla="*/ 613888 h 5321354"/>
              <a:gd name="connsiteX47-8411" fmla="*/ 5494573 w 10693106"/>
              <a:gd name="connsiteY47-8412" fmla="*/ 766288 h 5321354"/>
              <a:gd name="connsiteX48-8413" fmla="*/ 5562306 w 10693106"/>
              <a:gd name="connsiteY48-8414" fmla="*/ 842488 h 5321354"/>
              <a:gd name="connsiteX49-8415" fmla="*/ 5621573 w 10693106"/>
              <a:gd name="connsiteY49-8416" fmla="*/ 893288 h 5321354"/>
              <a:gd name="connsiteX50-8417" fmla="*/ 5672373 w 10693106"/>
              <a:gd name="connsiteY50-8418" fmla="*/ 961021 h 5321354"/>
              <a:gd name="connsiteX51-8419" fmla="*/ 5757040 w 10693106"/>
              <a:gd name="connsiteY51-8420" fmla="*/ 1062621 h 5321354"/>
              <a:gd name="connsiteX52-8421" fmla="*/ 5833240 w 10693106"/>
              <a:gd name="connsiteY52-8422" fmla="*/ 1155754 h 5321354"/>
              <a:gd name="connsiteX53-8423" fmla="*/ 6019506 w 10693106"/>
              <a:gd name="connsiteY53-8424" fmla="*/ 1358954 h 5321354"/>
              <a:gd name="connsiteX54-8425" fmla="*/ 6087240 w 10693106"/>
              <a:gd name="connsiteY54-8426" fmla="*/ 1409754 h 5321354"/>
              <a:gd name="connsiteX55-8427" fmla="*/ 6171906 w 10693106"/>
              <a:gd name="connsiteY55-8428" fmla="*/ 1511354 h 5321354"/>
              <a:gd name="connsiteX56-8429" fmla="*/ 6451306 w 10693106"/>
              <a:gd name="connsiteY56-8430" fmla="*/ 1723021 h 5321354"/>
              <a:gd name="connsiteX57-8431" fmla="*/ 6519040 w 10693106"/>
              <a:gd name="connsiteY57-8432" fmla="*/ 1731488 h 5321354"/>
              <a:gd name="connsiteX58-8433" fmla="*/ 6603706 w 10693106"/>
              <a:gd name="connsiteY58-8434" fmla="*/ 1765354 h 5321354"/>
              <a:gd name="connsiteX59-8435" fmla="*/ 6671440 w 10693106"/>
              <a:gd name="connsiteY59-8436" fmla="*/ 1799221 h 5321354"/>
              <a:gd name="connsiteX60-8437" fmla="*/ 6866173 w 10693106"/>
              <a:gd name="connsiteY60-8438" fmla="*/ 1824621 h 5321354"/>
              <a:gd name="connsiteX61-8439" fmla="*/ 7196373 w 10693106"/>
              <a:gd name="connsiteY61-8440" fmla="*/ 1807688 h 5321354"/>
              <a:gd name="connsiteX62-8441" fmla="*/ 7509640 w 10693106"/>
              <a:gd name="connsiteY62-8442" fmla="*/ 1731488 h 5321354"/>
              <a:gd name="connsiteX63-8443" fmla="*/ 7628173 w 10693106"/>
              <a:gd name="connsiteY63-8444" fmla="*/ 1706088 h 5321354"/>
              <a:gd name="connsiteX64-8445" fmla="*/ 7704373 w 10693106"/>
              <a:gd name="connsiteY64-8446" fmla="*/ 1663754 h 5321354"/>
              <a:gd name="connsiteX65-8447" fmla="*/ 7755173 w 10693106"/>
              <a:gd name="connsiteY65-8448" fmla="*/ 1655288 h 5321354"/>
              <a:gd name="connsiteX66-8449" fmla="*/ 7797506 w 10693106"/>
              <a:gd name="connsiteY66-8450" fmla="*/ 1621421 h 5321354"/>
              <a:gd name="connsiteX67-8451" fmla="*/ 7856773 w 10693106"/>
              <a:gd name="connsiteY67-8452" fmla="*/ 1604488 h 5321354"/>
              <a:gd name="connsiteX68-8453" fmla="*/ 7958373 w 10693106"/>
              <a:gd name="connsiteY68-8454" fmla="*/ 1536754 h 5321354"/>
              <a:gd name="connsiteX69-8455" fmla="*/ 8009173 w 10693106"/>
              <a:gd name="connsiteY69-8456" fmla="*/ 1485954 h 5321354"/>
              <a:gd name="connsiteX70-8457" fmla="*/ 8339373 w 10693106"/>
              <a:gd name="connsiteY70-8458" fmla="*/ 1240421 h 5321354"/>
              <a:gd name="connsiteX71-8459" fmla="*/ 8576440 w 10693106"/>
              <a:gd name="connsiteY71-8460" fmla="*/ 986421 h 5321354"/>
              <a:gd name="connsiteX72-8461" fmla="*/ 8652640 w 10693106"/>
              <a:gd name="connsiteY72-8462" fmla="*/ 707021 h 5321354"/>
              <a:gd name="connsiteX73-8463" fmla="*/ 8847373 w 10693106"/>
              <a:gd name="connsiteY73-8464" fmla="*/ 520754 h 5321354"/>
              <a:gd name="connsiteX74-8465" fmla="*/ 8982840 w 10693106"/>
              <a:gd name="connsiteY74-8466" fmla="*/ 427621 h 5321354"/>
              <a:gd name="connsiteX75-8467" fmla="*/ 9084440 w 10693106"/>
              <a:gd name="connsiteY75-8468" fmla="*/ 393754 h 5321354"/>
              <a:gd name="connsiteX76-8469" fmla="*/ 9152173 w 10693106"/>
              <a:gd name="connsiteY76-8470" fmla="*/ 368354 h 5321354"/>
              <a:gd name="connsiteX77-8471" fmla="*/ 9380773 w 10693106"/>
              <a:gd name="connsiteY77-8472" fmla="*/ 385288 h 5321354"/>
              <a:gd name="connsiteX78-8473" fmla="*/ 9744840 w 10693106"/>
              <a:gd name="connsiteY78-8474" fmla="*/ 495354 h 5321354"/>
              <a:gd name="connsiteX79-8475" fmla="*/ 9888773 w 10693106"/>
              <a:gd name="connsiteY79-8476" fmla="*/ 537688 h 5321354"/>
              <a:gd name="connsiteX80-8477" fmla="*/ 9998840 w 10693106"/>
              <a:gd name="connsiteY80-8478" fmla="*/ 588488 h 5321354"/>
              <a:gd name="connsiteX81-8479" fmla="*/ 10083506 w 10693106"/>
              <a:gd name="connsiteY81-8480" fmla="*/ 647754 h 5321354"/>
              <a:gd name="connsiteX82-8481" fmla="*/ 10286706 w 10693106"/>
              <a:gd name="connsiteY82-8482" fmla="*/ 715488 h 5321354"/>
              <a:gd name="connsiteX83-8483" fmla="*/ 10388306 w 10693106"/>
              <a:gd name="connsiteY83-8484" fmla="*/ 918688 h 5321354"/>
              <a:gd name="connsiteX84-8485" fmla="*/ 10540706 w 10693106"/>
              <a:gd name="connsiteY84-8486" fmla="*/ 1291221 h 5321354"/>
              <a:gd name="connsiteX85-8487" fmla="*/ 10557640 w 10693106"/>
              <a:gd name="connsiteY85-8488" fmla="*/ 1375888 h 5321354"/>
              <a:gd name="connsiteX86-8489" fmla="*/ 10583040 w 10693106"/>
              <a:gd name="connsiteY86-8490" fmla="*/ 1477488 h 5321354"/>
              <a:gd name="connsiteX87-8491" fmla="*/ 10616906 w 10693106"/>
              <a:gd name="connsiteY87-8492" fmla="*/ 1680688 h 5321354"/>
              <a:gd name="connsiteX88-8493" fmla="*/ 10633840 w 10693106"/>
              <a:gd name="connsiteY88-8494" fmla="*/ 1765354 h 5321354"/>
              <a:gd name="connsiteX89-8495" fmla="*/ 10650773 w 10693106"/>
              <a:gd name="connsiteY89-8496" fmla="*/ 1799221 h 5321354"/>
              <a:gd name="connsiteX90-8497" fmla="*/ 10676173 w 10693106"/>
              <a:gd name="connsiteY90-8498" fmla="*/ 1883888 h 5321354"/>
              <a:gd name="connsiteX91-8499" fmla="*/ 10693106 w 10693106"/>
              <a:gd name="connsiteY91-8500" fmla="*/ 2036288 h 5321354"/>
              <a:gd name="connsiteX92-8501" fmla="*/ 10625373 w 10693106"/>
              <a:gd name="connsiteY92-8502" fmla="*/ 2256421 h 5321354"/>
              <a:gd name="connsiteX93-8503" fmla="*/ 10608440 w 10693106"/>
              <a:gd name="connsiteY93-8504" fmla="*/ 2281821 h 5321354"/>
              <a:gd name="connsiteX94-8505" fmla="*/ 10540706 w 10693106"/>
              <a:gd name="connsiteY94-8506" fmla="*/ 2425754 h 5321354"/>
              <a:gd name="connsiteX95-8507" fmla="*/ 10498373 w 10693106"/>
              <a:gd name="connsiteY95-8508" fmla="*/ 2510421 h 5321354"/>
              <a:gd name="connsiteX96-8509" fmla="*/ 10439106 w 10693106"/>
              <a:gd name="connsiteY96-8510" fmla="*/ 2696688 h 5321354"/>
              <a:gd name="connsiteX97-8511" fmla="*/ 10430640 w 10693106"/>
              <a:gd name="connsiteY97-8512" fmla="*/ 2739021 h 5321354"/>
              <a:gd name="connsiteX98-8513" fmla="*/ 10405240 w 10693106"/>
              <a:gd name="connsiteY98-8514" fmla="*/ 2815221 h 5321354"/>
              <a:gd name="connsiteX99-8515" fmla="*/ 10396773 w 10693106"/>
              <a:gd name="connsiteY99-8516" fmla="*/ 2849088 h 5321354"/>
              <a:gd name="connsiteX100-8517" fmla="*/ 10362906 w 10693106"/>
              <a:gd name="connsiteY100-8518" fmla="*/ 2942221 h 5321354"/>
              <a:gd name="connsiteX101-8519" fmla="*/ 10329040 w 10693106"/>
              <a:gd name="connsiteY101-8520" fmla="*/ 2984554 h 5321354"/>
              <a:gd name="connsiteX102-8521" fmla="*/ 10227440 w 10693106"/>
              <a:gd name="connsiteY102-8522" fmla="*/ 3086154 h 5321354"/>
              <a:gd name="connsiteX103-8523" fmla="*/ 10168173 w 10693106"/>
              <a:gd name="connsiteY103-8524" fmla="*/ 3153888 h 5321354"/>
              <a:gd name="connsiteX104-8525" fmla="*/ 10117373 w 10693106"/>
              <a:gd name="connsiteY104-8526" fmla="*/ 3204688 h 5321354"/>
              <a:gd name="connsiteX105-8527" fmla="*/ 10032706 w 10693106"/>
              <a:gd name="connsiteY105-8528" fmla="*/ 3306288 h 5321354"/>
              <a:gd name="connsiteX106-8529" fmla="*/ 9948040 w 10693106"/>
              <a:gd name="connsiteY106-8530" fmla="*/ 3365554 h 5321354"/>
              <a:gd name="connsiteX107-8531" fmla="*/ 9905706 w 10693106"/>
              <a:gd name="connsiteY107-8532" fmla="*/ 3390954 h 5321354"/>
              <a:gd name="connsiteX108-8533" fmla="*/ 9829506 w 10693106"/>
              <a:gd name="connsiteY108-8534" fmla="*/ 3407888 h 5321354"/>
              <a:gd name="connsiteX109-8535" fmla="*/ 9727906 w 10693106"/>
              <a:gd name="connsiteY109-8536" fmla="*/ 3450221 h 5321354"/>
              <a:gd name="connsiteX110-8537" fmla="*/ 9634773 w 10693106"/>
              <a:gd name="connsiteY110-8538" fmla="*/ 3475621 h 5321354"/>
              <a:gd name="connsiteX111-8539" fmla="*/ 9456973 w 10693106"/>
              <a:gd name="connsiteY111-8540" fmla="*/ 3568754 h 5321354"/>
              <a:gd name="connsiteX112-8541" fmla="*/ 9313040 w 10693106"/>
              <a:gd name="connsiteY112-8542" fmla="*/ 3695754 h 5321354"/>
              <a:gd name="connsiteX113-8543" fmla="*/ 9279173 w 10693106"/>
              <a:gd name="connsiteY113-8544" fmla="*/ 3712688 h 5321354"/>
              <a:gd name="connsiteX114-8545" fmla="*/ 9067506 w 10693106"/>
              <a:gd name="connsiteY114-8546" fmla="*/ 3890488 h 5321354"/>
              <a:gd name="connsiteX115-8547" fmla="*/ 8999773 w 10693106"/>
              <a:gd name="connsiteY115-8548" fmla="*/ 3958221 h 5321354"/>
              <a:gd name="connsiteX116-8549" fmla="*/ 8813506 w 10693106"/>
              <a:gd name="connsiteY116-8550" fmla="*/ 4093688 h 5321354"/>
              <a:gd name="connsiteX117-8551" fmla="*/ 8728840 w 10693106"/>
              <a:gd name="connsiteY117-8552" fmla="*/ 4136021 h 5321354"/>
              <a:gd name="connsiteX118-8553" fmla="*/ 8373240 w 10693106"/>
              <a:gd name="connsiteY118-8554" fmla="*/ 4169888 h 5321354"/>
              <a:gd name="connsiteX119-8555" fmla="*/ 7966840 w 10693106"/>
              <a:gd name="connsiteY119-8556" fmla="*/ 4263021 h 5321354"/>
              <a:gd name="connsiteX120-8557" fmla="*/ 7687440 w 10693106"/>
              <a:gd name="connsiteY120-8558" fmla="*/ 4423888 h 5321354"/>
              <a:gd name="connsiteX121-8559" fmla="*/ 7551973 w 10693106"/>
              <a:gd name="connsiteY121-8560" fmla="*/ 4508554 h 5321354"/>
              <a:gd name="connsiteX122-8561" fmla="*/ 7374173 w 10693106"/>
              <a:gd name="connsiteY122-8562" fmla="*/ 4686354 h 5321354"/>
              <a:gd name="connsiteX123-8563" fmla="*/ 7374173 w 10693106"/>
              <a:gd name="connsiteY123-8564" fmla="*/ 4686354 h 5321354"/>
              <a:gd name="connsiteX124-8565" fmla="*/ 7221773 w 10693106"/>
              <a:gd name="connsiteY124-8566" fmla="*/ 4804888 h 5321354"/>
              <a:gd name="connsiteX125-8567" fmla="*/ 7027040 w 10693106"/>
              <a:gd name="connsiteY125-8568" fmla="*/ 4931888 h 5321354"/>
              <a:gd name="connsiteX126-8569" fmla="*/ 6883106 w 10693106"/>
              <a:gd name="connsiteY126-8570" fmla="*/ 4999621 h 5321354"/>
              <a:gd name="connsiteX127-8571" fmla="*/ 6815373 w 10693106"/>
              <a:gd name="connsiteY127-8572" fmla="*/ 5041954 h 5321354"/>
              <a:gd name="connsiteX128-8573" fmla="*/ 6646040 w 10693106"/>
              <a:gd name="connsiteY128-8574" fmla="*/ 5135088 h 5321354"/>
              <a:gd name="connsiteX129-8575" fmla="*/ 6527506 w 10693106"/>
              <a:gd name="connsiteY129-8576" fmla="*/ 5194354 h 5321354"/>
              <a:gd name="connsiteX130-8577" fmla="*/ 6298906 w 10693106"/>
              <a:gd name="connsiteY130-8578" fmla="*/ 5270554 h 5321354"/>
              <a:gd name="connsiteX131-8579" fmla="*/ 6197306 w 10693106"/>
              <a:gd name="connsiteY131-8580" fmla="*/ 5295954 h 5321354"/>
              <a:gd name="connsiteX132-8581" fmla="*/ 6061840 w 10693106"/>
              <a:gd name="connsiteY132-8582" fmla="*/ 5304421 h 5321354"/>
              <a:gd name="connsiteX133-8583" fmla="*/ 5917906 w 10693106"/>
              <a:gd name="connsiteY133-8584" fmla="*/ 5321354 h 5321354"/>
              <a:gd name="connsiteX134-8585" fmla="*/ 5748573 w 10693106"/>
              <a:gd name="connsiteY134-8586" fmla="*/ 5312888 h 5321354"/>
              <a:gd name="connsiteX135-8587" fmla="*/ 5282906 w 10693106"/>
              <a:gd name="connsiteY135-8588" fmla="*/ 5202821 h 5321354"/>
              <a:gd name="connsiteX136-8589" fmla="*/ 5138973 w 10693106"/>
              <a:gd name="connsiteY136-8590" fmla="*/ 5101221 h 5321354"/>
              <a:gd name="connsiteX137-8591" fmla="*/ 5020440 w 10693106"/>
              <a:gd name="connsiteY137-8592" fmla="*/ 4948821 h 5321354"/>
              <a:gd name="connsiteX138-8593" fmla="*/ 4952706 w 10693106"/>
              <a:gd name="connsiteY138-8594" fmla="*/ 4872621 h 5321354"/>
              <a:gd name="connsiteX139-8595" fmla="*/ 4884973 w 10693106"/>
              <a:gd name="connsiteY139-8596" fmla="*/ 4804888 h 5321354"/>
              <a:gd name="connsiteX140-8597" fmla="*/ 4732573 w 10693106"/>
              <a:gd name="connsiteY140-8598" fmla="*/ 4627088 h 5321354"/>
              <a:gd name="connsiteX141-8599" fmla="*/ 4673306 w 10693106"/>
              <a:gd name="connsiteY141-8600" fmla="*/ 4559354 h 5321354"/>
              <a:gd name="connsiteX142-8601" fmla="*/ 4487040 w 10693106"/>
              <a:gd name="connsiteY142-8602" fmla="*/ 4432354 h 5321354"/>
              <a:gd name="connsiteX143-8603" fmla="*/ 4187743 w 10693106"/>
              <a:gd name="connsiteY143-8604" fmla="*/ 4550888 h 5321354"/>
              <a:gd name="connsiteX144-8605" fmla="*/ 4038306 w 10693106"/>
              <a:gd name="connsiteY144-8606" fmla="*/ 4395101 h 5321354"/>
              <a:gd name="connsiteX145-8607" fmla="*/ 3965493 w 10693106"/>
              <a:gd name="connsiteY145-8608" fmla="*/ 4280801 h 5321354"/>
              <a:gd name="connsiteX146-8609" fmla="*/ 3993010 w 10693106"/>
              <a:gd name="connsiteY146-8610" fmla="*/ 4194864 h 5321354"/>
              <a:gd name="connsiteX147-8611" fmla="*/ 4021373 w 10693106"/>
              <a:gd name="connsiteY147-8612" fmla="*/ 4085221 h 5321354"/>
              <a:gd name="connsiteX148-8613" fmla="*/ 3919773 w 10693106"/>
              <a:gd name="connsiteY148-8614" fmla="*/ 3949754 h 5321354"/>
              <a:gd name="connsiteX149-8615" fmla="*/ 3877440 w 10693106"/>
              <a:gd name="connsiteY149-8616" fmla="*/ 3653421 h 5321354"/>
              <a:gd name="connsiteX150-8617" fmla="*/ 3852040 w 10693106"/>
              <a:gd name="connsiteY150-8618" fmla="*/ 3560288 h 5321354"/>
              <a:gd name="connsiteX151-8619" fmla="*/ 3801240 w 10693106"/>
              <a:gd name="connsiteY151-8620" fmla="*/ 3450221 h 5321354"/>
              <a:gd name="connsiteX152-8621" fmla="*/ 3733506 w 10693106"/>
              <a:gd name="connsiteY152-8622" fmla="*/ 3348621 h 5321354"/>
              <a:gd name="connsiteX153-8623" fmla="*/ 3242440 w 10693106"/>
              <a:gd name="connsiteY153-8624" fmla="*/ 3128488 h 5321354"/>
              <a:gd name="connsiteX154-8625" fmla="*/ 3123906 w 10693106"/>
              <a:gd name="connsiteY154-8626" fmla="*/ 3026888 h 5321354"/>
              <a:gd name="connsiteX155-8627" fmla="*/ 2988440 w 10693106"/>
              <a:gd name="connsiteY155-8628" fmla="*/ 2832154 h 5321354"/>
              <a:gd name="connsiteX156-8629" fmla="*/ 2971506 w 10693106"/>
              <a:gd name="connsiteY156-8630" fmla="*/ 2772888 h 5321354"/>
              <a:gd name="connsiteX157-8631" fmla="*/ 2996906 w 10693106"/>
              <a:gd name="connsiteY157-8632" fmla="*/ 2561221 h 5321354"/>
              <a:gd name="connsiteX158-8633" fmla="*/ 3013840 w 10693106"/>
              <a:gd name="connsiteY158-8634" fmla="*/ 2459621 h 5321354"/>
              <a:gd name="connsiteX159-8635" fmla="*/ 3005373 w 10693106"/>
              <a:gd name="connsiteY159-8636" fmla="*/ 2341088 h 5321354"/>
              <a:gd name="connsiteX160-8637" fmla="*/ 2988440 w 10693106"/>
              <a:gd name="connsiteY160-8638" fmla="*/ 2290288 h 5321354"/>
              <a:gd name="connsiteX161-8639" fmla="*/ 2802173 w 10693106"/>
              <a:gd name="connsiteY161-8640" fmla="*/ 2036288 h 5321354"/>
              <a:gd name="connsiteX162-8641" fmla="*/ 2641306 w 10693106"/>
              <a:gd name="connsiteY162-8642" fmla="*/ 1892354 h 5321354"/>
              <a:gd name="connsiteX163-8643" fmla="*/ 2590506 w 10693106"/>
              <a:gd name="connsiteY163-8644" fmla="*/ 1866954 h 5321354"/>
              <a:gd name="connsiteX164-8645" fmla="*/ 2531240 w 10693106"/>
              <a:gd name="connsiteY164-8646" fmla="*/ 1858488 h 5321354"/>
              <a:gd name="connsiteX165-8647" fmla="*/ 2446573 w 10693106"/>
              <a:gd name="connsiteY165-8648" fmla="*/ 1841554 h 5321354"/>
              <a:gd name="connsiteX166-8649" fmla="*/ 2251840 w 10693106"/>
              <a:gd name="connsiteY166-8650" fmla="*/ 1866954 h 5321354"/>
              <a:gd name="connsiteX167-8651" fmla="*/ 2167173 w 10693106"/>
              <a:gd name="connsiteY167-8652" fmla="*/ 1909288 h 5321354"/>
              <a:gd name="connsiteX168-8653" fmla="*/ 1980906 w 10693106"/>
              <a:gd name="connsiteY168-8654" fmla="*/ 1968554 h 5321354"/>
              <a:gd name="connsiteX169-8655" fmla="*/ 1904706 w 10693106"/>
              <a:gd name="connsiteY169-8656" fmla="*/ 2002421 h 5321354"/>
              <a:gd name="connsiteX170-8657" fmla="*/ 1828506 w 10693106"/>
              <a:gd name="connsiteY170-8658" fmla="*/ 2019354 h 5321354"/>
              <a:gd name="connsiteX171-8659" fmla="*/ 1726906 w 10693106"/>
              <a:gd name="connsiteY171-8660" fmla="*/ 2070154 h 5321354"/>
              <a:gd name="connsiteX172-8661" fmla="*/ 1659173 w 10693106"/>
              <a:gd name="connsiteY172-8662" fmla="*/ 2104021 h 5321354"/>
              <a:gd name="connsiteX173-8663" fmla="*/ 1498306 w 10693106"/>
              <a:gd name="connsiteY173-8664" fmla="*/ 2129421 h 5321354"/>
              <a:gd name="connsiteX174-8665" fmla="*/ 914106 w 10693106"/>
              <a:gd name="connsiteY174-8666" fmla="*/ 2061688 h 5321354"/>
              <a:gd name="connsiteX175-8667" fmla="*/ 617773 w 10693106"/>
              <a:gd name="connsiteY175-8668" fmla="*/ 1951621 h 5321354"/>
              <a:gd name="connsiteX176-8669" fmla="*/ 516173 w 10693106"/>
              <a:gd name="connsiteY176-8670" fmla="*/ 1866954 h 5321354"/>
              <a:gd name="connsiteX177-8671" fmla="*/ 355306 w 10693106"/>
              <a:gd name="connsiteY177-8672" fmla="*/ 1655288 h 5321354"/>
              <a:gd name="connsiteX178-8673" fmla="*/ 296040 w 10693106"/>
              <a:gd name="connsiteY178-8674" fmla="*/ 1553688 h 5321354"/>
              <a:gd name="connsiteX179-8675" fmla="*/ 253706 w 10693106"/>
              <a:gd name="connsiteY179-8676" fmla="*/ 1375888 h 5321354"/>
              <a:gd name="connsiteX180-8677" fmla="*/ 245240 w 10693106"/>
              <a:gd name="connsiteY180-8678" fmla="*/ 1248888 h 5321354"/>
              <a:gd name="connsiteX181-8679" fmla="*/ 236773 w 10693106"/>
              <a:gd name="connsiteY181-8680" fmla="*/ 1147288 h 5321354"/>
              <a:gd name="connsiteX182-8681" fmla="*/ 245240 w 10693106"/>
              <a:gd name="connsiteY182-8682" fmla="*/ 876354 h 5321354"/>
              <a:gd name="connsiteX183-8683" fmla="*/ 236773 w 10693106"/>
              <a:gd name="connsiteY183-8684" fmla="*/ 732421 h 5321354"/>
              <a:gd name="connsiteX184-8685" fmla="*/ 109773 w 10693106"/>
              <a:gd name="connsiteY184-8686" fmla="*/ 588488 h 5321354"/>
              <a:gd name="connsiteX185-8687" fmla="*/ 58973 w 10693106"/>
              <a:gd name="connsiteY185-8688" fmla="*/ 512288 h 5321354"/>
              <a:gd name="connsiteX186-8689" fmla="*/ 16640 w 10693106"/>
              <a:gd name="connsiteY186-8690" fmla="*/ 461488 h 5321354"/>
              <a:gd name="connsiteX187-8691" fmla="*/ 8173 w 10693106"/>
              <a:gd name="connsiteY187-8692" fmla="*/ 419154 h 5321354"/>
              <a:gd name="connsiteX188-8693" fmla="*/ 16640 w 10693106"/>
              <a:gd name="connsiteY188-8694" fmla="*/ 368354 h 5321354"/>
              <a:gd name="connsiteX0-8695" fmla="*/ 16640 w 10693106"/>
              <a:gd name="connsiteY0-8696" fmla="*/ 368354 h 5321354"/>
              <a:gd name="connsiteX1-8697" fmla="*/ 58973 w 10693106"/>
              <a:gd name="connsiteY1-8698" fmla="*/ 275221 h 5321354"/>
              <a:gd name="connsiteX2-8699" fmla="*/ 109773 w 10693106"/>
              <a:gd name="connsiteY2-8700" fmla="*/ 207488 h 5321354"/>
              <a:gd name="connsiteX3-8701" fmla="*/ 202906 w 10693106"/>
              <a:gd name="connsiteY3-8702" fmla="*/ 122821 h 5321354"/>
              <a:gd name="connsiteX4-8703" fmla="*/ 236773 w 10693106"/>
              <a:gd name="connsiteY4-8704" fmla="*/ 97421 h 5321354"/>
              <a:gd name="connsiteX5-8705" fmla="*/ 346840 w 10693106"/>
              <a:gd name="connsiteY5-8706" fmla="*/ 38154 h 5321354"/>
              <a:gd name="connsiteX6-8707" fmla="*/ 397640 w 10693106"/>
              <a:gd name="connsiteY6-8708" fmla="*/ 4288 h 5321354"/>
              <a:gd name="connsiteX7-8709" fmla="*/ 467297 w 10693106"/>
              <a:gd name="connsiteY7-8710" fmla="*/ 143218 h 5321354"/>
              <a:gd name="connsiteX8-8711" fmla="*/ 492697 w 10693106"/>
              <a:gd name="connsiteY8-8712" fmla="*/ 103579 h 5321354"/>
              <a:gd name="connsiteX9-8713" fmla="*/ 822897 w 10693106"/>
              <a:gd name="connsiteY9-8714" fmla="*/ 112045 h 5321354"/>
              <a:gd name="connsiteX10-8715" fmla="*/ 1091906 w 10693106"/>
              <a:gd name="connsiteY10-8716" fmla="*/ 29688 h 5321354"/>
              <a:gd name="connsiteX11-8717" fmla="*/ 1235840 w 10693106"/>
              <a:gd name="connsiteY11-8718" fmla="*/ 88954 h 5321354"/>
              <a:gd name="connsiteX12-8719" fmla="*/ 1337440 w 10693106"/>
              <a:gd name="connsiteY12-8720" fmla="*/ 165154 h 5321354"/>
              <a:gd name="connsiteX13-8721" fmla="*/ 1422106 w 10693106"/>
              <a:gd name="connsiteY13-8722" fmla="*/ 275221 h 5321354"/>
              <a:gd name="connsiteX14-8723" fmla="*/ 1481373 w 10693106"/>
              <a:gd name="connsiteY14-8724" fmla="*/ 342954 h 5321354"/>
              <a:gd name="connsiteX15-8725" fmla="*/ 1532173 w 10693106"/>
              <a:gd name="connsiteY15-8726" fmla="*/ 376821 h 5321354"/>
              <a:gd name="connsiteX16-8727" fmla="*/ 1684573 w 10693106"/>
              <a:gd name="connsiteY16-8728" fmla="*/ 436088 h 5321354"/>
              <a:gd name="connsiteX17-8729" fmla="*/ 1760773 w 10693106"/>
              <a:gd name="connsiteY17-8730" fmla="*/ 453021 h 5321354"/>
              <a:gd name="connsiteX18-8731" fmla="*/ 1997840 w 10693106"/>
              <a:gd name="connsiteY18-8732" fmla="*/ 444554 h 5321354"/>
              <a:gd name="connsiteX19-8733" fmla="*/ 2116373 w 10693106"/>
              <a:gd name="connsiteY19-8734" fmla="*/ 427621 h 5321354"/>
              <a:gd name="connsiteX20-8735" fmla="*/ 2260306 w 10693106"/>
              <a:gd name="connsiteY20-8736" fmla="*/ 410688 h 5321354"/>
              <a:gd name="connsiteX21-8737" fmla="*/ 2404240 w 10693106"/>
              <a:gd name="connsiteY21-8738" fmla="*/ 385288 h 5321354"/>
              <a:gd name="connsiteX22-8739" fmla="*/ 2455040 w 10693106"/>
              <a:gd name="connsiteY22-8740" fmla="*/ 359888 h 5321354"/>
              <a:gd name="connsiteX23-8741" fmla="*/ 2531240 w 10693106"/>
              <a:gd name="connsiteY23-8742" fmla="*/ 334488 h 5321354"/>
              <a:gd name="connsiteX24-8743" fmla="*/ 2683640 w 10693106"/>
              <a:gd name="connsiteY24-8744" fmla="*/ 207488 h 5321354"/>
              <a:gd name="connsiteX25-8745" fmla="*/ 2742906 w 10693106"/>
              <a:gd name="connsiteY25-8746" fmla="*/ 215954 h 5321354"/>
              <a:gd name="connsiteX26-8747" fmla="*/ 2764920 w 10693106"/>
              <a:gd name="connsiteY26-8748" fmla="*/ 202408 h 5321354"/>
              <a:gd name="connsiteX27-8749" fmla="*/ 2832653 w 10693106"/>
              <a:gd name="connsiteY27-8750" fmla="*/ 197328 h 5321354"/>
              <a:gd name="connsiteX28-8751" fmla="*/ 3002294 w 10693106"/>
              <a:gd name="connsiteY28-8752" fmla="*/ 184012 h 5321354"/>
              <a:gd name="connsiteX29-8753" fmla="*/ 3142763 w 10693106"/>
              <a:gd name="connsiteY29-8754" fmla="*/ 139753 h 5321354"/>
              <a:gd name="connsiteX30-8755" fmla="*/ 3398918 w 10693106"/>
              <a:gd name="connsiteY30-8756" fmla="*/ 101654 h 5321354"/>
              <a:gd name="connsiteX31-8757" fmla="*/ 3606506 w 10693106"/>
              <a:gd name="connsiteY31-8758" fmla="*/ 89725 h 5321354"/>
              <a:gd name="connsiteX32-8759" fmla="*/ 3682706 w 10693106"/>
              <a:gd name="connsiteY32-8760" fmla="*/ 109274 h 5321354"/>
              <a:gd name="connsiteX33-8761" fmla="*/ 3741973 w 10693106"/>
              <a:gd name="connsiteY33-8762" fmla="*/ 115893 h 5321354"/>
              <a:gd name="connsiteX34-8763" fmla="*/ 3792773 w 10693106"/>
              <a:gd name="connsiteY34-8764" fmla="*/ 151608 h 5321354"/>
              <a:gd name="connsiteX35-8765" fmla="*/ 3831720 w 10693106"/>
              <a:gd name="connsiteY35-8766" fmla="*/ 166848 h 5321354"/>
              <a:gd name="connsiteX36-8767" fmla="*/ 3896297 w 10693106"/>
              <a:gd name="connsiteY36-8768" fmla="*/ 186321 h 5321354"/>
              <a:gd name="connsiteX37-8769" fmla="*/ 3950253 w 10693106"/>
              <a:gd name="connsiteY37-8770" fmla="*/ 205794 h 5321354"/>
              <a:gd name="connsiteX38-8771" fmla="*/ 3995973 w 10693106"/>
              <a:gd name="connsiteY38-8772" fmla="*/ 139754 h 5321354"/>
              <a:gd name="connsiteX39-8773" fmla="*/ 4021373 w 10693106"/>
              <a:gd name="connsiteY39-8774" fmla="*/ 173621 h 5321354"/>
              <a:gd name="connsiteX40-8775" fmla="*/ 4055240 w 10693106"/>
              <a:gd name="connsiteY40-8776" fmla="*/ 182088 h 5321354"/>
              <a:gd name="connsiteX41-8777" fmla="*/ 4275373 w 10693106"/>
              <a:gd name="connsiteY41-8778" fmla="*/ 224421 h 5321354"/>
              <a:gd name="connsiteX42-8779" fmla="*/ 4402373 w 10693106"/>
              <a:gd name="connsiteY42-8780" fmla="*/ 258288 h 5321354"/>
              <a:gd name="connsiteX43-8781" fmla="*/ 4529373 w 10693106"/>
              <a:gd name="connsiteY43-8782" fmla="*/ 300621 h 5321354"/>
              <a:gd name="connsiteX44-8783" fmla="*/ 4859573 w 10693106"/>
              <a:gd name="connsiteY44-8784" fmla="*/ 376821 h 5321354"/>
              <a:gd name="connsiteX45-8785" fmla="*/ 5045840 w 10693106"/>
              <a:gd name="connsiteY45-8786" fmla="*/ 453021 h 5321354"/>
              <a:gd name="connsiteX46-8787" fmla="*/ 5325240 w 10693106"/>
              <a:gd name="connsiteY46-8788" fmla="*/ 613888 h 5321354"/>
              <a:gd name="connsiteX47-8789" fmla="*/ 5494573 w 10693106"/>
              <a:gd name="connsiteY47-8790" fmla="*/ 766288 h 5321354"/>
              <a:gd name="connsiteX48-8791" fmla="*/ 5562306 w 10693106"/>
              <a:gd name="connsiteY48-8792" fmla="*/ 842488 h 5321354"/>
              <a:gd name="connsiteX49-8793" fmla="*/ 5621573 w 10693106"/>
              <a:gd name="connsiteY49-8794" fmla="*/ 893288 h 5321354"/>
              <a:gd name="connsiteX50-8795" fmla="*/ 5672373 w 10693106"/>
              <a:gd name="connsiteY50-8796" fmla="*/ 961021 h 5321354"/>
              <a:gd name="connsiteX51-8797" fmla="*/ 5757040 w 10693106"/>
              <a:gd name="connsiteY51-8798" fmla="*/ 1062621 h 5321354"/>
              <a:gd name="connsiteX52-8799" fmla="*/ 5833240 w 10693106"/>
              <a:gd name="connsiteY52-8800" fmla="*/ 1155754 h 5321354"/>
              <a:gd name="connsiteX53-8801" fmla="*/ 6019506 w 10693106"/>
              <a:gd name="connsiteY53-8802" fmla="*/ 1358954 h 5321354"/>
              <a:gd name="connsiteX54-8803" fmla="*/ 6087240 w 10693106"/>
              <a:gd name="connsiteY54-8804" fmla="*/ 1409754 h 5321354"/>
              <a:gd name="connsiteX55-8805" fmla="*/ 6171906 w 10693106"/>
              <a:gd name="connsiteY55-8806" fmla="*/ 1511354 h 5321354"/>
              <a:gd name="connsiteX56-8807" fmla="*/ 6451306 w 10693106"/>
              <a:gd name="connsiteY56-8808" fmla="*/ 1723021 h 5321354"/>
              <a:gd name="connsiteX57-8809" fmla="*/ 6519040 w 10693106"/>
              <a:gd name="connsiteY57-8810" fmla="*/ 1731488 h 5321354"/>
              <a:gd name="connsiteX58-8811" fmla="*/ 6603706 w 10693106"/>
              <a:gd name="connsiteY58-8812" fmla="*/ 1765354 h 5321354"/>
              <a:gd name="connsiteX59-8813" fmla="*/ 6671440 w 10693106"/>
              <a:gd name="connsiteY59-8814" fmla="*/ 1799221 h 5321354"/>
              <a:gd name="connsiteX60-8815" fmla="*/ 6866173 w 10693106"/>
              <a:gd name="connsiteY60-8816" fmla="*/ 1824621 h 5321354"/>
              <a:gd name="connsiteX61-8817" fmla="*/ 7196373 w 10693106"/>
              <a:gd name="connsiteY61-8818" fmla="*/ 1807688 h 5321354"/>
              <a:gd name="connsiteX62-8819" fmla="*/ 7509640 w 10693106"/>
              <a:gd name="connsiteY62-8820" fmla="*/ 1731488 h 5321354"/>
              <a:gd name="connsiteX63-8821" fmla="*/ 7628173 w 10693106"/>
              <a:gd name="connsiteY63-8822" fmla="*/ 1706088 h 5321354"/>
              <a:gd name="connsiteX64-8823" fmla="*/ 7704373 w 10693106"/>
              <a:gd name="connsiteY64-8824" fmla="*/ 1663754 h 5321354"/>
              <a:gd name="connsiteX65-8825" fmla="*/ 7755173 w 10693106"/>
              <a:gd name="connsiteY65-8826" fmla="*/ 1655288 h 5321354"/>
              <a:gd name="connsiteX66-8827" fmla="*/ 7797506 w 10693106"/>
              <a:gd name="connsiteY66-8828" fmla="*/ 1621421 h 5321354"/>
              <a:gd name="connsiteX67-8829" fmla="*/ 7856773 w 10693106"/>
              <a:gd name="connsiteY67-8830" fmla="*/ 1604488 h 5321354"/>
              <a:gd name="connsiteX68-8831" fmla="*/ 7958373 w 10693106"/>
              <a:gd name="connsiteY68-8832" fmla="*/ 1536754 h 5321354"/>
              <a:gd name="connsiteX69-8833" fmla="*/ 8009173 w 10693106"/>
              <a:gd name="connsiteY69-8834" fmla="*/ 1485954 h 5321354"/>
              <a:gd name="connsiteX70-8835" fmla="*/ 8339373 w 10693106"/>
              <a:gd name="connsiteY70-8836" fmla="*/ 1240421 h 5321354"/>
              <a:gd name="connsiteX71-8837" fmla="*/ 8576440 w 10693106"/>
              <a:gd name="connsiteY71-8838" fmla="*/ 986421 h 5321354"/>
              <a:gd name="connsiteX72-8839" fmla="*/ 8652640 w 10693106"/>
              <a:gd name="connsiteY72-8840" fmla="*/ 707021 h 5321354"/>
              <a:gd name="connsiteX73-8841" fmla="*/ 8847373 w 10693106"/>
              <a:gd name="connsiteY73-8842" fmla="*/ 520754 h 5321354"/>
              <a:gd name="connsiteX74-8843" fmla="*/ 8982840 w 10693106"/>
              <a:gd name="connsiteY74-8844" fmla="*/ 427621 h 5321354"/>
              <a:gd name="connsiteX75-8845" fmla="*/ 9084440 w 10693106"/>
              <a:gd name="connsiteY75-8846" fmla="*/ 393754 h 5321354"/>
              <a:gd name="connsiteX76-8847" fmla="*/ 9152173 w 10693106"/>
              <a:gd name="connsiteY76-8848" fmla="*/ 368354 h 5321354"/>
              <a:gd name="connsiteX77-8849" fmla="*/ 9380773 w 10693106"/>
              <a:gd name="connsiteY77-8850" fmla="*/ 385288 h 5321354"/>
              <a:gd name="connsiteX78-8851" fmla="*/ 9744840 w 10693106"/>
              <a:gd name="connsiteY78-8852" fmla="*/ 495354 h 5321354"/>
              <a:gd name="connsiteX79-8853" fmla="*/ 9888773 w 10693106"/>
              <a:gd name="connsiteY79-8854" fmla="*/ 537688 h 5321354"/>
              <a:gd name="connsiteX80-8855" fmla="*/ 9998840 w 10693106"/>
              <a:gd name="connsiteY80-8856" fmla="*/ 588488 h 5321354"/>
              <a:gd name="connsiteX81-8857" fmla="*/ 10083506 w 10693106"/>
              <a:gd name="connsiteY81-8858" fmla="*/ 647754 h 5321354"/>
              <a:gd name="connsiteX82-8859" fmla="*/ 10286706 w 10693106"/>
              <a:gd name="connsiteY82-8860" fmla="*/ 715488 h 5321354"/>
              <a:gd name="connsiteX83-8861" fmla="*/ 10388306 w 10693106"/>
              <a:gd name="connsiteY83-8862" fmla="*/ 918688 h 5321354"/>
              <a:gd name="connsiteX84-8863" fmla="*/ 10540706 w 10693106"/>
              <a:gd name="connsiteY84-8864" fmla="*/ 1291221 h 5321354"/>
              <a:gd name="connsiteX85-8865" fmla="*/ 10557640 w 10693106"/>
              <a:gd name="connsiteY85-8866" fmla="*/ 1375888 h 5321354"/>
              <a:gd name="connsiteX86-8867" fmla="*/ 10583040 w 10693106"/>
              <a:gd name="connsiteY86-8868" fmla="*/ 1477488 h 5321354"/>
              <a:gd name="connsiteX87-8869" fmla="*/ 10616906 w 10693106"/>
              <a:gd name="connsiteY87-8870" fmla="*/ 1680688 h 5321354"/>
              <a:gd name="connsiteX88-8871" fmla="*/ 10633840 w 10693106"/>
              <a:gd name="connsiteY88-8872" fmla="*/ 1765354 h 5321354"/>
              <a:gd name="connsiteX89-8873" fmla="*/ 10650773 w 10693106"/>
              <a:gd name="connsiteY89-8874" fmla="*/ 1799221 h 5321354"/>
              <a:gd name="connsiteX90-8875" fmla="*/ 10676173 w 10693106"/>
              <a:gd name="connsiteY90-8876" fmla="*/ 1883888 h 5321354"/>
              <a:gd name="connsiteX91-8877" fmla="*/ 10693106 w 10693106"/>
              <a:gd name="connsiteY91-8878" fmla="*/ 2036288 h 5321354"/>
              <a:gd name="connsiteX92-8879" fmla="*/ 10625373 w 10693106"/>
              <a:gd name="connsiteY92-8880" fmla="*/ 2256421 h 5321354"/>
              <a:gd name="connsiteX93-8881" fmla="*/ 10608440 w 10693106"/>
              <a:gd name="connsiteY93-8882" fmla="*/ 2281821 h 5321354"/>
              <a:gd name="connsiteX94-8883" fmla="*/ 10540706 w 10693106"/>
              <a:gd name="connsiteY94-8884" fmla="*/ 2425754 h 5321354"/>
              <a:gd name="connsiteX95-8885" fmla="*/ 10498373 w 10693106"/>
              <a:gd name="connsiteY95-8886" fmla="*/ 2510421 h 5321354"/>
              <a:gd name="connsiteX96-8887" fmla="*/ 10439106 w 10693106"/>
              <a:gd name="connsiteY96-8888" fmla="*/ 2696688 h 5321354"/>
              <a:gd name="connsiteX97-8889" fmla="*/ 10430640 w 10693106"/>
              <a:gd name="connsiteY97-8890" fmla="*/ 2739021 h 5321354"/>
              <a:gd name="connsiteX98-8891" fmla="*/ 10405240 w 10693106"/>
              <a:gd name="connsiteY98-8892" fmla="*/ 2815221 h 5321354"/>
              <a:gd name="connsiteX99-8893" fmla="*/ 10396773 w 10693106"/>
              <a:gd name="connsiteY99-8894" fmla="*/ 2849088 h 5321354"/>
              <a:gd name="connsiteX100-8895" fmla="*/ 10362906 w 10693106"/>
              <a:gd name="connsiteY100-8896" fmla="*/ 2942221 h 5321354"/>
              <a:gd name="connsiteX101-8897" fmla="*/ 10329040 w 10693106"/>
              <a:gd name="connsiteY101-8898" fmla="*/ 2984554 h 5321354"/>
              <a:gd name="connsiteX102-8899" fmla="*/ 10227440 w 10693106"/>
              <a:gd name="connsiteY102-8900" fmla="*/ 3086154 h 5321354"/>
              <a:gd name="connsiteX103-8901" fmla="*/ 10168173 w 10693106"/>
              <a:gd name="connsiteY103-8902" fmla="*/ 3153888 h 5321354"/>
              <a:gd name="connsiteX104-8903" fmla="*/ 10117373 w 10693106"/>
              <a:gd name="connsiteY104-8904" fmla="*/ 3204688 h 5321354"/>
              <a:gd name="connsiteX105-8905" fmla="*/ 10032706 w 10693106"/>
              <a:gd name="connsiteY105-8906" fmla="*/ 3306288 h 5321354"/>
              <a:gd name="connsiteX106-8907" fmla="*/ 9948040 w 10693106"/>
              <a:gd name="connsiteY106-8908" fmla="*/ 3365554 h 5321354"/>
              <a:gd name="connsiteX107-8909" fmla="*/ 9905706 w 10693106"/>
              <a:gd name="connsiteY107-8910" fmla="*/ 3390954 h 5321354"/>
              <a:gd name="connsiteX108-8911" fmla="*/ 9829506 w 10693106"/>
              <a:gd name="connsiteY108-8912" fmla="*/ 3407888 h 5321354"/>
              <a:gd name="connsiteX109-8913" fmla="*/ 9727906 w 10693106"/>
              <a:gd name="connsiteY109-8914" fmla="*/ 3450221 h 5321354"/>
              <a:gd name="connsiteX110-8915" fmla="*/ 9634773 w 10693106"/>
              <a:gd name="connsiteY110-8916" fmla="*/ 3475621 h 5321354"/>
              <a:gd name="connsiteX111-8917" fmla="*/ 9456973 w 10693106"/>
              <a:gd name="connsiteY111-8918" fmla="*/ 3568754 h 5321354"/>
              <a:gd name="connsiteX112-8919" fmla="*/ 9313040 w 10693106"/>
              <a:gd name="connsiteY112-8920" fmla="*/ 3695754 h 5321354"/>
              <a:gd name="connsiteX113-8921" fmla="*/ 9279173 w 10693106"/>
              <a:gd name="connsiteY113-8922" fmla="*/ 3712688 h 5321354"/>
              <a:gd name="connsiteX114-8923" fmla="*/ 9067506 w 10693106"/>
              <a:gd name="connsiteY114-8924" fmla="*/ 3890488 h 5321354"/>
              <a:gd name="connsiteX115-8925" fmla="*/ 8999773 w 10693106"/>
              <a:gd name="connsiteY115-8926" fmla="*/ 3958221 h 5321354"/>
              <a:gd name="connsiteX116-8927" fmla="*/ 8813506 w 10693106"/>
              <a:gd name="connsiteY116-8928" fmla="*/ 4093688 h 5321354"/>
              <a:gd name="connsiteX117-8929" fmla="*/ 8728840 w 10693106"/>
              <a:gd name="connsiteY117-8930" fmla="*/ 4136021 h 5321354"/>
              <a:gd name="connsiteX118-8931" fmla="*/ 8373240 w 10693106"/>
              <a:gd name="connsiteY118-8932" fmla="*/ 4169888 h 5321354"/>
              <a:gd name="connsiteX119-8933" fmla="*/ 7966840 w 10693106"/>
              <a:gd name="connsiteY119-8934" fmla="*/ 4263021 h 5321354"/>
              <a:gd name="connsiteX120-8935" fmla="*/ 7687440 w 10693106"/>
              <a:gd name="connsiteY120-8936" fmla="*/ 4423888 h 5321354"/>
              <a:gd name="connsiteX121-8937" fmla="*/ 7551973 w 10693106"/>
              <a:gd name="connsiteY121-8938" fmla="*/ 4508554 h 5321354"/>
              <a:gd name="connsiteX122-8939" fmla="*/ 7374173 w 10693106"/>
              <a:gd name="connsiteY122-8940" fmla="*/ 4686354 h 5321354"/>
              <a:gd name="connsiteX123-8941" fmla="*/ 7374173 w 10693106"/>
              <a:gd name="connsiteY123-8942" fmla="*/ 4686354 h 5321354"/>
              <a:gd name="connsiteX124-8943" fmla="*/ 7221773 w 10693106"/>
              <a:gd name="connsiteY124-8944" fmla="*/ 4804888 h 5321354"/>
              <a:gd name="connsiteX125-8945" fmla="*/ 7027040 w 10693106"/>
              <a:gd name="connsiteY125-8946" fmla="*/ 4931888 h 5321354"/>
              <a:gd name="connsiteX126-8947" fmla="*/ 6883106 w 10693106"/>
              <a:gd name="connsiteY126-8948" fmla="*/ 4999621 h 5321354"/>
              <a:gd name="connsiteX127-8949" fmla="*/ 6815373 w 10693106"/>
              <a:gd name="connsiteY127-8950" fmla="*/ 5041954 h 5321354"/>
              <a:gd name="connsiteX128-8951" fmla="*/ 6646040 w 10693106"/>
              <a:gd name="connsiteY128-8952" fmla="*/ 5135088 h 5321354"/>
              <a:gd name="connsiteX129-8953" fmla="*/ 6527506 w 10693106"/>
              <a:gd name="connsiteY129-8954" fmla="*/ 5194354 h 5321354"/>
              <a:gd name="connsiteX130-8955" fmla="*/ 6298906 w 10693106"/>
              <a:gd name="connsiteY130-8956" fmla="*/ 5270554 h 5321354"/>
              <a:gd name="connsiteX131-8957" fmla="*/ 6197306 w 10693106"/>
              <a:gd name="connsiteY131-8958" fmla="*/ 5295954 h 5321354"/>
              <a:gd name="connsiteX132-8959" fmla="*/ 6061840 w 10693106"/>
              <a:gd name="connsiteY132-8960" fmla="*/ 5304421 h 5321354"/>
              <a:gd name="connsiteX133-8961" fmla="*/ 5917906 w 10693106"/>
              <a:gd name="connsiteY133-8962" fmla="*/ 5321354 h 5321354"/>
              <a:gd name="connsiteX134-8963" fmla="*/ 5748573 w 10693106"/>
              <a:gd name="connsiteY134-8964" fmla="*/ 5312888 h 5321354"/>
              <a:gd name="connsiteX135-8965" fmla="*/ 5282906 w 10693106"/>
              <a:gd name="connsiteY135-8966" fmla="*/ 5202821 h 5321354"/>
              <a:gd name="connsiteX136-8967" fmla="*/ 5138973 w 10693106"/>
              <a:gd name="connsiteY136-8968" fmla="*/ 5101221 h 5321354"/>
              <a:gd name="connsiteX137-8969" fmla="*/ 5020440 w 10693106"/>
              <a:gd name="connsiteY137-8970" fmla="*/ 4948821 h 5321354"/>
              <a:gd name="connsiteX138-8971" fmla="*/ 4952706 w 10693106"/>
              <a:gd name="connsiteY138-8972" fmla="*/ 4872621 h 5321354"/>
              <a:gd name="connsiteX139-8973" fmla="*/ 4884973 w 10693106"/>
              <a:gd name="connsiteY139-8974" fmla="*/ 4804888 h 5321354"/>
              <a:gd name="connsiteX140-8975" fmla="*/ 4732573 w 10693106"/>
              <a:gd name="connsiteY140-8976" fmla="*/ 4627088 h 5321354"/>
              <a:gd name="connsiteX141-8977" fmla="*/ 4673306 w 10693106"/>
              <a:gd name="connsiteY141-8978" fmla="*/ 4559354 h 5321354"/>
              <a:gd name="connsiteX142-8979" fmla="*/ 4487040 w 10693106"/>
              <a:gd name="connsiteY142-8980" fmla="*/ 4432354 h 5321354"/>
              <a:gd name="connsiteX143-8981" fmla="*/ 4187743 w 10693106"/>
              <a:gd name="connsiteY143-8982" fmla="*/ 4550888 h 5321354"/>
              <a:gd name="connsiteX144-8983" fmla="*/ 4038306 w 10693106"/>
              <a:gd name="connsiteY144-8984" fmla="*/ 4395101 h 5321354"/>
              <a:gd name="connsiteX145-8985" fmla="*/ 3965493 w 10693106"/>
              <a:gd name="connsiteY145-8986" fmla="*/ 4280801 h 5321354"/>
              <a:gd name="connsiteX146-8987" fmla="*/ 3993010 w 10693106"/>
              <a:gd name="connsiteY146-8988" fmla="*/ 4194864 h 5321354"/>
              <a:gd name="connsiteX147-8989" fmla="*/ 3895643 w 10693106"/>
              <a:gd name="connsiteY147-8990" fmla="*/ 4089031 h 5321354"/>
              <a:gd name="connsiteX148-8991" fmla="*/ 3919773 w 10693106"/>
              <a:gd name="connsiteY148-8992" fmla="*/ 3949754 h 5321354"/>
              <a:gd name="connsiteX149-8993" fmla="*/ 3877440 w 10693106"/>
              <a:gd name="connsiteY149-8994" fmla="*/ 3653421 h 5321354"/>
              <a:gd name="connsiteX150-8995" fmla="*/ 3852040 w 10693106"/>
              <a:gd name="connsiteY150-8996" fmla="*/ 3560288 h 5321354"/>
              <a:gd name="connsiteX151-8997" fmla="*/ 3801240 w 10693106"/>
              <a:gd name="connsiteY151-8998" fmla="*/ 3450221 h 5321354"/>
              <a:gd name="connsiteX152-8999" fmla="*/ 3733506 w 10693106"/>
              <a:gd name="connsiteY152-9000" fmla="*/ 3348621 h 5321354"/>
              <a:gd name="connsiteX153-9001" fmla="*/ 3242440 w 10693106"/>
              <a:gd name="connsiteY153-9002" fmla="*/ 3128488 h 5321354"/>
              <a:gd name="connsiteX154-9003" fmla="*/ 3123906 w 10693106"/>
              <a:gd name="connsiteY154-9004" fmla="*/ 3026888 h 5321354"/>
              <a:gd name="connsiteX155-9005" fmla="*/ 2988440 w 10693106"/>
              <a:gd name="connsiteY155-9006" fmla="*/ 2832154 h 5321354"/>
              <a:gd name="connsiteX156-9007" fmla="*/ 2971506 w 10693106"/>
              <a:gd name="connsiteY156-9008" fmla="*/ 2772888 h 5321354"/>
              <a:gd name="connsiteX157-9009" fmla="*/ 2996906 w 10693106"/>
              <a:gd name="connsiteY157-9010" fmla="*/ 2561221 h 5321354"/>
              <a:gd name="connsiteX158-9011" fmla="*/ 3013840 w 10693106"/>
              <a:gd name="connsiteY158-9012" fmla="*/ 2459621 h 5321354"/>
              <a:gd name="connsiteX159-9013" fmla="*/ 3005373 w 10693106"/>
              <a:gd name="connsiteY159-9014" fmla="*/ 2341088 h 5321354"/>
              <a:gd name="connsiteX160-9015" fmla="*/ 2988440 w 10693106"/>
              <a:gd name="connsiteY160-9016" fmla="*/ 2290288 h 5321354"/>
              <a:gd name="connsiteX161-9017" fmla="*/ 2802173 w 10693106"/>
              <a:gd name="connsiteY161-9018" fmla="*/ 2036288 h 5321354"/>
              <a:gd name="connsiteX162-9019" fmla="*/ 2641306 w 10693106"/>
              <a:gd name="connsiteY162-9020" fmla="*/ 1892354 h 5321354"/>
              <a:gd name="connsiteX163-9021" fmla="*/ 2590506 w 10693106"/>
              <a:gd name="connsiteY163-9022" fmla="*/ 1866954 h 5321354"/>
              <a:gd name="connsiteX164-9023" fmla="*/ 2531240 w 10693106"/>
              <a:gd name="connsiteY164-9024" fmla="*/ 1858488 h 5321354"/>
              <a:gd name="connsiteX165-9025" fmla="*/ 2446573 w 10693106"/>
              <a:gd name="connsiteY165-9026" fmla="*/ 1841554 h 5321354"/>
              <a:gd name="connsiteX166-9027" fmla="*/ 2251840 w 10693106"/>
              <a:gd name="connsiteY166-9028" fmla="*/ 1866954 h 5321354"/>
              <a:gd name="connsiteX167-9029" fmla="*/ 2167173 w 10693106"/>
              <a:gd name="connsiteY167-9030" fmla="*/ 1909288 h 5321354"/>
              <a:gd name="connsiteX168-9031" fmla="*/ 1980906 w 10693106"/>
              <a:gd name="connsiteY168-9032" fmla="*/ 1968554 h 5321354"/>
              <a:gd name="connsiteX169-9033" fmla="*/ 1904706 w 10693106"/>
              <a:gd name="connsiteY169-9034" fmla="*/ 2002421 h 5321354"/>
              <a:gd name="connsiteX170-9035" fmla="*/ 1828506 w 10693106"/>
              <a:gd name="connsiteY170-9036" fmla="*/ 2019354 h 5321354"/>
              <a:gd name="connsiteX171-9037" fmla="*/ 1726906 w 10693106"/>
              <a:gd name="connsiteY171-9038" fmla="*/ 2070154 h 5321354"/>
              <a:gd name="connsiteX172-9039" fmla="*/ 1659173 w 10693106"/>
              <a:gd name="connsiteY172-9040" fmla="*/ 2104021 h 5321354"/>
              <a:gd name="connsiteX173-9041" fmla="*/ 1498306 w 10693106"/>
              <a:gd name="connsiteY173-9042" fmla="*/ 2129421 h 5321354"/>
              <a:gd name="connsiteX174-9043" fmla="*/ 914106 w 10693106"/>
              <a:gd name="connsiteY174-9044" fmla="*/ 2061688 h 5321354"/>
              <a:gd name="connsiteX175-9045" fmla="*/ 617773 w 10693106"/>
              <a:gd name="connsiteY175-9046" fmla="*/ 1951621 h 5321354"/>
              <a:gd name="connsiteX176-9047" fmla="*/ 516173 w 10693106"/>
              <a:gd name="connsiteY176-9048" fmla="*/ 1866954 h 5321354"/>
              <a:gd name="connsiteX177-9049" fmla="*/ 355306 w 10693106"/>
              <a:gd name="connsiteY177-9050" fmla="*/ 1655288 h 5321354"/>
              <a:gd name="connsiteX178-9051" fmla="*/ 296040 w 10693106"/>
              <a:gd name="connsiteY178-9052" fmla="*/ 1553688 h 5321354"/>
              <a:gd name="connsiteX179-9053" fmla="*/ 253706 w 10693106"/>
              <a:gd name="connsiteY179-9054" fmla="*/ 1375888 h 5321354"/>
              <a:gd name="connsiteX180-9055" fmla="*/ 245240 w 10693106"/>
              <a:gd name="connsiteY180-9056" fmla="*/ 1248888 h 5321354"/>
              <a:gd name="connsiteX181-9057" fmla="*/ 236773 w 10693106"/>
              <a:gd name="connsiteY181-9058" fmla="*/ 1147288 h 5321354"/>
              <a:gd name="connsiteX182-9059" fmla="*/ 245240 w 10693106"/>
              <a:gd name="connsiteY182-9060" fmla="*/ 876354 h 5321354"/>
              <a:gd name="connsiteX183-9061" fmla="*/ 236773 w 10693106"/>
              <a:gd name="connsiteY183-9062" fmla="*/ 732421 h 5321354"/>
              <a:gd name="connsiteX184-9063" fmla="*/ 109773 w 10693106"/>
              <a:gd name="connsiteY184-9064" fmla="*/ 588488 h 5321354"/>
              <a:gd name="connsiteX185-9065" fmla="*/ 58973 w 10693106"/>
              <a:gd name="connsiteY185-9066" fmla="*/ 512288 h 5321354"/>
              <a:gd name="connsiteX186-9067" fmla="*/ 16640 w 10693106"/>
              <a:gd name="connsiteY186-9068" fmla="*/ 461488 h 5321354"/>
              <a:gd name="connsiteX187-9069" fmla="*/ 8173 w 10693106"/>
              <a:gd name="connsiteY187-9070" fmla="*/ 419154 h 5321354"/>
              <a:gd name="connsiteX188-9071" fmla="*/ 16640 w 10693106"/>
              <a:gd name="connsiteY188-9072" fmla="*/ 368354 h 5321354"/>
              <a:gd name="connsiteX0-9073" fmla="*/ 16640 w 10693106"/>
              <a:gd name="connsiteY0-9074" fmla="*/ 368354 h 5321354"/>
              <a:gd name="connsiteX1-9075" fmla="*/ 58973 w 10693106"/>
              <a:gd name="connsiteY1-9076" fmla="*/ 275221 h 5321354"/>
              <a:gd name="connsiteX2-9077" fmla="*/ 109773 w 10693106"/>
              <a:gd name="connsiteY2-9078" fmla="*/ 207488 h 5321354"/>
              <a:gd name="connsiteX3-9079" fmla="*/ 202906 w 10693106"/>
              <a:gd name="connsiteY3-9080" fmla="*/ 122821 h 5321354"/>
              <a:gd name="connsiteX4-9081" fmla="*/ 236773 w 10693106"/>
              <a:gd name="connsiteY4-9082" fmla="*/ 97421 h 5321354"/>
              <a:gd name="connsiteX5-9083" fmla="*/ 346840 w 10693106"/>
              <a:gd name="connsiteY5-9084" fmla="*/ 38154 h 5321354"/>
              <a:gd name="connsiteX6-9085" fmla="*/ 397640 w 10693106"/>
              <a:gd name="connsiteY6-9086" fmla="*/ 4288 h 5321354"/>
              <a:gd name="connsiteX7-9087" fmla="*/ 467297 w 10693106"/>
              <a:gd name="connsiteY7-9088" fmla="*/ 143218 h 5321354"/>
              <a:gd name="connsiteX8-9089" fmla="*/ 492697 w 10693106"/>
              <a:gd name="connsiteY8-9090" fmla="*/ 103579 h 5321354"/>
              <a:gd name="connsiteX9-9091" fmla="*/ 822897 w 10693106"/>
              <a:gd name="connsiteY9-9092" fmla="*/ 112045 h 5321354"/>
              <a:gd name="connsiteX10-9093" fmla="*/ 1091906 w 10693106"/>
              <a:gd name="connsiteY10-9094" fmla="*/ 29688 h 5321354"/>
              <a:gd name="connsiteX11-9095" fmla="*/ 1235840 w 10693106"/>
              <a:gd name="connsiteY11-9096" fmla="*/ 88954 h 5321354"/>
              <a:gd name="connsiteX12-9097" fmla="*/ 1337440 w 10693106"/>
              <a:gd name="connsiteY12-9098" fmla="*/ 165154 h 5321354"/>
              <a:gd name="connsiteX13-9099" fmla="*/ 1422106 w 10693106"/>
              <a:gd name="connsiteY13-9100" fmla="*/ 275221 h 5321354"/>
              <a:gd name="connsiteX14-9101" fmla="*/ 1481373 w 10693106"/>
              <a:gd name="connsiteY14-9102" fmla="*/ 342954 h 5321354"/>
              <a:gd name="connsiteX15-9103" fmla="*/ 1532173 w 10693106"/>
              <a:gd name="connsiteY15-9104" fmla="*/ 376821 h 5321354"/>
              <a:gd name="connsiteX16-9105" fmla="*/ 1684573 w 10693106"/>
              <a:gd name="connsiteY16-9106" fmla="*/ 436088 h 5321354"/>
              <a:gd name="connsiteX17-9107" fmla="*/ 1760773 w 10693106"/>
              <a:gd name="connsiteY17-9108" fmla="*/ 453021 h 5321354"/>
              <a:gd name="connsiteX18-9109" fmla="*/ 1997840 w 10693106"/>
              <a:gd name="connsiteY18-9110" fmla="*/ 444554 h 5321354"/>
              <a:gd name="connsiteX19-9111" fmla="*/ 2116373 w 10693106"/>
              <a:gd name="connsiteY19-9112" fmla="*/ 427621 h 5321354"/>
              <a:gd name="connsiteX20-9113" fmla="*/ 2260306 w 10693106"/>
              <a:gd name="connsiteY20-9114" fmla="*/ 410688 h 5321354"/>
              <a:gd name="connsiteX21-9115" fmla="*/ 2404240 w 10693106"/>
              <a:gd name="connsiteY21-9116" fmla="*/ 385288 h 5321354"/>
              <a:gd name="connsiteX22-9117" fmla="*/ 2455040 w 10693106"/>
              <a:gd name="connsiteY22-9118" fmla="*/ 359888 h 5321354"/>
              <a:gd name="connsiteX23-9119" fmla="*/ 2531240 w 10693106"/>
              <a:gd name="connsiteY23-9120" fmla="*/ 334488 h 5321354"/>
              <a:gd name="connsiteX24-9121" fmla="*/ 2683640 w 10693106"/>
              <a:gd name="connsiteY24-9122" fmla="*/ 207488 h 5321354"/>
              <a:gd name="connsiteX25-9123" fmla="*/ 2742906 w 10693106"/>
              <a:gd name="connsiteY25-9124" fmla="*/ 215954 h 5321354"/>
              <a:gd name="connsiteX26-9125" fmla="*/ 2764920 w 10693106"/>
              <a:gd name="connsiteY26-9126" fmla="*/ 202408 h 5321354"/>
              <a:gd name="connsiteX27-9127" fmla="*/ 2832653 w 10693106"/>
              <a:gd name="connsiteY27-9128" fmla="*/ 197328 h 5321354"/>
              <a:gd name="connsiteX28-9129" fmla="*/ 3002294 w 10693106"/>
              <a:gd name="connsiteY28-9130" fmla="*/ 184012 h 5321354"/>
              <a:gd name="connsiteX29-9131" fmla="*/ 3142763 w 10693106"/>
              <a:gd name="connsiteY29-9132" fmla="*/ 139753 h 5321354"/>
              <a:gd name="connsiteX30-9133" fmla="*/ 3398918 w 10693106"/>
              <a:gd name="connsiteY30-9134" fmla="*/ 101654 h 5321354"/>
              <a:gd name="connsiteX31-9135" fmla="*/ 3606506 w 10693106"/>
              <a:gd name="connsiteY31-9136" fmla="*/ 89725 h 5321354"/>
              <a:gd name="connsiteX32-9137" fmla="*/ 3682706 w 10693106"/>
              <a:gd name="connsiteY32-9138" fmla="*/ 109274 h 5321354"/>
              <a:gd name="connsiteX33-9139" fmla="*/ 3741973 w 10693106"/>
              <a:gd name="connsiteY33-9140" fmla="*/ 115893 h 5321354"/>
              <a:gd name="connsiteX34-9141" fmla="*/ 3792773 w 10693106"/>
              <a:gd name="connsiteY34-9142" fmla="*/ 151608 h 5321354"/>
              <a:gd name="connsiteX35-9143" fmla="*/ 3831720 w 10693106"/>
              <a:gd name="connsiteY35-9144" fmla="*/ 166848 h 5321354"/>
              <a:gd name="connsiteX36-9145" fmla="*/ 3896297 w 10693106"/>
              <a:gd name="connsiteY36-9146" fmla="*/ 186321 h 5321354"/>
              <a:gd name="connsiteX37-9147" fmla="*/ 3950253 w 10693106"/>
              <a:gd name="connsiteY37-9148" fmla="*/ 205794 h 5321354"/>
              <a:gd name="connsiteX38-9149" fmla="*/ 3995973 w 10693106"/>
              <a:gd name="connsiteY38-9150" fmla="*/ 139754 h 5321354"/>
              <a:gd name="connsiteX39-9151" fmla="*/ 4021373 w 10693106"/>
              <a:gd name="connsiteY39-9152" fmla="*/ 173621 h 5321354"/>
              <a:gd name="connsiteX40-9153" fmla="*/ 4055240 w 10693106"/>
              <a:gd name="connsiteY40-9154" fmla="*/ 182088 h 5321354"/>
              <a:gd name="connsiteX41-9155" fmla="*/ 4275373 w 10693106"/>
              <a:gd name="connsiteY41-9156" fmla="*/ 224421 h 5321354"/>
              <a:gd name="connsiteX42-9157" fmla="*/ 4402373 w 10693106"/>
              <a:gd name="connsiteY42-9158" fmla="*/ 258288 h 5321354"/>
              <a:gd name="connsiteX43-9159" fmla="*/ 4529373 w 10693106"/>
              <a:gd name="connsiteY43-9160" fmla="*/ 300621 h 5321354"/>
              <a:gd name="connsiteX44-9161" fmla="*/ 4859573 w 10693106"/>
              <a:gd name="connsiteY44-9162" fmla="*/ 376821 h 5321354"/>
              <a:gd name="connsiteX45-9163" fmla="*/ 5045840 w 10693106"/>
              <a:gd name="connsiteY45-9164" fmla="*/ 453021 h 5321354"/>
              <a:gd name="connsiteX46-9165" fmla="*/ 5325240 w 10693106"/>
              <a:gd name="connsiteY46-9166" fmla="*/ 613888 h 5321354"/>
              <a:gd name="connsiteX47-9167" fmla="*/ 5494573 w 10693106"/>
              <a:gd name="connsiteY47-9168" fmla="*/ 766288 h 5321354"/>
              <a:gd name="connsiteX48-9169" fmla="*/ 5562306 w 10693106"/>
              <a:gd name="connsiteY48-9170" fmla="*/ 842488 h 5321354"/>
              <a:gd name="connsiteX49-9171" fmla="*/ 5621573 w 10693106"/>
              <a:gd name="connsiteY49-9172" fmla="*/ 893288 h 5321354"/>
              <a:gd name="connsiteX50-9173" fmla="*/ 5672373 w 10693106"/>
              <a:gd name="connsiteY50-9174" fmla="*/ 961021 h 5321354"/>
              <a:gd name="connsiteX51-9175" fmla="*/ 5757040 w 10693106"/>
              <a:gd name="connsiteY51-9176" fmla="*/ 1062621 h 5321354"/>
              <a:gd name="connsiteX52-9177" fmla="*/ 5833240 w 10693106"/>
              <a:gd name="connsiteY52-9178" fmla="*/ 1155754 h 5321354"/>
              <a:gd name="connsiteX53-9179" fmla="*/ 6019506 w 10693106"/>
              <a:gd name="connsiteY53-9180" fmla="*/ 1358954 h 5321354"/>
              <a:gd name="connsiteX54-9181" fmla="*/ 6087240 w 10693106"/>
              <a:gd name="connsiteY54-9182" fmla="*/ 1409754 h 5321354"/>
              <a:gd name="connsiteX55-9183" fmla="*/ 6171906 w 10693106"/>
              <a:gd name="connsiteY55-9184" fmla="*/ 1511354 h 5321354"/>
              <a:gd name="connsiteX56-9185" fmla="*/ 6451306 w 10693106"/>
              <a:gd name="connsiteY56-9186" fmla="*/ 1723021 h 5321354"/>
              <a:gd name="connsiteX57-9187" fmla="*/ 6519040 w 10693106"/>
              <a:gd name="connsiteY57-9188" fmla="*/ 1731488 h 5321354"/>
              <a:gd name="connsiteX58-9189" fmla="*/ 6603706 w 10693106"/>
              <a:gd name="connsiteY58-9190" fmla="*/ 1765354 h 5321354"/>
              <a:gd name="connsiteX59-9191" fmla="*/ 6671440 w 10693106"/>
              <a:gd name="connsiteY59-9192" fmla="*/ 1799221 h 5321354"/>
              <a:gd name="connsiteX60-9193" fmla="*/ 6866173 w 10693106"/>
              <a:gd name="connsiteY60-9194" fmla="*/ 1824621 h 5321354"/>
              <a:gd name="connsiteX61-9195" fmla="*/ 7196373 w 10693106"/>
              <a:gd name="connsiteY61-9196" fmla="*/ 1807688 h 5321354"/>
              <a:gd name="connsiteX62-9197" fmla="*/ 7509640 w 10693106"/>
              <a:gd name="connsiteY62-9198" fmla="*/ 1731488 h 5321354"/>
              <a:gd name="connsiteX63-9199" fmla="*/ 7628173 w 10693106"/>
              <a:gd name="connsiteY63-9200" fmla="*/ 1706088 h 5321354"/>
              <a:gd name="connsiteX64-9201" fmla="*/ 7704373 w 10693106"/>
              <a:gd name="connsiteY64-9202" fmla="*/ 1663754 h 5321354"/>
              <a:gd name="connsiteX65-9203" fmla="*/ 7755173 w 10693106"/>
              <a:gd name="connsiteY65-9204" fmla="*/ 1655288 h 5321354"/>
              <a:gd name="connsiteX66-9205" fmla="*/ 7797506 w 10693106"/>
              <a:gd name="connsiteY66-9206" fmla="*/ 1621421 h 5321354"/>
              <a:gd name="connsiteX67-9207" fmla="*/ 7856773 w 10693106"/>
              <a:gd name="connsiteY67-9208" fmla="*/ 1604488 h 5321354"/>
              <a:gd name="connsiteX68-9209" fmla="*/ 7958373 w 10693106"/>
              <a:gd name="connsiteY68-9210" fmla="*/ 1536754 h 5321354"/>
              <a:gd name="connsiteX69-9211" fmla="*/ 8009173 w 10693106"/>
              <a:gd name="connsiteY69-9212" fmla="*/ 1485954 h 5321354"/>
              <a:gd name="connsiteX70-9213" fmla="*/ 8339373 w 10693106"/>
              <a:gd name="connsiteY70-9214" fmla="*/ 1240421 h 5321354"/>
              <a:gd name="connsiteX71-9215" fmla="*/ 8576440 w 10693106"/>
              <a:gd name="connsiteY71-9216" fmla="*/ 986421 h 5321354"/>
              <a:gd name="connsiteX72-9217" fmla="*/ 8652640 w 10693106"/>
              <a:gd name="connsiteY72-9218" fmla="*/ 707021 h 5321354"/>
              <a:gd name="connsiteX73-9219" fmla="*/ 8847373 w 10693106"/>
              <a:gd name="connsiteY73-9220" fmla="*/ 520754 h 5321354"/>
              <a:gd name="connsiteX74-9221" fmla="*/ 8982840 w 10693106"/>
              <a:gd name="connsiteY74-9222" fmla="*/ 427621 h 5321354"/>
              <a:gd name="connsiteX75-9223" fmla="*/ 9084440 w 10693106"/>
              <a:gd name="connsiteY75-9224" fmla="*/ 393754 h 5321354"/>
              <a:gd name="connsiteX76-9225" fmla="*/ 9152173 w 10693106"/>
              <a:gd name="connsiteY76-9226" fmla="*/ 368354 h 5321354"/>
              <a:gd name="connsiteX77-9227" fmla="*/ 9380773 w 10693106"/>
              <a:gd name="connsiteY77-9228" fmla="*/ 385288 h 5321354"/>
              <a:gd name="connsiteX78-9229" fmla="*/ 9744840 w 10693106"/>
              <a:gd name="connsiteY78-9230" fmla="*/ 495354 h 5321354"/>
              <a:gd name="connsiteX79-9231" fmla="*/ 9888773 w 10693106"/>
              <a:gd name="connsiteY79-9232" fmla="*/ 537688 h 5321354"/>
              <a:gd name="connsiteX80-9233" fmla="*/ 9998840 w 10693106"/>
              <a:gd name="connsiteY80-9234" fmla="*/ 588488 h 5321354"/>
              <a:gd name="connsiteX81-9235" fmla="*/ 10083506 w 10693106"/>
              <a:gd name="connsiteY81-9236" fmla="*/ 647754 h 5321354"/>
              <a:gd name="connsiteX82-9237" fmla="*/ 10286706 w 10693106"/>
              <a:gd name="connsiteY82-9238" fmla="*/ 715488 h 5321354"/>
              <a:gd name="connsiteX83-9239" fmla="*/ 10388306 w 10693106"/>
              <a:gd name="connsiteY83-9240" fmla="*/ 918688 h 5321354"/>
              <a:gd name="connsiteX84-9241" fmla="*/ 10540706 w 10693106"/>
              <a:gd name="connsiteY84-9242" fmla="*/ 1291221 h 5321354"/>
              <a:gd name="connsiteX85-9243" fmla="*/ 10557640 w 10693106"/>
              <a:gd name="connsiteY85-9244" fmla="*/ 1375888 h 5321354"/>
              <a:gd name="connsiteX86-9245" fmla="*/ 10583040 w 10693106"/>
              <a:gd name="connsiteY86-9246" fmla="*/ 1477488 h 5321354"/>
              <a:gd name="connsiteX87-9247" fmla="*/ 10616906 w 10693106"/>
              <a:gd name="connsiteY87-9248" fmla="*/ 1680688 h 5321354"/>
              <a:gd name="connsiteX88-9249" fmla="*/ 10633840 w 10693106"/>
              <a:gd name="connsiteY88-9250" fmla="*/ 1765354 h 5321354"/>
              <a:gd name="connsiteX89-9251" fmla="*/ 10650773 w 10693106"/>
              <a:gd name="connsiteY89-9252" fmla="*/ 1799221 h 5321354"/>
              <a:gd name="connsiteX90-9253" fmla="*/ 10676173 w 10693106"/>
              <a:gd name="connsiteY90-9254" fmla="*/ 1883888 h 5321354"/>
              <a:gd name="connsiteX91-9255" fmla="*/ 10693106 w 10693106"/>
              <a:gd name="connsiteY91-9256" fmla="*/ 2036288 h 5321354"/>
              <a:gd name="connsiteX92-9257" fmla="*/ 10625373 w 10693106"/>
              <a:gd name="connsiteY92-9258" fmla="*/ 2256421 h 5321354"/>
              <a:gd name="connsiteX93-9259" fmla="*/ 10608440 w 10693106"/>
              <a:gd name="connsiteY93-9260" fmla="*/ 2281821 h 5321354"/>
              <a:gd name="connsiteX94-9261" fmla="*/ 10540706 w 10693106"/>
              <a:gd name="connsiteY94-9262" fmla="*/ 2425754 h 5321354"/>
              <a:gd name="connsiteX95-9263" fmla="*/ 10498373 w 10693106"/>
              <a:gd name="connsiteY95-9264" fmla="*/ 2510421 h 5321354"/>
              <a:gd name="connsiteX96-9265" fmla="*/ 10439106 w 10693106"/>
              <a:gd name="connsiteY96-9266" fmla="*/ 2696688 h 5321354"/>
              <a:gd name="connsiteX97-9267" fmla="*/ 10430640 w 10693106"/>
              <a:gd name="connsiteY97-9268" fmla="*/ 2739021 h 5321354"/>
              <a:gd name="connsiteX98-9269" fmla="*/ 10405240 w 10693106"/>
              <a:gd name="connsiteY98-9270" fmla="*/ 2815221 h 5321354"/>
              <a:gd name="connsiteX99-9271" fmla="*/ 10396773 w 10693106"/>
              <a:gd name="connsiteY99-9272" fmla="*/ 2849088 h 5321354"/>
              <a:gd name="connsiteX100-9273" fmla="*/ 10362906 w 10693106"/>
              <a:gd name="connsiteY100-9274" fmla="*/ 2942221 h 5321354"/>
              <a:gd name="connsiteX101-9275" fmla="*/ 10329040 w 10693106"/>
              <a:gd name="connsiteY101-9276" fmla="*/ 2984554 h 5321354"/>
              <a:gd name="connsiteX102-9277" fmla="*/ 10227440 w 10693106"/>
              <a:gd name="connsiteY102-9278" fmla="*/ 3086154 h 5321354"/>
              <a:gd name="connsiteX103-9279" fmla="*/ 10168173 w 10693106"/>
              <a:gd name="connsiteY103-9280" fmla="*/ 3153888 h 5321354"/>
              <a:gd name="connsiteX104-9281" fmla="*/ 10117373 w 10693106"/>
              <a:gd name="connsiteY104-9282" fmla="*/ 3204688 h 5321354"/>
              <a:gd name="connsiteX105-9283" fmla="*/ 10032706 w 10693106"/>
              <a:gd name="connsiteY105-9284" fmla="*/ 3306288 h 5321354"/>
              <a:gd name="connsiteX106-9285" fmla="*/ 9948040 w 10693106"/>
              <a:gd name="connsiteY106-9286" fmla="*/ 3365554 h 5321354"/>
              <a:gd name="connsiteX107-9287" fmla="*/ 9905706 w 10693106"/>
              <a:gd name="connsiteY107-9288" fmla="*/ 3390954 h 5321354"/>
              <a:gd name="connsiteX108-9289" fmla="*/ 9829506 w 10693106"/>
              <a:gd name="connsiteY108-9290" fmla="*/ 3407888 h 5321354"/>
              <a:gd name="connsiteX109-9291" fmla="*/ 9727906 w 10693106"/>
              <a:gd name="connsiteY109-9292" fmla="*/ 3450221 h 5321354"/>
              <a:gd name="connsiteX110-9293" fmla="*/ 9634773 w 10693106"/>
              <a:gd name="connsiteY110-9294" fmla="*/ 3475621 h 5321354"/>
              <a:gd name="connsiteX111-9295" fmla="*/ 9456973 w 10693106"/>
              <a:gd name="connsiteY111-9296" fmla="*/ 3568754 h 5321354"/>
              <a:gd name="connsiteX112-9297" fmla="*/ 9313040 w 10693106"/>
              <a:gd name="connsiteY112-9298" fmla="*/ 3695754 h 5321354"/>
              <a:gd name="connsiteX113-9299" fmla="*/ 9279173 w 10693106"/>
              <a:gd name="connsiteY113-9300" fmla="*/ 3712688 h 5321354"/>
              <a:gd name="connsiteX114-9301" fmla="*/ 9067506 w 10693106"/>
              <a:gd name="connsiteY114-9302" fmla="*/ 3890488 h 5321354"/>
              <a:gd name="connsiteX115-9303" fmla="*/ 8999773 w 10693106"/>
              <a:gd name="connsiteY115-9304" fmla="*/ 3958221 h 5321354"/>
              <a:gd name="connsiteX116-9305" fmla="*/ 8813506 w 10693106"/>
              <a:gd name="connsiteY116-9306" fmla="*/ 4093688 h 5321354"/>
              <a:gd name="connsiteX117-9307" fmla="*/ 8728840 w 10693106"/>
              <a:gd name="connsiteY117-9308" fmla="*/ 4136021 h 5321354"/>
              <a:gd name="connsiteX118-9309" fmla="*/ 8373240 w 10693106"/>
              <a:gd name="connsiteY118-9310" fmla="*/ 4169888 h 5321354"/>
              <a:gd name="connsiteX119-9311" fmla="*/ 7966840 w 10693106"/>
              <a:gd name="connsiteY119-9312" fmla="*/ 4263021 h 5321354"/>
              <a:gd name="connsiteX120-9313" fmla="*/ 7687440 w 10693106"/>
              <a:gd name="connsiteY120-9314" fmla="*/ 4423888 h 5321354"/>
              <a:gd name="connsiteX121-9315" fmla="*/ 7551973 w 10693106"/>
              <a:gd name="connsiteY121-9316" fmla="*/ 4508554 h 5321354"/>
              <a:gd name="connsiteX122-9317" fmla="*/ 7374173 w 10693106"/>
              <a:gd name="connsiteY122-9318" fmla="*/ 4686354 h 5321354"/>
              <a:gd name="connsiteX123-9319" fmla="*/ 7374173 w 10693106"/>
              <a:gd name="connsiteY123-9320" fmla="*/ 4686354 h 5321354"/>
              <a:gd name="connsiteX124-9321" fmla="*/ 7221773 w 10693106"/>
              <a:gd name="connsiteY124-9322" fmla="*/ 4804888 h 5321354"/>
              <a:gd name="connsiteX125-9323" fmla="*/ 7027040 w 10693106"/>
              <a:gd name="connsiteY125-9324" fmla="*/ 4931888 h 5321354"/>
              <a:gd name="connsiteX126-9325" fmla="*/ 6883106 w 10693106"/>
              <a:gd name="connsiteY126-9326" fmla="*/ 4999621 h 5321354"/>
              <a:gd name="connsiteX127-9327" fmla="*/ 6815373 w 10693106"/>
              <a:gd name="connsiteY127-9328" fmla="*/ 5041954 h 5321354"/>
              <a:gd name="connsiteX128-9329" fmla="*/ 6646040 w 10693106"/>
              <a:gd name="connsiteY128-9330" fmla="*/ 5135088 h 5321354"/>
              <a:gd name="connsiteX129-9331" fmla="*/ 6527506 w 10693106"/>
              <a:gd name="connsiteY129-9332" fmla="*/ 5194354 h 5321354"/>
              <a:gd name="connsiteX130-9333" fmla="*/ 6298906 w 10693106"/>
              <a:gd name="connsiteY130-9334" fmla="*/ 5270554 h 5321354"/>
              <a:gd name="connsiteX131-9335" fmla="*/ 6197306 w 10693106"/>
              <a:gd name="connsiteY131-9336" fmla="*/ 5295954 h 5321354"/>
              <a:gd name="connsiteX132-9337" fmla="*/ 6061840 w 10693106"/>
              <a:gd name="connsiteY132-9338" fmla="*/ 5304421 h 5321354"/>
              <a:gd name="connsiteX133-9339" fmla="*/ 5917906 w 10693106"/>
              <a:gd name="connsiteY133-9340" fmla="*/ 5321354 h 5321354"/>
              <a:gd name="connsiteX134-9341" fmla="*/ 5748573 w 10693106"/>
              <a:gd name="connsiteY134-9342" fmla="*/ 5312888 h 5321354"/>
              <a:gd name="connsiteX135-9343" fmla="*/ 5282906 w 10693106"/>
              <a:gd name="connsiteY135-9344" fmla="*/ 5202821 h 5321354"/>
              <a:gd name="connsiteX136-9345" fmla="*/ 5138973 w 10693106"/>
              <a:gd name="connsiteY136-9346" fmla="*/ 5101221 h 5321354"/>
              <a:gd name="connsiteX137-9347" fmla="*/ 5020440 w 10693106"/>
              <a:gd name="connsiteY137-9348" fmla="*/ 4948821 h 5321354"/>
              <a:gd name="connsiteX138-9349" fmla="*/ 4952706 w 10693106"/>
              <a:gd name="connsiteY138-9350" fmla="*/ 4872621 h 5321354"/>
              <a:gd name="connsiteX139-9351" fmla="*/ 4884973 w 10693106"/>
              <a:gd name="connsiteY139-9352" fmla="*/ 4804888 h 5321354"/>
              <a:gd name="connsiteX140-9353" fmla="*/ 4732573 w 10693106"/>
              <a:gd name="connsiteY140-9354" fmla="*/ 4627088 h 5321354"/>
              <a:gd name="connsiteX141-9355" fmla="*/ 4673306 w 10693106"/>
              <a:gd name="connsiteY141-9356" fmla="*/ 4559354 h 5321354"/>
              <a:gd name="connsiteX142-9357" fmla="*/ 4487040 w 10693106"/>
              <a:gd name="connsiteY142-9358" fmla="*/ 4432354 h 5321354"/>
              <a:gd name="connsiteX143-9359" fmla="*/ 4187743 w 10693106"/>
              <a:gd name="connsiteY143-9360" fmla="*/ 4550888 h 5321354"/>
              <a:gd name="connsiteX144-9361" fmla="*/ 4038306 w 10693106"/>
              <a:gd name="connsiteY144-9362" fmla="*/ 4395101 h 5321354"/>
              <a:gd name="connsiteX145-9363" fmla="*/ 3965493 w 10693106"/>
              <a:gd name="connsiteY145-9364" fmla="*/ 4280801 h 5321354"/>
              <a:gd name="connsiteX146-9365" fmla="*/ 3882520 w 10693106"/>
              <a:gd name="connsiteY146-9366" fmla="*/ 4210104 h 5321354"/>
              <a:gd name="connsiteX147-9367" fmla="*/ 3895643 w 10693106"/>
              <a:gd name="connsiteY147-9368" fmla="*/ 4089031 h 5321354"/>
              <a:gd name="connsiteX148-9369" fmla="*/ 3919773 w 10693106"/>
              <a:gd name="connsiteY148-9370" fmla="*/ 3949754 h 5321354"/>
              <a:gd name="connsiteX149-9371" fmla="*/ 3877440 w 10693106"/>
              <a:gd name="connsiteY149-9372" fmla="*/ 3653421 h 5321354"/>
              <a:gd name="connsiteX150-9373" fmla="*/ 3852040 w 10693106"/>
              <a:gd name="connsiteY150-9374" fmla="*/ 3560288 h 5321354"/>
              <a:gd name="connsiteX151-9375" fmla="*/ 3801240 w 10693106"/>
              <a:gd name="connsiteY151-9376" fmla="*/ 3450221 h 5321354"/>
              <a:gd name="connsiteX152-9377" fmla="*/ 3733506 w 10693106"/>
              <a:gd name="connsiteY152-9378" fmla="*/ 3348621 h 5321354"/>
              <a:gd name="connsiteX153-9379" fmla="*/ 3242440 w 10693106"/>
              <a:gd name="connsiteY153-9380" fmla="*/ 3128488 h 5321354"/>
              <a:gd name="connsiteX154-9381" fmla="*/ 3123906 w 10693106"/>
              <a:gd name="connsiteY154-9382" fmla="*/ 3026888 h 5321354"/>
              <a:gd name="connsiteX155-9383" fmla="*/ 2988440 w 10693106"/>
              <a:gd name="connsiteY155-9384" fmla="*/ 2832154 h 5321354"/>
              <a:gd name="connsiteX156-9385" fmla="*/ 2971506 w 10693106"/>
              <a:gd name="connsiteY156-9386" fmla="*/ 2772888 h 5321354"/>
              <a:gd name="connsiteX157-9387" fmla="*/ 2996906 w 10693106"/>
              <a:gd name="connsiteY157-9388" fmla="*/ 2561221 h 5321354"/>
              <a:gd name="connsiteX158-9389" fmla="*/ 3013840 w 10693106"/>
              <a:gd name="connsiteY158-9390" fmla="*/ 2459621 h 5321354"/>
              <a:gd name="connsiteX159-9391" fmla="*/ 3005373 w 10693106"/>
              <a:gd name="connsiteY159-9392" fmla="*/ 2341088 h 5321354"/>
              <a:gd name="connsiteX160-9393" fmla="*/ 2988440 w 10693106"/>
              <a:gd name="connsiteY160-9394" fmla="*/ 2290288 h 5321354"/>
              <a:gd name="connsiteX161-9395" fmla="*/ 2802173 w 10693106"/>
              <a:gd name="connsiteY161-9396" fmla="*/ 2036288 h 5321354"/>
              <a:gd name="connsiteX162-9397" fmla="*/ 2641306 w 10693106"/>
              <a:gd name="connsiteY162-9398" fmla="*/ 1892354 h 5321354"/>
              <a:gd name="connsiteX163-9399" fmla="*/ 2590506 w 10693106"/>
              <a:gd name="connsiteY163-9400" fmla="*/ 1866954 h 5321354"/>
              <a:gd name="connsiteX164-9401" fmla="*/ 2531240 w 10693106"/>
              <a:gd name="connsiteY164-9402" fmla="*/ 1858488 h 5321354"/>
              <a:gd name="connsiteX165-9403" fmla="*/ 2446573 w 10693106"/>
              <a:gd name="connsiteY165-9404" fmla="*/ 1841554 h 5321354"/>
              <a:gd name="connsiteX166-9405" fmla="*/ 2251840 w 10693106"/>
              <a:gd name="connsiteY166-9406" fmla="*/ 1866954 h 5321354"/>
              <a:gd name="connsiteX167-9407" fmla="*/ 2167173 w 10693106"/>
              <a:gd name="connsiteY167-9408" fmla="*/ 1909288 h 5321354"/>
              <a:gd name="connsiteX168-9409" fmla="*/ 1980906 w 10693106"/>
              <a:gd name="connsiteY168-9410" fmla="*/ 1968554 h 5321354"/>
              <a:gd name="connsiteX169-9411" fmla="*/ 1904706 w 10693106"/>
              <a:gd name="connsiteY169-9412" fmla="*/ 2002421 h 5321354"/>
              <a:gd name="connsiteX170-9413" fmla="*/ 1828506 w 10693106"/>
              <a:gd name="connsiteY170-9414" fmla="*/ 2019354 h 5321354"/>
              <a:gd name="connsiteX171-9415" fmla="*/ 1726906 w 10693106"/>
              <a:gd name="connsiteY171-9416" fmla="*/ 2070154 h 5321354"/>
              <a:gd name="connsiteX172-9417" fmla="*/ 1659173 w 10693106"/>
              <a:gd name="connsiteY172-9418" fmla="*/ 2104021 h 5321354"/>
              <a:gd name="connsiteX173-9419" fmla="*/ 1498306 w 10693106"/>
              <a:gd name="connsiteY173-9420" fmla="*/ 2129421 h 5321354"/>
              <a:gd name="connsiteX174-9421" fmla="*/ 914106 w 10693106"/>
              <a:gd name="connsiteY174-9422" fmla="*/ 2061688 h 5321354"/>
              <a:gd name="connsiteX175-9423" fmla="*/ 617773 w 10693106"/>
              <a:gd name="connsiteY175-9424" fmla="*/ 1951621 h 5321354"/>
              <a:gd name="connsiteX176-9425" fmla="*/ 516173 w 10693106"/>
              <a:gd name="connsiteY176-9426" fmla="*/ 1866954 h 5321354"/>
              <a:gd name="connsiteX177-9427" fmla="*/ 355306 w 10693106"/>
              <a:gd name="connsiteY177-9428" fmla="*/ 1655288 h 5321354"/>
              <a:gd name="connsiteX178-9429" fmla="*/ 296040 w 10693106"/>
              <a:gd name="connsiteY178-9430" fmla="*/ 1553688 h 5321354"/>
              <a:gd name="connsiteX179-9431" fmla="*/ 253706 w 10693106"/>
              <a:gd name="connsiteY179-9432" fmla="*/ 1375888 h 5321354"/>
              <a:gd name="connsiteX180-9433" fmla="*/ 245240 w 10693106"/>
              <a:gd name="connsiteY180-9434" fmla="*/ 1248888 h 5321354"/>
              <a:gd name="connsiteX181-9435" fmla="*/ 236773 w 10693106"/>
              <a:gd name="connsiteY181-9436" fmla="*/ 1147288 h 5321354"/>
              <a:gd name="connsiteX182-9437" fmla="*/ 245240 w 10693106"/>
              <a:gd name="connsiteY182-9438" fmla="*/ 876354 h 5321354"/>
              <a:gd name="connsiteX183-9439" fmla="*/ 236773 w 10693106"/>
              <a:gd name="connsiteY183-9440" fmla="*/ 732421 h 5321354"/>
              <a:gd name="connsiteX184-9441" fmla="*/ 109773 w 10693106"/>
              <a:gd name="connsiteY184-9442" fmla="*/ 588488 h 5321354"/>
              <a:gd name="connsiteX185-9443" fmla="*/ 58973 w 10693106"/>
              <a:gd name="connsiteY185-9444" fmla="*/ 512288 h 5321354"/>
              <a:gd name="connsiteX186-9445" fmla="*/ 16640 w 10693106"/>
              <a:gd name="connsiteY186-9446" fmla="*/ 461488 h 5321354"/>
              <a:gd name="connsiteX187-9447" fmla="*/ 8173 w 10693106"/>
              <a:gd name="connsiteY187-9448" fmla="*/ 419154 h 5321354"/>
              <a:gd name="connsiteX188-9449" fmla="*/ 16640 w 10693106"/>
              <a:gd name="connsiteY188-9450" fmla="*/ 368354 h 5321354"/>
              <a:gd name="connsiteX0-9451" fmla="*/ 16640 w 10693106"/>
              <a:gd name="connsiteY0-9452" fmla="*/ 368354 h 5321354"/>
              <a:gd name="connsiteX1-9453" fmla="*/ 58973 w 10693106"/>
              <a:gd name="connsiteY1-9454" fmla="*/ 275221 h 5321354"/>
              <a:gd name="connsiteX2-9455" fmla="*/ 109773 w 10693106"/>
              <a:gd name="connsiteY2-9456" fmla="*/ 207488 h 5321354"/>
              <a:gd name="connsiteX3-9457" fmla="*/ 202906 w 10693106"/>
              <a:gd name="connsiteY3-9458" fmla="*/ 122821 h 5321354"/>
              <a:gd name="connsiteX4-9459" fmla="*/ 236773 w 10693106"/>
              <a:gd name="connsiteY4-9460" fmla="*/ 97421 h 5321354"/>
              <a:gd name="connsiteX5-9461" fmla="*/ 346840 w 10693106"/>
              <a:gd name="connsiteY5-9462" fmla="*/ 38154 h 5321354"/>
              <a:gd name="connsiteX6-9463" fmla="*/ 397640 w 10693106"/>
              <a:gd name="connsiteY6-9464" fmla="*/ 4288 h 5321354"/>
              <a:gd name="connsiteX7-9465" fmla="*/ 467297 w 10693106"/>
              <a:gd name="connsiteY7-9466" fmla="*/ 143218 h 5321354"/>
              <a:gd name="connsiteX8-9467" fmla="*/ 492697 w 10693106"/>
              <a:gd name="connsiteY8-9468" fmla="*/ 103579 h 5321354"/>
              <a:gd name="connsiteX9-9469" fmla="*/ 822897 w 10693106"/>
              <a:gd name="connsiteY9-9470" fmla="*/ 112045 h 5321354"/>
              <a:gd name="connsiteX10-9471" fmla="*/ 1091906 w 10693106"/>
              <a:gd name="connsiteY10-9472" fmla="*/ 29688 h 5321354"/>
              <a:gd name="connsiteX11-9473" fmla="*/ 1235840 w 10693106"/>
              <a:gd name="connsiteY11-9474" fmla="*/ 88954 h 5321354"/>
              <a:gd name="connsiteX12-9475" fmla="*/ 1337440 w 10693106"/>
              <a:gd name="connsiteY12-9476" fmla="*/ 165154 h 5321354"/>
              <a:gd name="connsiteX13-9477" fmla="*/ 1422106 w 10693106"/>
              <a:gd name="connsiteY13-9478" fmla="*/ 275221 h 5321354"/>
              <a:gd name="connsiteX14-9479" fmla="*/ 1481373 w 10693106"/>
              <a:gd name="connsiteY14-9480" fmla="*/ 342954 h 5321354"/>
              <a:gd name="connsiteX15-9481" fmla="*/ 1532173 w 10693106"/>
              <a:gd name="connsiteY15-9482" fmla="*/ 376821 h 5321354"/>
              <a:gd name="connsiteX16-9483" fmla="*/ 1684573 w 10693106"/>
              <a:gd name="connsiteY16-9484" fmla="*/ 436088 h 5321354"/>
              <a:gd name="connsiteX17-9485" fmla="*/ 1760773 w 10693106"/>
              <a:gd name="connsiteY17-9486" fmla="*/ 453021 h 5321354"/>
              <a:gd name="connsiteX18-9487" fmla="*/ 1997840 w 10693106"/>
              <a:gd name="connsiteY18-9488" fmla="*/ 444554 h 5321354"/>
              <a:gd name="connsiteX19-9489" fmla="*/ 2116373 w 10693106"/>
              <a:gd name="connsiteY19-9490" fmla="*/ 427621 h 5321354"/>
              <a:gd name="connsiteX20-9491" fmla="*/ 2260306 w 10693106"/>
              <a:gd name="connsiteY20-9492" fmla="*/ 410688 h 5321354"/>
              <a:gd name="connsiteX21-9493" fmla="*/ 2404240 w 10693106"/>
              <a:gd name="connsiteY21-9494" fmla="*/ 385288 h 5321354"/>
              <a:gd name="connsiteX22-9495" fmla="*/ 2455040 w 10693106"/>
              <a:gd name="connsiteY22-9496" fmla="*/ 359888 h 5321354"/>
              <a:gd name="connsiteX23-9497" fmla="*/ 2531240 w 10693106"/>
              <a:gd name="connsiteY23-9498" fmla="*/ 334488 h 5321354"/>
              <a:gd name="connsiteX24-9499" fmla="*/ 2683640 w 10693106"/>
              <a:gd name="connsiteY24-9500" fmla="*/ 207488 h 5321354"/>
              <a:gd name="connsiteX25-9501" fmla="*/ 2742906 w 10693106"/>
              <a:gd name="connsiteY25-9502" fmla="*/ 215954 h 5321354"/>
              <a:gd name="connsiteX26-9503" fmla="*/ 2764920 w 10693106"/>
              <a:gd name="connsiteY26-9504" fmla="*/ 202408 h 5321354"/>
              <a:gd name="connsiteX27-9505" fmla="*/ 2832653 w 10693106"/>
              <a:gd name="connsiteY27-9506" fmla="*/ 197328 h 5321354"/>
              <a:gd name="connsiteX28-9507" fmla="*/ 3002294 w 10693106"/>
              <a:gd name="connsiteY28-9508" fmla="*/ 184012 h 5321354"/>
              <a:gd name="connsiteX29-9509" fmla="*/ 3142763 w 10693106"/>
              <a:gd name="connsiteY29-9510" fmla="*/ 139753 h 5321354"/>
              <a:gd name="connsiteX30-9511" fmla="*/ 3398918 w 10693106"/>
              <a:gd name="connsiteY30-9512" fmla="*/ 101654 h 5321354"/>
              <a:gd name="connsiteX31-9513" fmla="*/ 3606506 w 10693106"/>
              <a:gd name="connsiteY31-9514" fmla="*/ 89725 h 5321354"/>
              <a:gd name="connsiteX32-9515" fmla="*/ 3682706 w 10693106"/>
              <a:gd name="connsiteY32-9516" fmla="*/ 109274 h 5321354"/>
              <a:gd name="connsiteX33-9517" fmla="*/ 3741973 w 10693106"/>
              <a:gd name="connsiteY33-9518" fmla="*/ 115893 h 5321354"/>
              <a:gd name="connsiteX34-9519" fmla="*/ 3792773 w 10693106"/>
              <a:gd name="connsiteY34-9520" fmla="*/ 151608 h 5321354"/>
              <a:gd name="connsiteX35-9521" fmla="*/ 3831720 w 10693106"/>
              <a:gd name="connsiteY35-9522" fmla="*/ 166848 h 5321354"/>
              <a:gd name="connsiteX36-9523" fmla="*/ 3896297 w 10693106"/>
              <a:gd name="connsiteY36-9524" fmla="*/ 186321 h 5321354"/>
              <a:gd name="connsiteX37-9525" fmla="*/ 3950253 w 10693106"/>
              <a:gd name="connsiteY37-9526" fmla="*/ 205794 h 5321354"/>
              <a:gd name="connsiteX38-9527" fmla="*/ 3995973 w 10693106"/>
              <a:gd name="connsiteY38-9528" fmla="*/ 139754 h 5321354"/>
              <a:gd name="connsiteX39-9529" fmla="*/ 4021373 w 10693106"/>
              <a:gd name="connsiteY39-9530" fmla="*/ 173621 h 5321354"/>
              <a:gd name="connsiteX40-9531" fmla="*/ 4055240 w 10693106"/>
              <a:gd name="connsiteY40-9532" fmla="*/ 182088 h 5321354"/>
              <a:gd name="connsiteX41-9533" fmla="*/ 4275373 w 10693106"/>
              <a:gd name="connsiteY41-9534" fmla="*/ 224421 h 5321354"/>
              <a:gd name="connsiteX42-9535" fmla="*/ 4402373 w 10693106"/>
              <a:gd name="connsiteY42-9536" fmla="*/ 258288 h 5321354"/>
              <a:gd name="connsiteX43-9537" fmla="*/ 4529373 w 10693106"/>
              <a:gd name="connsiteY43-9538" fmla="*/ 300621 h 5321354"/>
              <a:gd name="connsiteX44-9539" fmla="*/ 4859573 w 10693106"/>
              <a:gd name="connsiteY44-9540" fmla="*/ 376821 h 5321354"/>
              <a:gd name="connsiteX45-9541" fmla="*/ 5045840 w 10693106"/>
              <a:gd name="connsiteY45-9542" fmla="*/ 453021 h 5321354"/>
              <a:gd name="connsiteX46-9543" fmla="*/ 5325240 w 10693106"/>
              <a:gd name="connsiteY46-9544" fmla="*/ 613888 h 5321354"/>
              <a:gd name="connsiteX47-9545" fmla="*/ 5494573 w 10693106"/>
              <a:gd name="connsiteY47-9546" fmla="*/ 766288 h 5321354"/>
              <a:gd name="connsiteX48-9547" fmla="*/ 5562306 w 10693106"/>
              <a:gd name="connsiteY48-9548" fmla="*/ 842488 h 5321354"/>
              <a:gd name="connsiteX49-9549" fmla="*/ 5621573 w 10693106"/>
              <a:gd name="connsiteY49-9550" fmla="*/ 893288 h 5321354"/>
              <a:gd name="connsiteX50-9551" fmla="*/ 5672373 w 10693106"/>
              <a:gd name="connsiteY50-9552" fmla="*/ 961021 h 5321354"/>
              <a:gd name="connsiteX51-9553" fmla="*/ 5757040 w 10693106"/>
              <a:gd name="connsiteY51-9554" fmla="*/ 1062621 h 5321354"/>
              <a:gd name="connsiteX52-9555" fmla="*/ 5833240 w 10693106"/>
              <a:gd name="connsiteY52-9556" fmla="*/ 1155754 h 5321354"/>
              <a:gd name="connsiteX53-9557" fmla="*/ 6019506 w 10693106"/>
              <a:gd name="connsiteY53-9558" fmla="*/ 1358954 h 5321354"/>
              <a:gd name="connsiteX54-9559" fmla="*/ 6087240 w 10693106"/>
              <a:gd name="connsiteY54-9560" fmla="*/ 1409754 h 5321354"/>
              <a:gd name="connsiteX55-9561" fmla="*/ 6171906 w 10693106"/>
              <a:gd name="connsiteY55-9562" fmla="*/ 1511354 h 5321354"/>
              <a:gd name="connsiteX56-9563" fmla="*/ 6451306 w 10693106"/>
              <a:gd name="connsiteY56-9564" fmla="*/ 1723021 h 5321354"/>
              <a:gd name="connsiteX57-9565" fmla="*/ 6519040 w 10693106"/>
              <a:gd name="connsiteY57-9566" fmla="*/ 1731488 h 5321354"/>
              <a:gd name="connsiteX58-9567" fmla="*/ 6603706 w 10693106"/>
              <a:gd name="connsiteY58-9568" fmla="*/ 1765354 h 5321354"/>
              <a:gd name="connsiteX59-9569" fmla="*/ 6671440 w 10693106"/>
              <a:gd name="connsiteY59-9570" fmla="*/ 1799221 h 5321354"/>
              <a:gd name="connsiteX60-9571" fmla="*/ 6866173 w 10693106"/>
              <a:gd name="connsiteY60-9572" fmla="*/ 1824621 h 5321354"/>
              <a:gd name="connsiteX61-9573" fmla="*/ 7196373 w 10693106"/>
              <a:gd name="connsiteY61-9574" fmla="*/ 1807688 h 5321354"/>
              <a:gd name="connsiteX62-9575" fmla="*/ 7509640 w 10693106"/>
              <a:gd name="connsiteY62-9576" fmla="*/ 1731488 h 5321354"/>
              <a:gd name="connsiteX63-9577" fmla="*/ 7628173 w 10693106"/>
              <a:gd name="connsiteY63-9578" fmla="*/ 1706088 h 5321354"/>
              <a:gd name="connsiteX64-9579" fmla="*/ 7704373 w 10693106"/>
              <a:gd name="connsiteY64-9580" fmla="*/ 1663754 h 5321354"/>
              <a:gd name="connsiteX65-9581" fmla="*/ 7755173 w 10693106"/>
              <a:gd name="connsiteY65-9582" fmla="*/ 1655288 h 5321354"/>
              <a:gd name="connsiteX66-9583" fmla="*/ 7797506 w 10693106"/>
              <a:gd name="connsiteY66-9584" fmla="*/ 1621421 h 5321354"/>
              <a:gd name="connsiteX67-9585" fmla="*/ 7856773 w 10693106"/>
              <a:gd name="connsiteY67-9586" fmla="*/ 1604488 h 5321354"/>
              <a:gd name="connsiteX68-9587" fmla="*/ 7958373 w 10693106"/>
              <a:gd name="connsiteY68-9588" fmla="*/ 1536754 h 5321354"/>
              <a:gd name="connsiteX69-9589" fmla="*/ 8009173 w 10693106"/>
              <a:gd name="connsiteY69-9590" fmla="*/ 1485954 h 5321354"/>
              <a:gd name="connsiteX70-9591" fmla="*/ 8339373 w 10693106"/>
              <a:gd name="connsiteY70-9592" fmla="*/ 1240421 h 5321354"/>
              <a:gd name="connsiteX71-9593" fmla="*/ 8576440 w 10693106"/>
              <a:gd name="connsiteY71-9594" fmla="*/ 986421 h 5321354"/>
              <a:gd name="connsiteX72-9595" fmla="*/ 8652640 w 10693106"/>
              <a:gd name="connsiteY72-9596" fmla="*/ 707021 h 5321354"/>
              <a:gd name="connsiteX73-9597" fmla="*/ 8847373 w 10693106"/>
              <a:gd name="connsiteY73-9598" fmla="*/ 520754 h 5321354"/>
              <a:gd name="connsiteX74-9599" fmla="*/ 8982840 w 10693106"/>
              <a:gd name="connsiteY74-9600" fmla="*/ 427621 h 5321354"/>
              <a:gd name="connsiteX75-9601" fmla="*/ 9084440 w 10693106"/>
              <a:gd name="connsiteY75-9602" fmla="*/ 393754 h 5321354"/>
              <a:gd name="connsiteX76-9603" fmla="*/ 9152173 w 10693106"/>
              <a:gd name="connsiteY76-9604" fmla="*/ 368354 h 5321354"/>
              <a:gd name="connsiteX77-9605" fmla="*/ 9380773 w 10693106"/>
              <a:gd name="connsiteY77-9606" fmla="*/ 385288 h 5321354"/>
              <a:gd name="connsiteX78-9607" fmla="*/ 9744840 w 10693106"/>
              <a:gd name="connsiteY78-9608" fmla="*/ 495354 h 5321354"/>
              <a:gd name="connsiteX79-9609" fmla="*/ 9888773 w 10693106"/>
              <a:gd name="connsiteY79-9610" fmla="*/ 537688 h 5321354"/>
              <a:gd name="connsiteX80-9611" fmla="*/ 9998840 w 10693106"/>
              <a:gd name="connsiteY80-9612" fmla="*/ 588488 h 5321354"/>
              <a:gd name="connsiteX81-9613" fmla="*/ 10083506 w 10693106"/>
              <a:gd name="connsiteY81-9614" fmla="*/ 647754 h 5321354"/>
              <a:gd name="connsiteX82-9615" fmla="*/ 10286706 w 10693106"/>
              <a:gd name="connsiteY82-9616" fmla="*/ 715488 h 5321354"/>
              <a:gd name="connsiteX83-9617" fmla="*/ 10388306 w 10693106"/>
              <a:gd name="connsiteY83-9618" fmla="*/ 918688 h 5321354"/>
              <a:gd name="connsiteX84-9619" fmla="*/ 10540706 w 10693106"/>
              <a:gd name="connsiteY84-9620" fmla="*/ 1291221 h 5321354"/>
              <a:gd name="connsiteX85-9621" fmla="*/ 10557640 w 10693106"/>
              <a:gd name="connsiteY85-9622" fmla="*/ 1375888 h 5321354"/>
              <a:gd name="connsiteX86-9623" fmla="*/ 10583040 w 10693106"/>
              <a:gd name="connsiteY86-9624" fmla="*/ 1477488 h 5321354"/>
              <a:gd name="connsiteX87-9625" fmla="*/ 10616906 w 10693106"/>
              <a:gd name="connsiteY87-9626" fmla="*/ 1680688 h 5321354"/>
              <a:gd name="connsiteX88-9627" fmla="*/ 10633840 w 10693106"/>
              <a:gd name="connsiteY88-9628" fmla="*/ 1765354 h 5321354"/>
              <a:gd name="connsiteX89-9629" fmla="*/ 10650773 w 10693106"/>
              <a:gd name="connsiteY89-9630" fmla="*/ 1799221 h 5321354"/>
              <a:gd name="connsiteX90-9631" fmla="*/ 10676173 w 10693106"/>
              <a:gd name="connsiteY90-9632" fmla="*/ 1883888 h 5321354"/>
              <a:gd name="connsiteX91-9633" fmla="*/ 10693106 w 10693106"/>
              <a:gd name="connsiteY91-9634" fmla="*/ 2036288 h 5321354"/>
              <a:gd name="connsiteX92-9635" fmla="*/ 10625373 w 10693106"/>
              <a:gd name="connsiteY92-9636" fmla="*/ 2256421 h 5321354"/>
              <a:gd name="connsiteX93-9637" fmla="*/ 10608440 w 10693106"/>
              <a:gd name="connsiteY93-9638" fmla="*/ 2281821 h 5321354"/>
              <a:gd name="connsiteX94-9639" fmla="*/ 10540706 w 10693106"/>
              <a:gd name="connsiteY94-9640" fmla="*/ 2425754 h 5321354"/>
              <a:gd name="connsiteX95-9641" fmla="*/ 10498373 w 10693106"/>
              <a:gd name="connsiteY95-9642" fmla="*/ 2510421 h 5321354"/>
              <a:gd name="connsiteX96-9643" fmla="*/ 10439106 w 10693106"/>
              <a:gd name="connsiteY96-9644" fmla="*/ 2696688 h 5321354"/>
              <a:gd name="connsiteX97-9645" fmla="*/ 10430640 w 10693106"/>
              <a:gd name="connsiteY97-9646" fmla="*/ 2739021 h 5321354"/>
              <a:gd name="connsiteX98-9647" fmla="*/ 10405240 w 10693106"/>
              <a:gd name="connsiteY98-9648" fmla="*/ 2815221 h 5321354"/>
              <a:gd name="connsiteX99-9649" fmla="*/ 10396773 w 10693106"/>
              <a:gd name="connsiteY99-9650" fmla="*/ 2849088 h 5321354"/>
              <a:gd name="connsiteX100-9651" fmla="*/ 10362906 w 10693106"/>
              <a:gd name="connsiteY100-9652" fmla="*/ 2942221 h 5321354"/>
              <a:gd name="connsiteX101-9653" fmla="*/ 10329040 w 10693106"/>
              <a:gd name="connsiteY101-9654" fmla="*/ 2984554 h 5321354"/>
              <a:gd name="connsiteX102-9655" fmla="*/ 10227440 w 10693106"/>
              <a:gd name="connsiteY102-9656" fmla="*/ 3086154 h 5321354"/>
              <a:gd name="connsiteX103-9657" fmla="*/ 10168173 w 10693106"/>
              <a:gd name="connsiteY103-9658" fmla="*/ 3153888 h 5321354"/>
              <a:gd name="connsiteX104-9659" fmla="*/ 10117373 w 10693106"/>
              <a:gd name="connsiteY104-9660" fmla="*/ 3204688 h 5321354"/>
              <a:gd name="connsiteX105-9661" fmla="*/ 10032706 w 10693106"/>
              <a:gd name="connsiteY105-9662" fmla="*/ 3306288 h 5321354"/>
              <a:gd name="connsiteX106-9663" fmla="*/ 9948040 w 10693106"/>
              <a:gd name="connsiteY106-9664" fmla="*/ 3365554 h 5321354"/>
              <a:gd name="connsiteX107-9665" fmla="*/ 9905706 w 10693106"/>
              <a:gd name="connsiteY107-9666" fmla="*/ 3390954 h 5321354"/>
              <a:gd name="connsiteX108-9667" fmla="*/ 9829506 w 10693106"/>
              <a:gd name="connsiteY108-9668" fmla="*/ 3407888 h 5321354"/>
              <a:gd name="connsiteX109-9669" fmla="*/ 9727906 w 10693106"/>
              <a:gd name="connsiteY109-9670" fmla="*/ 3450221 h 5321354"/>
              <a:gd name="connsiteX110-9671" fmla="*/ 9634773 w 10693106"/>
              <a:gd name="connsiteY110-9672" fmla="*/ 3475621 h 5321354"/>
              <a:gd name="connsiteX111-9673" fmla="*/ 9456973 w 10693106"/>
              <a:gd name="connsiteY111-9674" fmla="*/ 3568754 h 5321354"/>
              <a:gd name="connsiteX112-9675" fmla="*/ 9313040 w 10693106"/>
              <a:gd name="connsiteY112-9676" fmla="*/ 3695754 h 5321354"/>
              <a:gd name="connsiteX113-9677" fmla="*/ 9279173 w 10693106"/>
              <a:gd name="connsiteY113-9678" fmla="*/ 3712688 h 5321354"/>
              <a:gd name="connsiteX114-9679" fmla="*/ 9067506 w 10693106"/>
              <a:gd name="connsiteY114-9680" fmla="*/ 3890488 h 5321354"/>
              <a:gd name="connsiteX115-9681" fmla="*/ 8999773 w 10693106"/>
              <a:gd name="connsiteY115-9682" fmla="*/ 3958221 h 5321354"/>
              <a:gd name="connsiteX116-9683" fmla="*/ 8813506 w 10693106"/>
              <a:gd name="connsiteY116-9684" fmla="*/ 4093688 h 5321354"/>
              <a:gd name="connsiteX117-9685" fmla="*/ 8728840 w 10693106"/>
              <a:gd name="connsiteY117-9686" fmla="*/ 4136021 h 5321354"/>
              <a:gd name="connsiteX118-9687" fmla="*/ 8373240 w 10693106"/>
              <a:gd name="connsiteY118-9688" fmla="*/ 4169888 h 5321354"/>
              <a:gd name="connsiteX119-9689" fmla="*/ 7966840 w 10693106"/>
              <a:gd name="connsiteY119-9690" fmla="*/ 4263021 h 5321354"/>
              <a:gd name="connsiteX120-9691" fmla="*/ 7687440 w 10693106"/>
              <a:gd name="connsiteY120-9692" fmla="*/ 4423888 h 5321354"/>
              <a:gd name="connsiteX121-9693" fmla="*/ 7551973 w 10693106"/>
              <a:gd name="connsiteY121-9694" fmla="*/ 4508554 h 5321354"/>
              <a:gd name="connsiteX122-9695" fmla="*/ 7374173 w 10693106"/>
              <a:gd name="connsiteY122-9696" fmla="*/ 4686354 h 5321354"/>
              <a:gd name="connsiteX123-9697" fmla="*/ 7374173 w 10693106"/>
              <a:gd name="connsiteY123-9698" fmla="*/ 4686354 h 5321354"/>
              <a:gd name="connsiteX124-9699" fmla="*/ 7221773 w 10693106"/>
              <a:gd name="connsiteY124-9700" fmla="*/ 4804888 h 5321354"/>
              <a:gd name="connsiteX125-9701" fmla="*/ 7027040 w 10693106"/>
              <a:gd name="connsiteY125-9702" fmla="*/ 4931888 h 5321354"/>
              <a:gd name="connsiteX126-9703" fmla="*/ 6883106 w 10693106"/>
              <a:gd name="connsiteY126-9704" fmla="*/ 4999621 h 5321354"/>
              <a:gd name="connsiteX127-9705" fmla="*/ 6815373 w 10693106"/>
              <a:gd name="connsiteY127-9706" fmla="*/ 5041954 h 5321354"/>
              <a:gd name="connsiteX128-9707" fmla="*/ 6646040 w 10693106"/>
              <a:gd name="connsiteY128-9708" fmla="*/ 5135088 h 5321354"/>
              <a:gd name="connsiteX129-9709" fmla="*/ 6527506 w 10693106"/>
              <a:gd name="connsiteY129-9710" fmla="*/ 5194354 h 5321354"/>
              <a:gd name="connsiteX130-9711" fmla="*/ 6298906 w 10693106"/>
              <a:gd name="connsiteY130-9712" fmla="*/ 5270554 h 5321354"/>
              <a:gd name="connsiteX131-9713" fmla="*/ 6197306 w 10693106"/>
              <a:gd name="connsiteY131-9714" fmla="*/ 5295954 h 5321354"/>
              <a:gd name="connsiteX132-9715" fmla="*/ 6061840 w 10693106"/>
              <a:gd name="connsiteY132-9716" fmla="*/ 5304421 h 5321354"/>
              <a:gd name="connsiteX133-9717" fmla="*/ 5917906 w 10693106"/>
              <a:gd name="connsiteY133-9718" fmla="*/ 5321354 h 5321354"/>
              <a:gd name="connsiteX134-9719" fmla="*/ 5748573 w 10693106"/>
              <a:gd name="connsiteY134-9720" fmla="*/ 5312888 h 5321354"/>
              <a:gd name="connsiteX135-9721" fmla="*/ 5282906 w 10693106"/>
              <a:gd name="connsiteY135-9722" fmla="*/ 5202821 h 5321354"/>
              <a:gd name="connsiteX136-9723" fmla="*/ 5138973 w 10693106"/>
              <a:gd name="connsiteY136-9724" fmla="*/ 5101221 h 5321354"/>
              <a:gd name="connsiteX137-9725" fmla="*/ 5020440 w 10693106"/>
              <a:gd name="connsiteY137-9726" fmla="*/ 4948821 h 5321354"/>
              <a:gd name="connsiteX138-9727" fmla="*/ 4952706 w 10693106"/>
              <a:gd name="connsiteY138-9728" fmla="*/ 4872621 h 5321354"/>
              <a:gd name="connsiteX139-9729" fmla="*/ 4884973 w 10693106"/>
              <a:gd name="connsiteY139-9730" fmla="*/ 4804888 h 5321354"/>
              <a:gd name="connsiteX140-9731" fmla="*/ 4732573 w 10693106"/>
              <a:gd name="connsiteY140-9732" fmla="*/ 4627088 h 5321354"/>
              <a:gd name="connsiteX141-9733" fmla="*/ 4673306 w 10693106"/>
              <a:gd name="connsiteY141-9734" fmla="*/ 4559354 h 5321354"/>
              <a:gd name="connsiteX142-9735" fmla="*/ 4487040 w 10693106"/>
              <a:gd name="connsiteY142-9736" fmla="*/ 4432354 h 5321354"/>
              <a:gd name="connsiteX143-9737" fmla="*/ 4187743 w 10693106"/>
              <a:gd name="connsiteY143-9738" fmla="*/ 4550888 h 5321354"/>
              <a:gd name="connsiteX144-9739" fmla="*/ 4038306 w 10693106"/>
              <a:gd name="connsiteY144-9740" fmla="*/ 4395101 h 5321354"/>
              <a:gd name="connsiteX145-9741" fmla="*/ 3893103 w 10693106"/>
              <a:gd name="connsiteY145-9742" fmla="*/ 4284611 h 5321354"/>
              <a:gd name="connsiteX146-9743" fmla="*/ 3882520 w 10693106"/>
              <a:gd name="connsiteY146-9744" fmla="*/ 4210104 h 5321354"/>
              <a:gd name="connsiteX147-9745" fmla="*/ 3895643 w 10693106"/>
              <a:gd name="connsiteY147-9746" fmla="*/ 4089031 h 5321354"/>
              <a:gd name="connsiteX148-9747" fmla="*/ 3919773 w 10693106"/>
              <a:gd name="connsiteY148-9748" fmla="*/ 3949754 h 5321354"/>
              <a:gd name="connsiteX149-9749" fmla="*/ 3877440 w 10693106"/>
              <a:gd name="connsiteY149-9750" fmla="*/ 3653421 h 5321354"/>
              <a:gd name="connsiteX150-9751" fmla="*/ 3852040 w 10693106"/>
              <a:gd name="connsiteY150-9752" fmla="*/ 3560288 h 5321354"/>
              <a:gd name="connsiteX151-9753" fmla="*/ 3801240 w 10693106"/>
              <a:gd name="connsiteY151-9754" fmla="*/ 3450221 h 5321354"/>
              <a:gd name="connsiteX152-9755" fmla="*/ 3733506 w 10693106"/>
              <a:gd name="connsiteY152-9756" fmla="*/ 3348621 h 5321354"/>
              <a:gd name="connsiteX153-9757" fmla="*/ 3242440 w 10693106"/>
              <a:gd name="connsiteY153-9758" fmla="*/ 3128488 h 5321354"/>
              <a:gd name="connsiteX154-9759" fmla="*/ 3123906 w 10693106"/>
              <a:gd name="connsiteY154-9760" fmla="*/ 3026888 h 5321354"/>
              <a:gd name="connsiteX155-9761" fmla="*/ 2988440 w 10693106"/>
              <a:gd name="connsiteY155-9762" fmla="*/ 2832154 h 5321354"/>
              <a:gd name="connsiteX156-9763" fmla="*/ 2971506 w 10693106"/>
              <a:gd name="connsiteY156-9764" fmla="*/ 2772888 h 5321354"/>
              <a:gd name="connsiteX157-9765" fmla="*/ 2996906 w 10693106"/>
              <a:gd name="connsiteY157-9766" fmla="*/ 2561221 h 5321354"/>
              <a:gd name="connsiteX158-9767" fmla="*/ 3013840 w 10693106"/>
              <a:gd name="connsiteY158-9768" fmla="*/ 2459621 h 5321354"/>
              <a:gd name="connsiteX159-9769" fmla="*/ 3005373 w 10693106"/>
              <a:gd name="connsiteY159-9770" fmla="*/ 2341088 h 5321354"/>
              <a:gd name="connsiteX160-9771" fmla="*/ 2988440 w 10693106"/>
              <a:gd name="connsiteY160-9772" fmla="*/ 2290288 h 5321354"/>
              <a:gd name="connsiteX161-9773" fmla="*/ 2802173 w 10693106"/>
              <a:gd name="connsiteY161-9774" fmla="*/ 2036288 h 5321354"/>
              <a:gd name="connsiteX162-9775" fmla="*/ 2641306 w 10693106"/>
              <a:gd name="connsiteY162-9776" fmla="*/ 1892354 h 5321354"/>
              <a:gd name="connsiteX163-9777" fmla="*/ 2590506 w 10693106"/>
              <a:gd name="connsiteY163-9778" fmla="*/ 1866954 h 5321354"/>
              <a:gd name="connsiteX164-9779" fmla="*/ 2531240 w 10693106"/>
              <a:gd name="connsiteY164-9780" fmla="*/ 1858488 h 5321354"/>
              <a:gd name="connsiteX165-9781" fmla="*/ 2446573 w 10693106"/>
              <a:gd name="connsiteY165-9782" fmla="*/ 1841554 h 5321354"/>
              <a:gd name="connsiteX166-9783" fmla="*/ 2251840 w 10693106"/>
              <a:gd name="connsiteY166-9784" fmla="*/ 1866954 h 5321354"/>
              <a:gd name="connsiteX167-9785" fmla="*/ 2167173 w 10693106"/>
              <a:gd name="connsiteY167-9786" fmla="*/ 1909288 h 5321354"/>
              <a:gd name="connsiteX168-9787" fmla="*/ 1980906 w 10693106"/>
              <a:gd name="connsiteY168-9788" fmla="*/ 1968554 h 5321354"/>
              <a:gd name="connsiteX169-9789" fmla="*/ 1904706 w 10693106"/>
              <a:gd name="connsiteY169-9790" fmla="*/ 2002421 h 5321354"/>
              <a:gd name="connsiteX170-9791" fmla="*/ 1828506 w 10693106"/>
              <a:gd name="connsiteY170-9792" fmla="*/ 2019354 h 5321354"/>
              <a:gd name="connsiteX171-9793" fmla="*/ 1726906 w 10693106"/>
              <a:gd name="connsiteY171-9794" fmla="*/ 2070154 h 5321354"/>
              <a:gd name="connsiteX172-9795" fmla="*/ 1659173 w 10693106"/>
              <a:gd name="connsiteY172-9796" fmla="*/ 2104021 h 5321354"/>
              <a:gd name="connsiteX173-9797" fmla="*/ 1498306 w 10693106"/>
              <a:gd name="connsiteY173-9798" fmla="*/ 2129421 h 5321354"/>
              <a:gd name="connsiteX174-9799" fmla="*/ 914106 w 10693106"/>
              <a:gd name="connsiteY174-9800" fmla="*/ 2061688 h 5321354"/>
              <a:gd name="connsiteX175-9801" fmla="*/ 617773 w 10693106"/>
              <a:gd name="connsiteY175-9802" fmla="*/ 1951621 h 5321354"/>
              <a:gd name="connsiteX176-9803" fmla="*/ 516173 w 10693106"/>
              <a:gd name="connsiteY176-9804" fmla="*/ 1866954 h 5321354"/>
              <a:gd name="connsiteX177-9805" fmla="*/ 355306 w 10693106"/>
              <a:gd name="connsiteY177-9806" fmla="*/ 1655288 h 5321354"/>
              <a:gd name="connsiteX178-9807" fmla="*/ 296040 w 10693106"/>
              <a:gd name="connsiteY178-9808" fmla="*/ 1553688 h 5321354"/>
              <a:gd name="connsiteX179-9809" fmla="*/ 253706 w 10693106"/>
              <a:gd name="connsiteY179-9810" fmla="*/ 1375888 h 5321354"/>
              <a:gd name="connsiteX180-9811" fmla="*/ 245240 w 10693106"/>
              <a:gd name="connsiteY180-9812" fmla="*/ 1248888 h 5321354"/>
              <a:gd name="connsiteX181-9813" fmla="*/ 236773 w 10693106"/>
              <a:gd name="connsiteY181-9814" fmla="*/ 1147288 h 5321354"/>
              <a:gd name="connsiteX182-9815" fmla="*/ 245240 w 10693106"/>
              <a:gd name="connsiteY182-9816" fmla="*/ 876354 h 5321354"/>
              <a:gd name="connsiteX183-9817" fmla="*/ 236773 w 10693106"/>
              <a:gd name="connsiteY183-9818" fmla="*/ 732421 h 5321354"/>
              <a:gd name="connsiteX184-9819" fmla="*/ 109773 w 10693106"/>
              <a:gd name="connsiteY184-9820" fmla="*/ 588488 h 5321354"/>
              <a:gd name="connsiteX185-9821" fmla="*/ 58973 w 10693106"/>
              <a:gd name="connsiteY185-9822" fmla="*/ 512288 h 5321354"/>
              <a:gd name="connsiteX186-9823" fmla="*/ 16640 w 10693106"/>
              <a:gd name="connsiteY186-9824" fmla="*/ 461488 h 5321354"/>
              <a:gd name="connsiteX187-9825" fmla="*/ 8173 w 10693106"/>
              <a:gd name="connsiteY187-9826" fmla="*/ 419154 h 5321354"/>
              <a:gd name="connsiteX188-9827" fmla="*/ 16640 w 10693106"/>
              <a:gd name="connsiteY188-9828" fmla="*/ 368354 h 5321354"/>
              <a:gd name="connsiteX0-9829" fmla="*/ 16640 w 10693106"/>
              <a:gd name="connsiteY0-9830" fmla="*/ 368354 h 5321354"/>
              <a:gd name="connsiteX1-9831" fmla="*/ 58973 w 10693106"/>
              <a:gd name="connsiteY1-9832" fmla="*/ 275221 h 5321354"/>
              <a:gd name="connsiteX2-9833" fmla="*/ 109773 w 10693106"/>
              <a:gd name="connsiteY2-9834" fmla="*/ 207488 h 5321354"/>
              <a:gd name="connsiteX3-9835" fmla="*/ 202906 w 10693106"/>
              <a:gd name="connsiteY3-9836" fmla="*/ 122821 h 5321354"/>
              <a:gd name="connsiteX4-9837" fmla="*/ 236773 w 10693106"/>
              <a:gd name="connsiteY4-9838" fmla="*/ 97421 h 5321354"/>
              <a:gd name="connsiteX5-9839" fmla="*/ 346840 w 10693106"/>
              <a:gd name="connsiteY5-9840" fmla="*/ 38154 h 5321354"/>
              <a:gd name="connsiteX6-9841" fmla="*/ 397640 w 10693106"/>
              <a:gd name="connsiteY6-9842" fmla="*/ 4288 h 5321354"/>
              <a:gd name="connsiteX7-9843" fmla="*/ 467297 w 10693106"/>
              <a:gd name="connsiteY7-9844" fmla="*/ 143218 h 5321354"/>
              <a:gd name="connsiteX8-9845" fmla="*/ 492697 w 10693106"/>
              <a:gd name="connsiteY8-9846" fmla="*/ 103579 h 5321354"/>
              <a:gd name="connsiteX9-9847" fmla="*/ 822897 w 10693106"/>
              <a:gd name="connsiteY9-9848" fmla="*/ 112045 h 5321354"/>
              <a:gd name="connsiteX10-9849" fmla="*/ 1091906 w 10693106"/>
              <a:gd name="connsiteY10-9850" fmla="*/ 29688 h 5321354"/>
              <a:gd name="connsiteX11-9851" fmla="*/ 1235840 w 10693106"/>
              <a:gd name="connsiteY11-9852" fmla="*/ 88954 h 5321354"/>
              <a:gd name="connsiteX12-9853" fmla="*/ 1337440 w 10693106"/>
              <a:gd name="connsiteY12-9854" fmla="*/ 165154 h 5321354"/>
              <a:gd name="connsiteX13-9855" fmla="*/ 1422106 w 10693106"/>
              <a:gd name="connsiteY13-9856" fmla="*/ 275221 h 5321354"/>
              <a:gd name="connsiteX14-9857" fmla="*/ 1481373 w 10693106"/>
              <a:gd name="connsiteY14-9858" fmla="*/ 342954 h 5321354"/>
              <a:gd name="connsiteX15-9859" fmla="*/ 1532173 w 10693106"/>
              <a:gd name="connsiteY15-9860" fmla="*/ 376821 h 5321354"/>
              <a:gd name="connsiteX16-9861" fmla="*/ 1684573 w 10693106"/>
              <a:gd name="connsiteY16-9862" fmla="*/ 436088 h 5321354"/>
              <a:gd name="connsiteX17-9863" fmla="*/ 1760773 w 10693106"/>
              <a:gd name="connsiteY17-9864" fmla="*/ 453021 h 5321354"/>
              <a:gd name="connsiteX18-9865" fmla="*/ 1997840 w 10693106"/>
              <a:gd name="connsiteY18-9866" fmla="*/ 444554 h 5321354"/>
              <a:gd name="connsiteX19-9867" fmla="*/ 2116373 w 10693106"/>
              <a:gd name="connsiteY19-9868" fmla="*/ 427621 h 5321354"/>
              <a:gd name="connsiteX20-9869" fmla="*/ 2260306 w 10693106"/>
              <a:gd name="connsiteY20-9870" fmla="*/ 410688 h 5321354"/>
              <a:gd name="connsiteX21-9871" fmla="*/ 2404240 w 10693106"/>
              <a:gd name="connsiteY21-9872" fmla="*/ 385288 h 5321354"/>
              <a:gd name="connsiteX22-9873" fmla="*/ 2455040 w 10693106"/>
              <a:gd name="connsiteY22-9874" fmla="*/ 359888 h 5321354"/>
              <a:gd name="connsiteX23-9875" fmla="*/ 2531240 w 10693106"/>
              <a:gd name="connsiteY23-9876" fmla="*/ 334488 h 5321354"/>
              <a:gd name="connsiteX24-9877" fmla="*/ 2683640 w 10693106"/>
              <a:gd name="connsiteY24-9878" fmla="*/ 207488 h 5321354"/>
              <a:gd name="connsiteX25-9879" fmla="*/ 2742906 w 10693106"/>
              <a:gd name="connsiteY25-9880" fmla="*/ 215954 h 5321354"/>
              <a:gd name="connsiteX26-9881" fmla="*/ 2764920 w 10693106"/>
              <a:gd name="connsiteY26-9882" fmla="*/ 202408 h 5321354"/>
              <a:gd name="connsiteX27-9883" fmla="*/ 2832653 w 10693106"/>
              <a:gd name="connsiteY27-9884" fmla="*/ 197328 h 5321354"/>
              <a:gd name="connsiteX28-9885" fmla="*/ 3002294 w 10693106"/>
              <a:gd name="connsiteY28-9886" fmla="*/ 184012 h 5321354"/>
              <a:gd name="connsiteX29-9887" fmla="*/ 3142763 w 10693106"/>
              <a:gd name="connsiteY29-9888" fmla="*/ 139753 h 5321354"/>
              <a:gd name="connsiteX30-9889" fmla="*/ 3398918 w 10693106"/>
              <a:gd name="connsiteY30-9890" fmla="*/ 101654 h 5321354"/>
              <a:gd name="connsiteX31-9891" fmla="*/ 3606506 w 10693106"/>
              <a:gd name="connsiteY31-9892" fmla="*/ 89725 h 5321354"/>
              <a:gd name="connsiteX32-9893" fmla="*/ 3682706 w 10693106"/>
              <a:gd name="connsiteY32-9894" fmla="*/ 109274 h 5321354"/>
              <a:gd name="connsiteX33-9895" fmla="*/ 3741973 w 10693106"/>
              <a:gd name="connsiteY33-9896" fmla="*/ 115893 h 5321354"/>
              <a:gd name="connsiteX34-9897" fmla="*/ 3792773 w 10693106"/>
              <a:gd name="connsiteY34-9898" fmla="*/ 151608 h 5321354"/>
              <a:gd name="connsiteX35-9899" fmla="*/ 3831720 w 10693106"/>
              <a:gd name="connsiteY35-9900" fmla="*/ 166848 h 5321354"/>
              <a:gd name="connsiteX36-9901" fmla="*/ 3896297 w 10693106"/>
              <a:gd name="connsiteY36-9902" fmla="*/ 186321 h 5321354"/>
              <a:gd name="connsiteX37-9903" fmla="*/ 3950253 w 10693106"/>
              <a:gd name="connsiteY37-9904" fmla="*/ 205794 h 5321354"/>
              <a:gd name="connsiteX38-9905" fmla="*/ 3995973 w 10693106"/>
              <a:gd name="connsiteY38-9906" fmla="*/ 139754 h 5321354"/>
              <a:gd name="connsiteX39-9907" fmla="*/ 4021373 w 10693106"/>
              <a:gd name="connsiteY39-9908" fmla="*/ 173621 h 5321354"/>
              <a:gd name="connsiteX40-9909" fmla="*/ 4055240 w 10693106"/>
              <a:gd name="connsiteY40-9910" fmla="*/ 182088 h 5321354"/>
              <a:gd name="connsiteX41-9911" fmla="*/ 4275373 w 10693106"/>
              <a:gd name="connsiteY41-9912" fmla="*/ 224421 h 5321354"/>
              <a:gd name="connsiteX42-9913" fmla="*/ 4402373 w 10693106"/>
              <a:gd name="connsiteY42-9914" fmla="*/ 258288 h 5321354"/>
              <a:gd name="connsiteX43-9915" fmla="*/ 4529373 w 10693106"/>
              <a:gd name="connsiteY43-9916" fmla="*/ 300621 h 5321354"/>
              <a:gd name="connsiteX44-9917" fmla="*/ 4859573 w 10693106"/>
              <a:gd name="connsiteY44-9918" fmla="*/ 376821 h 5321354"/>
              <a:gd name="connsiteX45-9919" fmla="*/ 5045840 w 10693106"/>
              <a:gd name="connsiteY45-9920" fmla="*/ 453021 h 5321354"/>
              <a:gd name="connsiteX46-9921" fmla="*/ 5325240 w 10693106"/>
              <a:gd name="connsiteY46-9922" fmla="*/ 613888 h 5321354"/>
              <a:gd name="connsiteX47-9923" fmla="*/ 5494573 w 10693106"/>
              <a:gd name="connsiteY47-9924" fmla="*/ 766288 h 5321354"/>
              <a:gd name="connsiteX48-9925" fmla="*/ 5562306 w 10693106"/>
              <a:gd name="connsiteY48-9926" fmla="*/ 842488 h 5321354"/>
              <a:gd name="connsiteX49-9927" fmla="*/ 5621573 w 10693106"/>
              <a:gd name="connsiteY49-9928" fmla="*/ 893288 h 5321354"/>
              <a:gd name="connsiteX50-9929" fmla="*/ 5672373 w 10693106"/>
              <a:gd name="connsiteY50-9930" fmla="*/ 961021 h 5321354"/>
              <a:gd name="connsiteX51-9931" fmla="*/ 5757040 w 10693106"/>
              <a:gd name="connsiteY51-9932" fmla="*/ 1062621 h 5321354"/>
              <a:gd name="connsiteX52-9933" fmla="*/ 5833240 w 10693106"/>
              <a:gd name="connsiteY52-9934" fmla="*/ 1155754 h 5321354"/>
              <a:gd name="connsiteX53-9935" fmla="*/ 6019506 w 10693106"/>
              <a:gd name="connsiteY53-9936" fmla="*/ 1358954 h 5321354"/>
              <a:gd name="connsiteX54-9937" fmla="*/ 6087240 w 10693106"/>
              <a:gd name="connsiteY54-9938" fmla="*/ 1409754 h 5321354"/>
              <a:gd name="connsiteX55-9939" fmla="*/ 6171906 w 10693106"/>
              <a:gd name="connsiteY55-9940" fmla="*/ 1511354 h 5321354"/>
              <a:gd name="connsiteX56-9941" fmla="*/ 6451306 w 10693106"/>
              <a:gd name="connsiteY56-9942" fmla="*/ 1723021 h 5321354"/>
              <a:gd name="connsiteX57-9943" fmla="*/ 6519040 w 10693106"/>
              <a:gd name="connsiteY57-9944" fmla="*/ 1731488 h 5321354"/>
              <a:gd name="connsiteX58-9945" fmla="*/ 6603706 w 10693106"/>
              <a:gd name="connsiteY58-9946" fmla="*/ 1765354 h 5321354"/>
              <a:gd name="connsiteX59-9947" fmla="*/ 6671440 w 10693106"/>
              <a:gd name="connsiteY59-9948" fmla="*/ 1799221 h 5321354"/>
              <a:gd name="connsiteX60-9949" fmla="*/ 6866173 w 10693106"/>
              <a:gd name="connsiteY60-9950" fmla="*/ 1824621 h 5321354"/>
              <a:gd name="connsiteX61-9951" fmla="*/ 7196373 w 10693106"/>
              <a:gd name="connsiteY61-9952" fmla="*/ 1807688 h 5321354"/>
              <a:gd name="connsiteX62-9953" fmla="*/ 7509640 w 10693106"/>
              <a:gd name="connsiteY62-9954" fmla="*/ 1731488 h 5321354"/>
              <a:gd name="connsiteX63-9955" fmla="*/ 7628173 w 10693106"/>
              <a:gd name="connsiteY63-9956" fmla="*/ 1706088 h 5321354"/>
              <a:gd name="connsiteX64-9957" fmla="*/ 7704373 w 10693106"/>
              <a:gd name="connsiteY64-9958" fmla="*/ 1663754 h 5321354"/>
              <a:gd name="connsiteX65-9959" fmla="*/ 7755173 w 10693106"/>
              <a:gd name="connsiteY65-9960" fmla="*/ 1655288 h 5321354"/>
              <a:gd name="connsiteX66-9961" fmla="*/ 7797506 w 10693106"/>
              <a:gd name="connsiteY66-9962" fmla="*/ 1621421 h 5321354"/>
              <a:gd name="connsiteX67-9963" fmla="*/ 7856773 w 10693106"/>
              <a:gd name="connsiteY67-9964" fmla="*/ 1604488 h 5321354"/>
              <a:gd name="connsiteX68-9965" fmla="*/ 7958373 w 10693106"/>
              <a:gd name="connsiteY68-9966" fmla="*/ 1536754 h 5321354"/>
              <a:gd name="connsiteX69-9967" fmla="*/ 8009173 w 10693106"/>
              <a:gd name="connsiteY69-9968" fmla="*/ 1485954 h 5321354"/>
              <a:gd name="connsiteX70-9969" fmla="*/ 8339373 w 10693106"/>
              <a:gd name="connsiteY70-9970" fmla="*/ 1240421 h 5321354"/>
              <a:gd name="connsiteX71-9971" fmla="*/ 8576440 w 10693106"/>
              <a:gd name="connsiteY71-9972" fmla="*/ 986421 h 5321354"/>
              <a:gd name="connsiteX72-9973" fmla="*/ 8652640 w 10693106"/>
              <a:gd name="connsiteY72-9974" fmla="*/ 707021 h 5321354"/>
              <a:gd name="connsiteX73-9975" fmla="*/ 8847373 w 10693106"/>
              <a:gd name="connsiteY73-9976" fmla="*/ 520754 h 5321354"/>
              <a:gd name="connsiteX74-9977" fmla="*/ 8982840 w 10693106"/>
              <a:gd name="connsiteY74-9978" fmla="*/ 427621 h 5321354"/>
              <a:gd name="connsiteX75-9979" fmla="*/ 9084440 w 10693106"/>
              <a:gd name="connsiteY75-9980" fmla="*/ 393754 h 5321354"/>
              <a:gd name="connsiteX76-9981" fmla="*/ 9152173 w 10693106"/>
              <a:gd name="connsiteY76-9982" fmla="*/ 368354 h 5321354"/>
              <a:gd name="connsiteX77-9983" fmla="*/ 9380773 w 10693106"/>
              <a:gd name="connsiteY77-9984" fmla="*/ 385288 h 5321354"/>
              <a:gd name="connsiteX78-9985" fmla="*/ 9744840 w 10693106"/>
              <a:gd name="connsiteY78-9986" fmla="*/ 495354 h 5321354"/>
              <a:gd name="connsiteX79-9987" fmla="*/ 9888773 w 10693106"/>
              <a:gd name="connsiteY79-9988" fmla="*/ 537688 h 5321354"/>
              <a:gd name="connsiteX80-9989" fmla="*/ 9998840 w 10693106"/>
              <a:gd name="connsiteY80-9990" fmla="*/ 588488 h 5321354"/>
              <a:gd name="connsiteX81-9991" fmla="*/ 10083506 w 10693106"/>
              <a:gd name="connsiteY81-9992" fmla="*/ 647754 h 5321354"/>
              <a:gd name="connsiteX82-9993" fmla="*/ 10286706 w 10693106"/>
              <a:gd name="connsiteY82-9994" fmla="*/ 715488 h 5321354"/>
              <a:gd name="connsiteX83-9995" fmla="*/ 10388306 w 10693106"/>
              <a:gd name="connsiteY83-9996" fmla="*/ 918688 h 5321354"/>
              <a:gd name="connsiteX84-9997" fmla="*/ 10540706 w 10693106"/>
              <a:gd name="connsiteY84-9998" fmla="*/ 1291221 h 5321354"/>
              <a:gd name="connsiteX85-9999" fmla="*/ 10557640 w 10693106"/>
              <a:gd name="connsiteY85-10000" fmla="*/ 1375888 h 5321354"/>
              <a:gd name="connsiteX86-10001" fmla="*/ 10583040 w 10693106"/>
              <a:gd name="connsiteY86-10002" fmla="*/ 1477488 h 5321354"/>
              <a:gd name="connsiteX87-10003" fmla="*/ 10616906 w 10693106"/>
              <a:gd name="connsiteY87-10004" fmla="*/ 1680688 h 5321354"/>
              <a:gd name="connsiteX88-10005" fmla="*/ 10633840 w 10693106"/>
              <a:gd name="connsiteY88-10006" fmla="*/ 1765354 h 5321354"/>
              <a:gd name="connsiteX89-10007" fmla="*/ 10650773 w 10693106"/>
              <a:gd name="connsiteY89-10008" fmla="*/ 1799221 h 5321354"/>
              <a:gd name="connsiteX90-10009" fmla="*/ 10676173 w 10693106"/>
              <a:gd name="connsiteY90-10010" fmla="*/ 1883888 h 5321354"/>
              <a:gd name="connsiteX91-10011" fmla="*/ 10693106 w 10693106"/>
              <a:gd name="connsiteY91-10012" fmla="*/ 2036288 h 5321354"/>
              <a:gd name="connsiteX92-10013" fmla="*/ 10625373 w 10693106"/>
              <a:gd name="connsiteY92-10014" fmla="*/ 2256421 h 5321354"/>
              <a:gd name="connsiteX93-10015" fmla="*/ 10608440 w 10693106"/>
              <a:gd name="connsiteY93-10016" fmla="*/ 2281821 h 5321354"/>
              <a:gd name="connsiteX94-10017" fmla="*/ 10540706 w 10693106"/>
              <a:gd name="connsiteY94-10018" fmla="*/ 2425754 h 5321354"/>
              <a:gd name="connsiteX95-10019" fmla="*/ 10498373 w 10693106"/>
              <a:gd name="connsiteY95-10020" fmla="*/ 2510421 h 5321354"/>
              <a:gd name="connsiteX96-10021" fmla="*/ 10439106 w 10693106"/>
              <a:gd name="connsiteY96-10022" fmla="*/ 2696688 h 5321354"/>
              <a:gd name="connsiteX97-10023" fmla="*/ 10430640 w 10693106"/>
              <a:gd name="connsiteY97-10024" fmla="*/ 2739021 h 5321354"/>
              <a:gd name="connsiteX98-10025" fmla="*/ 10405240 w 10693106"/>
              <a:gd name="connsiteY98-10026" fmla="*/ 2815221 h 5321354"/>
              <a:gd name="connsiteX99-10027" fmla="*/ 10396773 w 10693106"/>
              <a:gd name="connsiteY99-10028" fmla="*/ 2849088 h 5321354"/>
              <a:gd name="connsiteX100-10029" fmla="*/ 10362906 w 10693106"/>
              <a:gd name="connsiteY100-10030" fmla="*/ 2942221 h 5321354"/>
              <a:gd name="connsiteX101-10031" fmla="*/ 10329040 w 10693106"/>
              <a:gd name="connsiteY101-10032" fmla="*/ 2984554 h 5321354"/>
              <a:gd name="connsiteX102-10033" fmla="*/ 10227440 w 10693106"/>
              <a:gd name="connsiteY102-10034" fmla="*/ 3086154 h 5321354"/>
              <a:gd name="connsiteX103-10035" fmla="*/ 10168173 w 10693106"/>
              <a:gd name="connsiteY103-10036" fmla="*/ 3153888 h 5321354"/>
              <a:gd name="connsiteX104-10037" fmla="*/ 10117373 w 10693106"/>
              <a:gd name="connsiteY104-10038" fmla="*/ 3204688 h 5321354"/>
              <a:gd name="connsiteX105-10039" fmla="*/ 10032706 w 10693106"/>
              <a:gd name="connsiteY105-10040" fmla="*/ 3306288 h 5321354"/>
              <a:gd name="connsiteX106-10041" fmla="*/ 9948040 w 10693106"/>
              <a:gd name="connsiteY106-10042" fmla="*/ 3365554 h 5321354"/>
              <a:gd name="connsiteX107-10043" fmla="*/ 9905706 w 10693106"/>
              <a:gd name="connsiteY107-10044" fmla="*/ 3390954 h 5321354"/>
              <a:gd name="connsiteX108-10045" fmla="*/ 9829506 w 10693106"/>
              <a:gd name="connsiteY108-10046" fmla="*/ 3407888 h 5321354"/>
              <a:gd name="connsiteX109-10047" fmla="*/ 9727906 w 10693106"/>
              <a:gd name="connsiteY109-10048" fmla="*/ 3450221 h 5321354"/>
              <a:gd name="connsiteX110-10049" fmla="*/ 9634773 w 10693106"/>
              <a:gd name="connsiteY110-10050" fmla="*/ 3475621 h 5321354"/>
              <a:gd name="connsiteX111-10051" fmla="*/ 9456973 w 10693106"/>
              <a:gd name="connsiteY111-10052" fmla="*/ 3568754 h 5321354"/>
              <a:gd name="connsiteX112-10053" fmla="*/ 9313040 w 10693106"/>
              <a:gd name="connsiteY112-10054" fmla="*/ 3695754 h 5321354"/>
              <a:gd name="connsiteX113-10055" fmla="*/ 9279173 w 10693106"/>
              <a:gd name="connsiteY113-10056" fmla="*/ 3712688 h 5321354"/>
              <a:gd name="connsiteX114-10057" fmla="*/ 9067506 w 10693106"/>
              <a:gd name="connsiteY114-10058" fmla="*/ 3890488 h 5321354"/>
              <a:gd name="connsiteX115-10059" fmla="*/ 8999773 w 10693106"/>
              <a:gd name="connsiteY115-10060" fmla="*/ 3958221 h 5321354"/>
              <a:gd name="connsiteX116-10061" fmla="*/ 8813506 w 10693106"/>
              <a:gd name="connsiteY116-10062" fmla="*/ 4093688 h 5321354"/>
              <a:gd name="connsiteX117-10063" fmla="*/ 8728840 w 10693106"/>
              <a:gd name="connsiteY117-10064" fmla="*/ 4136021 h 5321354"/>
              <a:gd name="connsiteX118-10065" fmla="*/ 8373240 w 10693106"/>
              <a:gd name="connsiteY118-10066" fmla="*/ 4169888 h 5321354"/>
              <a:gd name="connsiteX119-10067" fmla="*/ 7966840 w 10693106"/>
              <a:gd name="connsiteY119-10068" fmla="*/ 4263021 h 5321354"/>
              <a:gd name="connsiteX120-10069" fmla="*/ 7687440 w 10693106"/>
              <a:gd name="connsiteY120-10070" fmla="*/ 4423888 h 5321354"/>
              <a:gd name="connsiteX121-10071" fmla="*/ 7551973 w 10693106"/>
              <a:gd name="connsiteY121-10072" fmla="*/ 4508554 h 5321354"/>
              <a:gd name="connsiteX122-10073" fmla="*/ 7374173 w 10693106"/>
              <a:gd name="connsiteY122-10074" fmla="*/ 4686354 h 5321354"/>
              <a:gd name="connsiteX123-10075" fmla="*/ 7374173 w 10693106"/>
              <a:gd name="connsiteY123-10076" fmla="*/ 4686354 h 5321354"/>
              <a:gd name="connsiteX124-10077" fmla="*/ 7221773 w 10693106"/>
              <a:gd name="connsiteY124-10078" fmla="*/ 4804888 h 5321354"/>
              <a:gd name="connsiteX125-10079" fmla="*/ 7027040 w 10693106"/>
              <a:gd name="connsiteY125-10080" fmla="*/ 4931888 h 5321354"/>
              <a:gd name="connsiteX126-10081" fmla="*/ 6883106 w 10693106"/>
              <a:gd name="connsiteY126-10082" fmla="*/ 4999621 h 5321354"/>
              <a:gd name="connsiteX127-10083" fmla="*/ 6815373 w 10693106"/>
              <a:gd name="connsiteY127-10084" fmla="*/ 5041954 h 5321354"/>
              <a:gd name="connsiteX128-10085" fmla="*/ 6646040 w 10693106"/>
              <a:gd name="connsiteY128-10086" fmla="*/ 5135088 h 5321354"/>
              <a:gd name="connsiteX129-10087" fmla="*/ 6527506 w 10693106"/>
              <a:gd name="connsiteY129-10088" fmla="*/ 5194354 h 5321354"/>
              <a:gd name="connsiteX130-10089" fmla="*/ 6298906 w 10693106"/>
              <a:gd name="connsiteY130-10090" fmla="*/ 5270554 h 5321354"/>
              <a:gd name="connsiteX131-10091" fmla="*/ 6197306 w 10693106"/>
              <a:gd name="connsiteY131-10092" fmla="*/ 5295954 h 5321354"/>
              <a:gd name="connsiteX132-10093" fmla="*/ 6061840 w 10693106"/>
              <a:gd name="connsiteY132-10094" fmla="*/ 5304421 h 5321354"/>
              <a:gd name="connsiteX133-10095" fmla="*/ 5917906 w 10693106"/>
              <a:gd name="connsiteY133-10096" fmla="*/ 5321354 h 5321354"/>
              <a:gd name="connsiteX134-10097" fmla="*/ 5748573 w 10693106"/>
              <a:gd name="connsiteY134-10098" fmla="*/ 5312888 h 5321354"/>
              <a:gd name="connsiteX135-10099" fmla="*/ 5282906 w 10693106"/>
              <a:gd name="connsiteY135-10100" fmla="*/ 5202821 h 5321354"/>
              <a:gd name="connsiteX136-10101" fmla="*/ 5138973 w 10693106"/>
              <a:gd name="connsiteY136-10102" fmla="*/ 5101221 h 5321354"/>
              <a:gd name="connsiteX137-10103" fmla="*/ 5020440 w 10693106"/>
              <a:gd name="connsiteY137-10104" fmla="*/ 4948821 h 5321354"/>
              <a:gd name="connsiteX138-10105" fmla="*/ 4952706 w 10693106"/>
              <a:gd name="connsiteY138-10106" fmla="*/ 4872621 h 5321354"/>
              <a:gd name="connsiteX139-10107" fmla="*/ 4884973 w 10693106"/>
              <a:gd name="connsiteY139-10108" fmla="*/ 4804888 h 5321354"/>
              <a:gd name="connsiteX140-10109" fmla="*/ 4732573 w 10693106"/>
              <a:gd name="connsiteY140-10110" fmla="*/ 4627088 h 5321354"/>
              <a:gd name="connsiteX141-10111" fmla="*/ 4673306 w 10693106"/>
              <a:gd name="connsiteY141-10112" fmla="*/ 4559354 h 5321354"/>
              <a:gd name="connsiteX142-10113" fmla="*/ 4365120 w 10693106"/>
              <a:gd name="connsiteY142-10114" fmla="*/ 4645714 h 5321354"/>
              <a:gd name="connsiteX143-10115" fmla="*/ 4187743 w 10693106"/>
              <a:gd name="connsiteY143-10116" fmla="*/ 4550888 h 5321354"/>
              <a:gd name="connsiteX144-10117" fmla="*/ 4038306 w 10693106"/>
              <a:gd name="connsiteY144-10118" fmla="*/ 4395101 h 5321354"/>
              <a:gd name="connsiteX145-10119" fmla="*/ 3893103 w 10693106"/>
              <a:gd name="connsiteY145-10120" fmla="*/ 4284611 h 5321354"/>
              <a:gd name="connsiteX146-10121" fmla="*/ 3882520 w 10693106"/>
              <a:gd name="connsiteY146-10122" fmla="*/ 4210104 h 5321354"/>
              <a:gd name="connsiteX147-10123" fmla="*/ 3895643 w 10693106"/>
              <a:gd name="connsiteY147-10124" fmla="*/ 4089031 h 5321354"/>
              <a:gd name="connsiteX148-10125" fmla="*/ 3919773 w 10693106"/>
              <a:gd name="connsiteY148-10126" fmla="*/ 3949754 h 5321354"/>
              <a:gd name="connsiteX149-10127" fmla="*/ 3877440 w 10693106"/>
              <a:gd name="connsiteY149-10128" fmla="*/ 3653421 h 5321354"/>
              <a:gd name="connsiteX150-10129" fmla="*/ 3852040 w 10693106"/>
              <a:gd name="connsiteY150-10130" fmla="*/ 3560288 h 5321354"/>
              <a:gd name="connsiteX151-10131" fmla="*/ 3801240 w 10693106"/>
              <a:gd name="connsiteY151-10132" fmla="*/ 3450221 h 5321354"/>
              <a:gd name="connsiteX152-10133" fmla="*/ 3733506 w 10693106"/>
              <a:gd name="connsiteY152-10134" fmla="*/ 3348621 h 5321354"/>
              <a:gd name="connsiteX153-10135" fmla="*/ 3242440 w 10693106"/>
              <a:gd name="connsiteY153-10136" fmla="*/ 3128488 h 5321354"/>
              <a:gd name="connsiteX154-10137" fmla="*/ 3123906 w 10693106"/>
              <a:gd name="connsiteY154-10138" fmla="*/ 3026888 h 5321354"/>
              <a:gd name="connsiteX155-10139" fmla="*/ 2988440 w 10693106"/>
              <a:gd name="connsiteY155-10140" fmla="*/ 2832154 h 5321354"/>
              <a:gd name="connsiteX156-10141" fmla="*/ 2971506 w 10693106"/>
              <a:gd name="connsiteY156-10142" fmla="*/ 2772888 h 5321354"/>
              <a:gd name="connsiteX157-10143" fmla="*/ 2996906 w 10693106"/>
              <a:gd name="connsiteY157-10144" fmla="*/ 2561221 h 5321354"/>
              <a:gd name="connsiteX158-10145" fmla="*/ 3013840 w 10693106"/>
              <a:gd name="connsiteY158-10146" fmla="*/ 2459621 h 5321354"/>
              <a:gd name="connsiteX159-10147" fmla="*/ 3005373 w 10693106"/>
              <a:gd name="connsiteY159-10148" fmla="*/ 2341088 h 5321354"/>
              <a:gd name="connsiteX160-10149" fmla="*/ 2988440 w 10693106"/>
              <a:gd name="connsiteY160-10150" fmla="*/ 2290288 h 5321354"/>
              <a:gd name="connsiteX161-10151" fmla="*/ 2802173 w 10693106"/>
              <a:gd name="connsiteY161-10152" fmla="*/ 2036288 h 5321354"/>
              <a:gd name="connsiteX162-10153" fmla="*/ 2641306 w 10693106"/>
              <a:gd name="connsiteY162-10154" fmla="*/ 1892354 h 5321354"/>
              <a:gd name="connsiteX163-10155" fmla="*/ 2590506 w 10693106"/>
              <a:gd name="connsiteY163-10156" fmla="*/ 1866954 h 5321354"/>
              <a:gd name="connsiteX164-10157" fmla="*/ 2531240 w 10693106"/>
              <a:gd name="connsiteY164-10158" fmla="*/ 1858488 h 5321354"/>
              <a:gd name="connsiteX165-10159" fmla="*/ 2446573 w 10693106"/>
              <a:gd name="connsiteY165-10160" fmla="*/ 1841554 h 5321354"/>
              <a:gd name="connsiteX166-10161" fmla="*/ 2251840 w 10693106"/>
              <a:gd name="connsiteY166-10162" fmla="*/ 1866954 h 5321354"/>
              <a:gd name="connsiteX167-10163" fmla="*/ 2167173 w 10693106"/>
              <a:gd name="connsiteY167-10164" fmla="*/ 1909288 h 5321354"/>
              <a:gd name="connsiteX168-10165" fmla="*/ 1980906 w 10693106"/>
              <a:gd name="connsiteY168-10166" fmla="*/ 1968554 h 5321354"/>
              <a:gd name="connsiteX169-10167" fmla="*/ 1904706 w 10693106"/>
              <a:gd name="connsiteY169-10168" fmla="*/ 2002421 h 5321354"/>
              <a:gd name="connsiteX170-10169" fmla="*/ 1828506 w 10693106"/>
              <a:gd name="connsiteY170-10170" fmla="*/ 2019354 h 5321354"/>
              <a:gd name="connsiteX171-10171" fmla="*/ 1726906 w 10693106"/>
              <a:gd name="connsiteY171-10172" fmla="*/ 2070154 h 5321354"/>
              <a:gd name="connsiteX172-10173" fmla="*/ 1659173 w 10693106"/>
              <a:gd name="connsiteY172-10174" fmla="*/ 2104021 h 5321354"/>
              <a:gd name="connsiteX173-10175" fmla="*/ 1498306 w 10693106"/>
              <a:gd name="connsiteY173-10176" fmla="*/ 2129421 h 5321354"/>
              <a:gd name="connsiteX174-10177" fmla="*/ 914106 w 10693106"/>
              <a:gd name="connsiteY174-10178" fmla="*/ 2061688 h 5321354"/>
              <a:gd name="connsiteX175-10179" fmla="*/ 617773 w 10693106"/>
              <a:gd name="connsiteY175-10180" fmla="*/ 1951621 h 5321354"/>
              <a:gd name="connsiteX176-10181" fmla="*/ 516173 w 10693106"/>
              <a:gd name="connsiteY176-10182" fmla="*/ 1866954 h 5321354"/>
              <a:gd name="connsiteX177-10183" fmla="*/ 355306 w 10693106"/>
              <a:gd name="connsiteY177-10184" fmla="*/ 1655288 h 5321354"/>
              <a:gd name="connsiteX178-10185" fmla="*/ 296040 w 10693106"/>
              <a:gd name="connsiteY178-10186" fmla="*/ 1553688 h 5321354"/>
              <a:gd name="connsiteX179-10187" fmla="*/ 253706 w 10693106"/>
              <a:gd name="connsiteY179-10188" fmla="*/ 1375888 h 5321354"/>
              <a:gd name="connsiteX180-10189" fmla="*/ 245240 w 10693106"/>
              <a:gd name="connsiteY180-10190" fmla="*/ 1248888 h 5321354"/>
              <a:gd name="connsiteX181-10191" fmla="*/ 236773 w 10693106"/>
              <a:gd name="connsiteY181-10192" fmla="*/ 1147288 h 5321354"/>
              <a:gd name="connsiteX182-10193" fmla="*/ 245240 w 10693106"/>
              <a:gd name="connsiteY182-10194" fmla="*/ 876354 h 5321354"/>
              <a:gd name="connsiteX183-10195" fmla="*/ 236773 w 10693106"/>
              <a:gd name="connsiteY183-10196" fmla="*/ 732421 h 5321354"/>
              <a:gd name="connsiteX184-10197" fmla="*/ 109773 w 10693106"/>
              <a:gd name="connsiteY184-10198" fmla="*/ 588488 h 5321354"/>
              <a:gd name="connsiteX185-10199" fmla="*/ 58973 w 10693106"/>
              <a:gd name="connsiteY185-10200" fmla="*/ 512288 h 5321354"/>
              <a:gd name="connsiteX186-10201" fmla="*/ 16640 w 10693106"/>
              <a:gd name="connsiteY186-10202" fmla="*/ 461488 h 5321354"/>
              <a:gd name="connsiteX187-10203" fmla="*/ 8173 w 10693106"/>
              <a:gd name="connsiteY187-10204" fmla="*/ 419154 h 5321354"/>
              <a:gd name="connsiteX188-10205" fmla="*/ 16640 w 10693106"/>
              <a:gd name="connsiteY188-10206" fmla="*/ 368354 h 5321354"/>
              <a:gd name="connsiteX0-10207" fmla="*/ 16640 w 10693106"/>
              <a:gd name="connsiteY0-10208" fmla="*/ 368354 h 5321354"/>
              <a:gd name="connsiteX1-10209" fmla="*/ 58973 w 10693106"/>
              <a:gd name="connsiteY1-10210" fmla="*/ 275221 h 5321354"/>
              <a:gd name="connsiteX2-10211" fmla="*/ 109773 w 10693106"/>
              <a:gd name="connsiteY2-10212" fmla="*/ 207488 h 5321354"/>
              <a:gd name="connsiteX3-10213" fmla="*/ 202906 w 10693106"/>
              <a:gd name="connsiteY3-10214" fmla="*/ 122821 h 5321354"/>
              <a:gd name="connsiteX4-10215" fmla="*/ 236773 w 10693106"/>
              <a:gd name="connsiteY4-10216" fmla="*/ 97421 h 5321354"/>
              <a:gd name="connsiteX5-10217" fmla="*/ 346840 w 10693106"/>
              <a:gd name="connsiteY5-10218" fmla="*/ 38154 h 5321354"/>
              <a:gd name="connsiteX6-10219" fmla="*/ 397640 w 10693106"/>
              <a:gd name="connsiteY6-10220" fmla="*/ 4288 h 5321354"/>
              <a:gd name="connsiteX7-10221" fmla="*/ 467297 w 10693106"/>
              <a:gd name="connsiteY7-10222" fmla="*/ 143218 h 5321354"/>
              <a:gd name="connsiteX8-10223" fmla="*/ 492697 w 10693106"/>
              <a:gd name="connsiteY8-10224" fmla="*/ 103579 h 5321354"/>
              <a:gd name="connsiteX9-10225" fmla="*/ 822897 w 10693106"/>
              <a:gd name="connsiteY9-10226" fmla="*/ 112045 h 5321354"/>
              <a:gd name="connsiteX10-10227" fmla="*/ 1091906 w 10693106"/>
              <a:gd name="connsiteY10-10228" fmla="*/ 29688 h 5321354"/>
              <a:gd name="connsiteX11-10229" fmla="*/ 1235840 w 10693106"/>
              <a:gd name="connsiteY11-10230" fmla="*/ 88954 h 5321354"/>
              <a:gd name="connsiteX12-10231" fmla="*/ 1337440 w 10693106"/>
              <a:gd name="connsiteY12-10232" fmla="*/ 165154 h 5321354"/>
              <a:gd name="connsiteX13-10233" fmla="*/ 1422106 w 10693106"/>
              <a:gd name="connsiteY13-10234" fmla="*/ 275221 h 5321354"/>
              <a:gd name="connsiteX14-10235" fmla="*/ 1481373 w 10693106"/>
              <a:gd name="connsiteY14-10236" fmla="*/ 342954 h 5321354"/>
              <a:gd name="connsiteX15-10237" fmla="*/ 1532173 w 10693106"/>
              <a:gd name="connsiteY15-10238" fmla="*/ 376821 h 5321354"/>
              <a:gd name="connsiteX16-10239" fmla="*/ 1684573 w 10693106"/>
              <a:gd name="connsiteY16-10240" fmla="*/ 436088 h 5321354"/>
              <a:gd name="connsiteX17-10241" fmla="*/ 1760773 w 10693106"/>
              <a:gd name="connsiteY17-10242" fmla="*/ 453021 h 5321354"/>
              <a:gd name="connsiteX18-10243" fmla="*/ 1997840 w 10693106"/>
              <a:gd name="connsiteY18-10244" fmla="*/ 444554 h 5321354"/>
              <a:gd name="connsiteX19-10245" fmla="*/ 2116373 w 10693106"/>
              <a:gd name="connsiteY19-10246" fmla="*/ 427621 h 5321354"/>
              <a:gd name="connsiteX20-10247" fmla="*/ 2260306 w 10693106"/>
              <a:gd name="connsiteY20-10248" fmla="*/ 410688 h 5321354"/>
              <a:gd name="connsiteX21-10249" fmla="*/ 2404240 w 10693106"/>
              <a:gd name="connsiteY21-10250" fmla="*/ 385288 h 5321354"/>
              <a:gd name="connsiteX22-10251" fmla="*/ 2455040 w 10693106"/>
              <a:gd name="connsiteY22-10252" fmla="*/ 359888 h 5321354"/>
              <a:gd name="connsiteX23-10253" fmla="*/ 2531240 w 10693106"/>
              <a:gd name="connsiteY23-10254" fmla="*/ 334488 h 5321354"/>
              <a:gd name="connsiteX24-10255" fmla="*/ 2683640 w 10693106"/>
              <a:gd name="connsiteY24-10256" fmla="*/ 207488 h 5321354"/>
              <a:gd name="connsiteX25-10257" fmla="*/ 2742906 w 10693106"/>
              <a:gd name="connsiteY25-10258" fmla="*/ 215954 h 5321354"/>
              <a:gd name="connsiteX26-10259" fmla="*/ 2764920 w 10693106"/>
              <a:gd name="connsiteY26-10260" fmla="*/ 202408 h 5321354"/>
              <a:gd name="connsiteX27-10261" fmla="*/ 2832653 w 10693106"/>
              <a:gd name="connsiteY27-10262" fmla="*/ 197328 h 5321354"/>
              <a:gd name="connsiteX28-10263" fmla="*/ 3002294 w 10693106"/>
              <a:gd name="connsiteY28-10264" fmla="*/ 184012 h 5321354"/>
              <a:gd name="connsiteX29-10265" fmla="*/ 3142763 w 10693106"/>
              <a:gd name="connsiteY29-10266" fmla="*/ 139753 h 5321354"/>
              <a:gd name="connsiteX30-10267" fmla="*/ 3398918 w 10693106"/>
              <a:gd name="connsiteY30-10268" fmla="*/ 101654 h 5321354"/>
              <a:gd name="connsiteX31-10269" fmla="*/ 3606506 w 10693106"/>
              <a:gd name="connsiteY31-10270" fmla="*/ 89725 h 5321354"/>
              <a:gd name="connsiteX32-10271" fmla="*/ 3682706 w 10693106"/>
              <a:gd name="connsiteY32-10272" fmla="*/ 109274 h 5321354"/>
              <a:gd name="connsiteX33-10273" fmla="*/ 3741973 w 10693106"/>
              <a:gd name="connsiteY33-10274" fmla="*/ 115893 h 5321354"/>
              <a:gd name="connsiteX34-10275" fmla="*/ 3792773 w 10693106"/>
              <a:gd name="connsiteY34-10276" fmla="*/ 151608 h 5321354"/>
              <a:gd name="connsiteX35-10277" fmla="*/ 3831720 w 10693106"/>
              <a:gd name="connsiteY35-10278" fmla="*/ 166848 h 5321354"/>
              <a:gd name="connsiteX36-10279" fmla="*/ 3896297 w 10693106"/>
              <a:gd name="connsiteY36-10280" fmla="*/ 186321 h 5321354"/>
              <a:gd name="connsiteX37-10281" fmla="*/ 3950253 w 10693106"/>
              <a:gd name="connsiteY37-10282" fmla="*/ 205794 h 5321354"/>
              <a:gd name="connsiteX38-10283" fmla="*/ 3995973 w 10693106"/>
              <a:gd name="connsiteY38-10284" fmla="*/ 139754 h 5321354"/>
              <a:gd name="connsiteX39-10285" fmla="*/ 4021373 w 10693106"/>
              <a:gd name="connsiteY39-10286" fmla="*/ 173621 h 5321354"/>
              <a:gd name="connsiteX40-10287" fmla="*/ 4055240 w 10693106"/>
              <a:gd name="connsiteY40-10288" fmla="*/ 182088 h 5321354"/>
              <a:gd name="connsiteX41-10289" fmla="*/ 4275373 w 10693106"/>
              <a:gd name="connsiteY41-10290" fmla="*/ 224421 h 5321354"/>
              <a:gd name="connsiteX42-10291" fmla="*/ 4402373 w 10693106"/>
              <a:gd name="connsiteY42-10292" fmla="*/ 258288 h 5321354"/>
              <a:gd name="connsiteX43-10293" fmla="*/ 4529373 w 10693106"/>
              <a:gd name="connsiteY43-10294" fmla="*/ 300621 h 5321354"/>
              <a:gd name="connsiteX44-10295" fmla="*/ 4859573 w 10693106"/>
              <a:gd name="connsiteY44-10296" fmla="*/ 376821 h 5321354"/>
              <a:gd name="connsiteX45-10297" fmla="*/ 5045840 w 10693106"/>
              <a:gd name="connsiteY45-10298" fmla="*/ 453021 h 5321354"/>
              <a:gd name="connsiteX46-10299" fmla="*/ 5325240 w 10693106"/>
              <a:gd name="connsiteY46-10300" fmla="*/ 613888 h 5321354"/>
              <a:gd name="connsiteX47-10301" fmla="*/ 5494573 w 10693106"/>
              <a:gd name="connsiteY47-10302" fmla="*/ 766288 h 5321354"/>
              <a:gd name="connsiteX48-10303" fmla="*/ 5562306 w 10693106"/>
              <a:gd name="connsiteY48-10304" fmla="*/ 842488 h 5321354"/>
              <a:gd name="connsiteX49-10305" fmla="*/ 5621573 w 10693106"/>
              <a:gd name="connsiteY49-10306" fmla="*/ 893288 h 5321354"/>
              <a:gd name="connsiteX50-10307" fmla="*/ 5672373 w 10693106"/>
              <a:gd name="connsiteY50-10308" fmla="*/ 961021 h 5321354"/>
              <a:gd name="connsiteX51-10309" fmla="*/ 5757040 w 10693106"/>
              <a:gd name="connsiteY51-10310" fmla="*/ 1062621 h 5321354"/>
              <a:gd name="connsiteX52-10311" fmla="*/ 5833240 w 10693106"/>
              <a:gd name="connsiteY52-10312" fmla="*/ 1155754 h 5321354"/>
              <a:gd name="connsiteX53-10313" fmla="*/ 6019506 w 10693106"/>
              <a:gd name="connsiteY53-10314" fmla="*/ 1358954 h 5321354"/>
              <a:gd name="connsiteX54-10315" fmla="*/ 6087240 w 10693106"/>
              <a:gd name="connsiteY54-10316" fmla="*/ 1409754 h 5321354"/>
              <a:gd name="connsiteX55-10317" fmla="*/ 6171906 w 10693106"/>
              <a:gd name="connsiteY55-10318" fmla="*/ 1511354 h 5321354"/>
              <a:gd name="connsiteX56-10319" fmla="*/ 6451306 w 10693106"/>
              <a:gd name="connsiteY56-10320" fmla="*/ 1723021 h 5321354"/>
              <a:gd name="connsiteX57-10321" fmla="*/ 6519040 w 10693106"/>
              <a:gd name="connsiteY57-10322" fmla="*/ 1731488 h 5321354"/>
              <a:gd name="connsiteX58-10323" fmla="*/ 6603706 w 10693106"/>
              <a:gd name="connsiteY58-10324" fmla="*/ 1765354 h 5321354"/>
              <a:gd name="connsiteX59-10325" fmla="*/ 6671440 w 10693106"/>
              <a:gd name="connsiteY59-10326" fmla="*/ 1799221 h 5321354"/>
              <a:gd name="connsiteX60-10327" fmla="*/ 6866173 w 10693106"/>
              <a:gd name="connsiteY60-10328" fmla="*/ 1824621 h 5321354"/>
              <a:gd name="connsiteX61-10329" fmla="*/ 7196373 w 10693106"/>
              <a:gd name="connsiteY61-10330" fmla="*/ 1807688 h 5321354"/>
              <a:gd name="connsiteX62-10331" fmla="*/ 7509640 w 10693106"/>
              <a:gd name="connsiteY62-10332" fmla="*/ 1731488 h 5321354"/>
              <a:gd name="connsiteX63-10333" fmla="*/ 7628173 w 10693106"/>
              <a:gd name="connsiteY63-10334" fmla="*/ 1706088 h 5321354"/>
              <a:gd name="connsiteX64-10335" fmla="*/ 7704373 w 10693106"/>
              <a:gd name="connsiteY64-10336" fmla="*/ 1663754 h 5321354"/>
              <a:gd name="connsiteX65-10337" fmla="*/ 7755173 w 10693106"/>
              <a:gd name="connsiteY65-10338" fmla="*/ 1655288 h 5321354"/>
              <a:gd name="connsiteX66-10339" fmla="*/ 7797506 w 10693106"/>
              <a:gd name="connsiteY66-10340" fmla="*/ 1621421 h 5321354"/>
              <a:gd name="connsiteX67-10341" fmla="*/ 7856773 w 10693106"/>
              <a:gd name="connsiteY67-10342" fmla="*/ 1604488 h 5321354"/>
              <a:gd name="connsiteX68-10343" fmla="*/ 7958373 w 10693106"/>
              <a:gd name="connsiteY68-10344" fmla="*/ 1536754 h 5321354"/>
              <a:gd name="connsiteX69-10345" fmla="*/ 8009173 w 10693106"/>
              <a:gd name="connsiteY69-10346" fmla="*/ 1485954 h 5321354"/>
              <a:gd name="connsiteX70-10347" fmla="*/ 8339373 w 10693106"/>
              <a:gd name="connsiteY70-10348" fmla="*/ 1240421 h 5321354"/>
              <a:gd name="connsiteX71-10349" fmla="*/ 8576440 w 10693106"/>
              <a:gd name="connsiteY71-10350" fmla="*/ 986421 h 5321354"/>
              <a:gd name="connsiteX72-10351" fmla="*/ 8652640 w 10693106"/>
              <a:gd name="connsiteY72-10352" fmla="*/ 707021 h 5321354"/>
              <a:gd name="connsiteX73-10353" fmla="*/ 8847373 w 10693106"/>
              <a:gd name="connsiteY73-10354" fmla="*/ 520754 h 5321354"/>
              <a:gd name="connsiteX74-10355" fmla="*/ 8982840 w 10693106"/>
              <a:gd name="connsiteY74-10356" fmla="*/ 427621 h 5321354"/>
              <a:gd name="connsiteX75-10357" fmla="*/ 9084440 w 10693106"/>
              <a:gd name="connsiteY75-10358" fmla="*/ 393754 h 5321354"/>
              <a:gd name="connsiteX76-10359" fmla="*/ 9152173 w 10693106"/>
              <a:gd name="connsiteY76-10360" fmla="*/ 368354 h 5321354"/>
              <a:gd name="connsiteX77-10361" fmla="*/ 9380773 w 10693106"/>
              <a:gd name="connsiteY77-10362" fmla="*/ 385288 h 5321354"/>
              <a:gd name="connsiteX78-10363" fmla="*/ 9744840 w 10693106"/>
              <a:gd name="connsiteY78-10364" fmla="*/ 495354 h 5321354"/>
              <a:gd name="connsiteX79-10365" fmla="*/ 9888773 w 10693106"/>
              <a:gd name="connsiteY79-10366" fmla="*/ 537688 h 5321354"/>
              <a:gd name="connsiteX80-10367" fmla="*/ 9998840 w 10693106"/>
              <a:gd name="connsiteY80-10368" fmla="*/ 588488 h 5321354"/>
              <a:gd name="connsiteX81-10369" fmla="*/ 10083506 w 10693106"/>
              <a:gd name="connsiteY81-10370" fmla="*/ 647754 h 5321354"/>
              <a:gd name="connsiteX82-10371" fmla="*/ 10286706 w 10693106"/>
              <a:gd name="connsiteY82-10372" fmla="*/ 715488 h 5321354"/>
              <a:gd name="connsiteX83-10373" fmla="*/ 10388306 w 10693106"/>
              <a:gd name="connsiteY83-10374" fmla="*/ 918688 h 5321354"/>
              <a:gd name="connsiteX84-10375" fmla="*/ 10540706 w 10693106"/>
              <a:gd name="connsiteY84-10376" fmla="*/ 1291221 h 5321354"/>
              <a:gd name="connsiteX85-10377" fmla="*/ 10557640 w 10693106"/>
              <a:gd name="connsiteY85-10378" fmla="*/ 1375888 h 5321354"/>
              <a:gd name="connsiteX86-10379" fmla="*/ 10583040 w 10693106"/>
              <a:gd name="connsiteY86-10380" fmla="*/ 1477488 h 5321354"/>
              <a:gd name="connsiteX87-10381" fmla="*/ 10616906 w 10693106"/>
              <a:gd name="connsiteY87-10382" fmla="*/ 1680688 h 5321354"/>
              <a:gd name="connsiteX88-10383" fmla="*/ 10633840 w 10693106"/>
              <a:gd name="connsiteY88-10384" fmla="*/ 1765354 h 5321354"/>
              <a:gd name="connsiteX89-10385" fmla="*/ 10650773 w 10693106"/>
              <a:gd name="connsiteY89-10386" fmla="*/ 1799221 h 5321354"/>
              <a:gd name="connsiteX90-10387" fmla="*/ 10676173 w 10693106"/>
              <a:gd name="connsiteY90-10388" fmla="*/ 1883888 h 5321354"/>
              <a:gd name="connsiteX91-10389" fmla="*/ 10693106 w 10693106"/>
              <a:gd name="connsiteY91-10390" fmla="*/ 2036288 h 5321354"/>
              <a:gd name="connsiteX92-10391" fmla="*/ 10625373 w 10693106"/>
              <a:gd name="connsiteY92-10392" fmla="*/ 2256421 h 5321354"/>
              <a:gd name="connsiteX93-10393" fmla="*/ 10608440 w 10693106"/>
              <a:gd name="connsiteY93-10394" fmla="*/ 2281821 h 5321354"/>
              <a:gd name="connsiteX94-10395" fmla="*/ 10540706 w 10693106"/>
              <a:gd name="connsiteY94-10396" fmla="*/ 2425754 h 5321354"/>
              <a:gd name="connsiteX95-10397" fmla="*/ 10498373 w 10693106"/>
              <a:gd name="connsiteY95-10398" fmla="*/ 2510421 h 5321354"/>
              <a:gd name="connsiteX96-10399" fmla="*/ 10439106 w 10693106"/>
              <a:gd name="connsiteY96-10400" fmla="*/ 2696688 h 5321354"/>
              <a:gd name="connsiteX97-10401" fmla="*/ 10430640 w 10693106"/>
              <a:gd name="connsiteY97-10402" fmla="*/ 2739021 h 5321354"/>
              <a:gd name="connsiteX98-10403" fmla="*/ 10405240 w 10693106"/>
              <a:gd name="connsiteY98-10404" fmla="*/ 2815221 h 5321354"/>
              <a:gd name="connsiteX99-10405" fmla="*/ 10396773 w 10693106"/>
              <a:gd name="connsiteY99-10406" fmla="*/ 2849088 h 5321354"/>
              <a:gd name="connsiteX100-10407" fmla="*/ 10362906 w 10693106"/>
              <a:gd name="connsiteY100-10408" fmla="*/ 2942221 h 5321354"/>
              <a:gd name="connsiteX101-10409" fmla="*/ 10329040 w 10693106"/>
              <a:gd name="connsiteY101-10410" fmla="*/ 2984554 h 5321354"/>
              <a:gd name="connsiteX102-10411" fmla="*/ 10227440 w 10693106"/>
              <a:gd name="connsiteY102-10412" fmla="*/ 3086154 h 5321354"/>
              <a:gd name="connsiteX103-10413" fmla="*/ 10168173 w 10693106"/>
              <a:gd name="connsiteY103-10414" fmla="*/ 3153888 h 5321354"/>
              <a:gd name="connsiteX104-10415" fmla="*/ 10117373 w 10693106"/>
              <a:gd name="connsiteY104-10416" fmla="*/ 3204688 h 5321354"/>
              <a:gd name="connsiteX105-10417" fmla="*/ 10032706 w 10693106"/>
              <a:gd name="connsiteY105-10418" fmla="*/ 3306288 h 5321354"/>
              <a:gd name="connsiteX106-10419" fmla="*/ 9948040 w 10693106"/>
              <a:gd name="connsiteY106-10420" fmla="*/ 3365554 h 5321354"/>
              <a:gd name="connsiteX107-10421" fmla="*/ 9905706 w 10693106"/>
              <a:gd name="connsiteY107-10422" fmla="*/ 3390954 h 5321354"/>
              <a:gd name="connsiteX108-10423" fmla="*/ 9829506 w 10693106"/>
              <a:gd name="connsiteY108-10424" fmla="*/ 3407888 h 5321354"/>
              <a:gd name="connsiteX109-10425" fmla="*/ 9727906 w 10693106"/>
              <a:gd name="connsiteY109-10426" fmla="*/ 3450221 h 5321354"/>
              <a:gd name="connsiteX110-10427" fmla="*/ 9634773 w 10693106"/>
              <a:gd name="connsiteY110-10428" fmla="*/ 3475621 h 5321354"/>
              <a:gd name="connsiteX111-10429" fmla="*/ 9456973 w 10693106"/>
              <a:gd name="connsiteY111-10430" fmla="*/ 3568754 h 5321354"/>
              <a:gd name="connsiteX112-10431" fmla="*/ 9313040 w 10693106"/>
              <a:gd name="connsiteY112-10432" fmla="*/ 3695754 h 5321354"/>
              <a:gd name="connsiteX113-10433" fmla="*/ 9279173 w 10693106"/>
              <a:gd name="connsiteY113-10434" fmla="*/ 3712688 h 5321354"/>
              <a:gd name="connsiteX114-10435" fmla="*/ 9067506 w 10693106"/>
              <a:gd name="connsiteY114-10436" fmla="*/ 3890488 h 5321354"/>
              <a:gd name="connsiteX115-10437" fmla="*/ 8999773 w 10693106"/>
              <a:gd name="connsiteY115-10438" fmla="*/ 3958221 h 5321354"/>
              <a:gd name="connsiteX116-10439" fmla="*/ 8813506 w 10693106"/>
              <a:gd name="connsiteY116-10440" fmla="*/ 4093688 h 5321354"/>
              <a:gd name="connsiteX117-10441" fmla="*/ 8728840 w 10693106"/>
              <a:gd name="connsiteY117-10442" fmla="*/ 4136021 h 5321354"/>
              <a:gd name="connsiteX118-10443" fmla="*/ 8373240 w 10693106"/>
              <a:gd name="connsiteY118-10444" fmla="*/ 4169888 h 5321354"/>
              <a:gd name="connsiteX119-10445" fmla="*/ 7966840 w 10693106"/>
              <a:gd name="connsiteY119-10446" fmla="*/ 4263021 h 5321354"/>
              <a:gd name="connsiteX120-10447" fmla="*/ 7687440 w 10693106"/>
              <a:gd name="connsiteY120-10448" fmla="*/ 4423888 h 5321354"/>
              <a:gd name="connsiteX121-10449" fmla="*/ 7551973 w 10693106"/>
              <a:gd name="connsiteY121-10450" fmla="*/ 4508554 h 5321354"/>
              <a:gd name="connsiteX122-10451" fmla="*/ 7374173 w 10693106"/>
              <a:gd name="connsiteY122-10452" fmla="*/ 4686354 h 5321354"/>
              <a:gd name="connsiteX123-10453" fmla="*/ 7374173 w 10693106"/>
              <a:gd name="connsiteY123-10454" fmla="*/ 4686354 h 5321354"/>
              <a:gd name="connsiteX124-10455" fmla="*/ 7221773 w 10693106"/>
              <a:gd name="connsiteY124-10456" fmla="*/ 4804888 h 5321354"/>
              <a:gd name="connsiteX125-10457" fmla="*/ 7027040 w 10693106"/>
              <a:gd name="connsiteY125-10458" fmla="*/ 4931888 h 5321354"/>
              <a:gd name="connsiteX126-10459" fmla="*/ 6883106 w 10693106"/>
              <a:gd name="connsiteY126-10460" fmla="*/ 4999621 h 5321354"/>
              <a:gd name="connsiteX127-10461" fmla="*/ 6815373 w 10693106"/>
              <a:gd name="connsiteY127-10462" fmla="*/ 5041954 h 5321354"/>
              <a:gd name="connsiteX128-10463" fmla="*/ 6646040 w 10693106"/>
              <a:gd name="connsiteY128-10464" fmla="*/ 5135088 h 5321354"/>
              <a:gd name="connsiteX129-10465" fmla="*/ 6527506 w 10693106"/>
              <a:gd name="connsiteY129-10466" fmla="*/ 5194354 h 5321354"/>
              <a:gd name="connsiteX130-10467" fmla="*/ 6298906 w 10693106"/>
              <a:gd name="connsiteY130-10468" fmla="*/ 5270554 h 5321354"/>
              <a:gd name="connsiteX131-10469" fmla="*/ 6197306 w 10693106"/>
              <a:gd name="connsiteY131-10470" fmla="*/ 5295954 h 5321354"/>
              <a:gd name="connsiteX132-10471" fmla="*/ 6061840 w 10693106"/>
              <a:gd name="connsiteY132-10472" fmla="*/ 5304421 h 5321354"/>
              <a:gd name="connsiteX133-10473" fmla="*/ 5917906 w 10693106"/>
              <a:gd name="connsiteY133-10474" fmla="*/ 5321354 h 5321354"/>
              <a:gd name="connsiteX134-10475" fmla="*/ 5748573 w 10693106"/>
              <a:gd name="connsiteY134-10476" fmla="*/ 5312888 h 5321354"/>
              <a:gd name="connsiteX135-10477" fmla="*/ 5282906 w 10693106"/>
              <a:gd name="connsiteY135-10478" fmla="*/ 5202821 h 5321354"/>
              <a:gd name="connsiteX136-10479" fmla="*/ 5138973 w 10693106"/>
              <a:gd name="connsiteY136-10480" fmla="*/ 5101221 h 5321354"/>
              <a:gd name="connsiteX137-10481" fmla="*/ 5020440 w 10693106"/>
              <a:gd name="connsiteY137-10482" fmla="*/ 4948821 h 5321354"/>
              <a:gd name="connsiteX138-10483" fmla="*/ 4952706 w 10693106"/>
              <a:gd name="connsiteY138-10484" fmla="*/ 4872621 h 5321354"/>
              <a:gd name="connsiteX139-10485" fmla="*/ 4884973 w 10693106"/>
              <a:gd name="connsiteY139-10486" fmla="*/ 4804888 h 5321354"/>
              <a:gd name="connsiteX140-10487" fmla="*/ 4732573 w 10693106"/>
              <a:gd name="connsiteY140-10488" fmla="*/ 4627088 h 5321354"/>
              <a:gd name="connsiteX141-10489" fmla="*/ 4536146 w 10693106"/>
              <a:gd name="connsiteY141-10490" fmla="*/ 4742234 h 5321354"/>
              <a:gd name="connsiteX142-10491" fmla="*/ 4365120 w 10693106"/>
              <a:gd name="connsiteY142-10492" fmla="*/ 4645714 h 5321354"/>
              <a:gd name="connsiteX143-10493" fmla="*/ 4187743 w 10693106"/>
              <a:gd name="connsiteY143-10494" fmla="*/ 4550888 h 5321354"/>
              <a:gd name="connsiteX144-10495" fmla="*/ 4038306 w 10693106"/>
              <a:gd name="connsiteY144-10496" fmla="*/ 4395101 h 5321354"/>
              <a:gd name="connsiteX145-10497" fmla="*/ 3893103 w 10693106"/>
              <a:gd name="connsiteY145-10498" fmla="*/ 4284611 h 5321354"/>
              <a:gd name="connsiteX146-10499" fmla="*/ 3882520 w 10693106"/>
              <a:gd name="connsiteY146-10500" fmla="*/ 4210104 h 5321354"/>
              <a:gd name="connsiteX147-10501" fmla="*/ 3895643 w 10693106"/>
              <a:gd name="connsiteY147-10502" fmla="*/ 4089031 h 5321354"/>
              <a:gd name="connsiteX148-10503" fmla="*/ 3919773 w 10693106"/>
              <a:gd name="connsiteY148-10504" fmla="*/ 3949754 h 5321354"/>
              <a:gd name="connsiteX149-10505" fmla="*/ 3877440 w 10693106"/>
              <a:gd name="connsiteY149-10506" fmla="*/ 3653421 h 5321354"/>
              <a:gd name="connsiteX150-10507" fmla="*/ 3852040 w 10693106"/>
              <a:gd name="connsiteY150-10508" fmla="*/ 3560288 h 5321354"/>
              <a:gd name="connsiteX151-10509" fmla="*/ 3801240 w 10693106"/>
              <a:gd name="connsiteY151-10510" fmla="*/ 3450221 h 5321354"/>
              <a:gd name="connsiteX152-10511" fmla="*/ 3733506 w 10693106"/>
              <a:gd name="connsiteY152-10512" fmla="*/ 3348621 h 5321354"/>
              <a:gd name="connsiteX153-10513" fmla="*/ 3242440 w 10693106"/>
              <a:gd name="connsiteY153-10514" fmla="*/ 3128488 h 5321354"/>
              <a:gd name="connsiteX154-10515" fmla="*/ 3123906 w 10693106"/>
              <a:gd name="connsiteY154-10516" fmla="*/ 3026888 h 5321354"/>
              <a:gd name="connsiteX155-10517" fmla="*/ 2988440 w 10693106"/>
              <a:gd name="connsiteY155-10518" fmla="*/ 2832154 h 5321354"/>
              <a:gd name="connsiteX156-10519" fmla="*/ 2971506 w 10693106"/>
              <a:gd name="connsiteY156-10520" fmla="*/ 2772888 h 5321354"/>
              <a:gd name="connsiteX157-10521" fmla="*/ 2996906 w 10693106"/>
              <a:gd name="connsiteY157-10522" fmla="*/ 2561221 h 5321354"/>
              <a:gd name="connsiteX158-10523" fmla="*/ 3013840 w 10693106"/>
              <a:gd name="connsiteY158-10524" fmla="*/ 2459621 h 5321354"/>
              <a:gd name="connsiteX159-10525" fmla="*/ 3005373 w 10693106"/>
              <a:gd name="connsiteY159-10526" fmla="*/ 2341088 h 5321354"/>
              <a:gd name="connsiteX160-10527" fmla="*/ 2988440 w 10693106"/>
              <a:gd name="connsiteY160-10528" fmla="*/ 2290288 h 5321354"/>
              <a:gd name="connsiteX161-10529" fmla="*/ 2802173 w 10693106"/>
              <a:gd name="connsiteY161-10530" fmla="*/ 2036288 h 5321354"/>
              <a:gd name="connsiteX162-10531" fmla="*/ 2641306 w 10693106"/>
              <a:gd name="connsiteY162-10532" fmla="*/ 1892354 h 5321354"/>
              <a:gd name="connsiteX163-10533" fmla="*/ 2590506 w 10693106"/>
              <a:gd name="connsiteY163-10534" fmla="*/ 1866954 h 5321354"/>
              <a:gd name="connsiteX164-10535" fmla="*/ 2531240 w 10693106"/>
              <a:gd name="connsiteY164-10536" fmla="*/ 1858488 h 5321354"/>
              <a:gd name="connsiteX165-10537" fmla="*/ 2446573 w 10693106"/>
              <a:gd name="connsiteY165-10538" fmla="*/ 1841554 h 5321354"/>
              <a:gd name="connsiteX166-10539" fmla="*/ 2251840 w 10693106"/>
              <a:gd name="connsiteY166-10540" fmla="*/ 1866954 h 5321354"/>
              <a:gd name="connsiteX167-10541" fmla="*/ 2167173 w 10693106"/>
              <a:gd name="connsiteY167-10542" fmla="*/ 1909288 h 5321354"/>
              <a:gd name="connsiteX168-10543" fmla="*/ 1980906 w 10693106"/>
              <a:gd name="connsiteY168-10544" fmla="*/ 1968554 h 5321354"/>
              <a:gd name="connsiteX169-10545" fmla="*/ 1904706 w 10693106"/>
              <a:gd name="connsiteY169-10546" fmla="*/ 2002421 h 5321354"/>
              <a:gd name="connsiteX170-10547" fmla="*/ 1828506 w 10693106"/>
              <a:gd name="connsiteY170-10548" fmla="*/ 2019354 h 5321354"/>
              <a:gd name="connsiteX171-10549" fmla="*/ 1726906 w 10693106"/>
              <a:gd name="connsiteY171-10550" fmla="*/ 2070154 h 5321354"/>
              <a:gd name="connsiteX172-10551" fmla="*/ 1659173 w 10693106"/>
              <a:gd name="connsiteY172-10552" fmla="*/ 2104021 h 5321354"/>
              <a:gd name="connsiteX173-10553" fmla="*/ 1498306 w 10693106"/>
              <a:gd name="connsiteY173-10554" fmla="*/ 2129421 h 5321354"/>
              <a:gd name="connsiteX174-10555" fmla="*/ 914106 w 10693106"/>
              <a:gd name="connsiteY174-10556" fmla="*/ 2061688 h 5321354"/>
              <a:gd name="connsiteX175-10557" fmla="*/ 617773 w 10693106"/>
              <a:gd name="connsiteY175-10558" fmla="*/ 1951621 h 5321354"/>
              <a:gd name="connsiteX176-10559" fmla="*/ 516173 w 10693106"/>
              <a:gd name="connsiteY176-10560" fmla="*/ 1866954 h 5321354"/>
              <a:gd name="connsiteX177-10561" fmla="*/ 355306 w 10693106"/>
              <a:gd name="connsiteY177-10562" fmla="*/ 1655288 h 5321354"/>
              <a:gd name="connsiteX178-10563" fmla="*/ 296040 w 10693106"/>
              <a:gd name="connsiteY178-10564" fmla="*/ 1553688 h 5321354"/>
              <a:gd name="connsiteX179-10565" fmla="*/ 253706 w 10693106"/>
              <a:gd name="connsiteY179-10566" fmla="*/ 1375888 h 5321354"/>
              <a:gd name="connsiteX180-10567" fmla="*/ 245240 w 10693106"/>
              <a:gd name="connsiteY180-10568" fmla="*/ 1248888 h 5321354"/>
              <a:gd name="connsiteX181-10569" fmla="*/ 236773 w 10693106"/>
              <a:gd name="connsiteY181-10570" fmla="*/ 1147288 h 5321354"/>
              <a:gd name="connsiteX182-10571" fmla="*/ 245240 w 10693106"/>
              <a:gd name="connsiteY182-10572" fmla="*/ 876354 h 5321354"/>
              <a:gd name="connsiteX183-10573" fmla="*/ 236773 w 10693106"/>
              <a:gd name="connsiteY183-10574" fmla="*/ 732421 h 5321354"/>
              <a:gd name="connsiteX184-10575" fmla="*/ 109773 w 10693106"/>
              <a:gd name="connsiteY184-10576" fmla="*/ 588488 h 5321354"/>
              <a:gd name="connsiteX185-10577" fmla="*/ 58973 w 10693106"/>
              <a:gd name="connsiteY185-10578" fmla="*/ 512288 h 5321354"/>
              <a:gd name="connsiteX186-10579" fmla="*/ 16640 w 10693106"/>
              <a:gd name="connsiteY186-10580" fmla="*/ 461488 h 5321354"/>
              <a:gd name="connsiteX187-10581" fmla="*/ 8173 w 10693106"/>
              <a:gd name="connsiteY187-10582" fmla="*/ 419154 h 5321354"/>
              <a:gd name="connsiteX188-10583" fmla="*/ 16640 w 10693106"/>
              <a:gd name="connsiteY188-10584" fmla="*/ 368354 h 5321354"/>
              <a:gd name="connsiteX0-10585" fmla="*/ 16640 w 10693106"/>
              <a:gd name="connsiteY0-10586" fmla="*/ 368354 h 5321354"/>
              <a:gd name="connsiteX1-10587" fmla="*/ 58973 w 10693106"/>
              <a:gd name="connsiteY1-10588" fmla="*/ 275221 h 5321354"/>
              <a:gd name="connsiteX2-10589" fmla="*/ 109773 w 10693106"/>
              <a:gd name="connsiteY2-10590" fmla="*/ 207488 h 5321354"/>
              <a:gd name="connsiteX3-10591" fmla="*/ 202906 w 10693106"/>
              <a:gd name="connsiteY3-10592" fmla="*/ 122821 h 5321354"/>
              <a:gd name="connsiteX4-10593" fmla="*/ 236773 w 10693106"/>
              <a:gd name="connsiteY4-10594" fmla="*/ 97421 h 5321354"/>
              <a:gd name="connsiteX5-10595" fmla="*/ 346840 w 10693106"/>
              <a:gd name="connsiteY5-10596" fmla="*/ 38154 h 5321354"/>
              <a:gd name="connsiteX6-10597" fmla="*/ 397640 w 10693106"/>
              <a:gd name="connsiteY6-10598" fmla="*/ 4288 h 5321354"/>
              <a:gd name="connsiteX7-10599" fmla="*/ 467297 w 10693106"/>
              <a:gd name="connsiteY7-10600" fmla="*/ 143218 h 5321354"/>
              <a:gd name="connsiteX8-10601" fmla="*/ 492697 w 10693106"/>
              <a:gd name="connsiteY8-10602" fmla="*/ 103579 h 5321354"/>
              <a:gd name="connsiteX9-10603" fmla="*/ 822897 w 10693106"/>
              <a:gd name="connsiteY9-10604" fmla="*/ 112045 h 5321354"/>
              <a:gd name="connsiteX10-10605" fmla="*/ 1091906 w 10693106"/>
              <a:gd name="connsiteY10-10606" fmla="*/ 29688 h 5321354"/>
              <a:gd name="connsiteX11-10607" fmla="*/ 1235840 w 10693106"/>
              <a:gd name="connsiteY11-10608" fmla="*/ 88954 h 5321354"/>
              <a:gd name="connsiteX12-10609" fmla="*/ 1337440 w 10693106"/>
              <a:gd name="connsiteY12-10610" fmla="*/ 165154 h 5321354"/>
              <a:gd name="connsiteX13-10611" fmla="*/ 1422106 w 10693106"/>
              <a:gd name="connsiteY13-10612" fmla="*/ 275221 h 5321354"/>
              <a:gd name="connsiteX14-10613" fmla="*/ 1481373 w 10693106"/>
              <a:gd name="connsiteY14-10614" fmla="*/ 342954 h 5321354"/>
              <a:gd name="connsiteX15-10615" fmla="*/ 1532173 w 10693106"/>
              <a:gd name="connsiteY15-10616" fmla="*/ 376821 h 5321354"/>
              <a:gd name="connsiteX16-10617" fmla="*/ 1684573 w 10693106"/>
              <a:gd name="connsiteY16-10618" fmla="*/ 436088 h 5321354"/>
              <a:gd name="connsiteX17-10619" fmla="*/ 1760773 w 10693106"/>
              <a:gd name="connsiteY17-10620" fmla="*/ 453021 h 5321354"/>
              <a:gd name="connsiteX18-10621" fmla="*/ 1997840 w 10693106"/>
              <a:gd name="connsiteY18-10622" fmla="*/ 444554 h 5321354"/>
              <a:gd name="connsiteX19-10623" fmla="*/ 2116373 w 10693106"/>
              <a:gd name="connsiteY19-10624" fmla="*/ 427621 h 5321354"/>
              <a:gd name="connsiteX20-10625" fmla="*/ 2260306 w 10693106"/>
              <a:gd name="connsiteY20-10626" fmla="*/ 410688 h 5321354"/>
              <a:gd name="connsiteX21-10627" fmla="*/ 2404240 w 10693106"/>
              <a:gd name="connsiteY21-10628" fmla="*/ 385288 h 5321354"/>
              <a:gd name="connsiteX22-10629" fmla="*/ 2455040 w 10693106"/>
              <a:gd name="connsiteY22-10630" fmla="*/ 359888 h 5321354"/>
              <a:gd name="connsiteX23-10631" fmla="*/ 2531240 w 10693106"/>
              <a:gd name="connsiteY23-10632" fmla="*/ 334488 h 5321354"/>
              <a:gd name="connsiteX24-10633" fmla="*/ 2683640 w 10693106"/>
              <a:gd name="connsiteY24-10634" fmla="*/ 207488 h 5321354"/>
              <a:gd name="connsiteX25-10635" fmla="*/ 2742906 w 10693106"/>
              <a:gd name="connsiteY25-10636" fmla="*/ 215954 h 5321354"/>
              <a:gd name="connsiteX26-10637" fmla="*/ 2764920 w 10693106"/>
              <a:gd name="connsiteY26-10638" fmla="*/ 202408 h 5321354"/>
              <a:gd name="connsiteX27-10639" fmla="*/ 2832653 w 10693106"/>
              <a:gd name="connsiteY27-10640" fmla="*/ 197328 h 5321354"/>
              <a:gd name="connsiteX28-10641" fmla="*/ 3002294 w 10693106"/>
              <a:gd name="connsiteY28-10642" fmla="*/ 184012 h 5321354"/>
              <a:gd name="connsiteX29-10643" fmla="*/ 3142763 w 10693106"/>
              <a:gd name="connsiteY29-10644" fmla="*/ 139753 h 5321354"/>
              <a:gd name="connsiteX30-10645" fmla="*/ 3398918 w 10693106"/>
              <a:gd name="connsiteY30-10646" fmla="*/ 101654 h 5321354"/>
              <a:gd name="connsiteX31-10647" fmla="*/ 3606506 w 10693106"/>
              <a:gd name="connsiteY31-10648" fmla="*/ 89725 h 5321354"/>
              <a:gd name="connsiteX32-10649" fmla="*/ 3682706 w 10693106"/>
              <a:gd name="connsiteY32-10650" fmla="*/ 109274 h 5321354"/>
              <a:gd name="connsiteX33-10651" fmla="*/ 3741973 w 10693106"/>
              <a:gd name="connsiteY33-10652" fmla="*/ 115893 h 5321354"/>
              <a:gd name="connsiteX34-10653" fmla="*/ 3792773 w 10693106"/>
              <a:gd name="connsiteY34-10654" fmla="*/ 151608 h 5321354"/>
              <a:gd name="connsiteX35-10655" fmla="*/ 3831720 w 10693106"/>
              <a:gd name="connsiteY35-10656" fmla="*/ 166848 h 5321354"/>
              <a:gd name="connsiteX36-10657" fmla="*/ 3896297 w 10693106"/>
              <a:gd name="connsiteY36-10658" fmla="*/ 186321 h 5321354"/>
              <a:gd name="connsiteX37-10659" fmla="*/ 3950253 w 10693106"/>
              <a:gd name="connsiteY37-10660" fmla="*/ 205794 h 5321354"/>
              <a:gd name="connsiteX38-10661" fmla="*/ 3995973 w 10693106"/>
              <a:gd name="connsiteY38-10662" fmla="*/ 139754 h 5321354"/>
              <a:gd name="connsiteX39-10663" fmla="*/ 4021373 w 10693106"/>
              <a:gd name="connsiteY39-10664" fmla="*/ 173621 h 5321354"/>
              <a:gd name="connsiteX40-10665" fmla="*/ 4055240 w 10693106"/>
              <a:gd name="connsiteY40-10666" fmla="*/ 182088 h 5321354"/>
              <a:gd name="connsiteX41-10667" fmla="*/ 4275373 w 10693106"/>
              <a:gd name="connsiteY41-10668" fmla="*/ 224421 h 5321354"/>
              <a:gd name="connsiteX42-10669" fmla="*/ 4402373 w 10693106"/>
              <a:gd name="connsiteY42-10670" fmla="*/ 258288 h 5321354"/>
              <a:gd name="connsiteX43-10671" fmla="*/ 4529373 w 10693106"/>
              <a:gd name="connsiteY43-10672" fmla="*/ 300621 h 5321354"/>
              <a:gd name="connsiteX44-10673" fmla="*/ 4859573 w 10693106"/>
              <a:gd name="connsiteY44-10674" fmla="*/ 376821 h 5321354"/>
              <a:gd name="connsiteX45-10675" fmla="*/ 5045840 w 10693106"/>
              <a:gd name="connsiteY45-10676" fmla="*/ 453021 h 5321354"/>
              <a:gd name="connsiteX46-10677" fmla="*/ 5325240 w 10693106"/>
              <a:gd name="connsiteY46-10678" fmla="*/ 613888 h 5321354"/>
              <a:gd name="connsiteX47-10679" fmla="*/ 5494573 w 10693106"/>
              <a:gd name="connsiteY47-10680" fmla="*/ 766288 h 5321354"/>
              <a:gd name="connsiteX48-10681" fmla="*/ 5562306 w 10693106"/>
              <a:gd name="connsiteY48-10682" fmla="*/ 842488 h 5321354"/>
              <a:gd name="connsiteX49-10683" fmla="*/ 5621573 w 10693106"/>
              <a:gd name="connsiteY49-10684" fmla="*/ 893288 h 5321354"/>
              <a:gd name="connsiteX50-10685" fmla="*/ 5672373 w 10693106"/>
              <a:gd name="connsiteY50-10686" fmla="*/ 961021 h 5321354"/>
              <a:gd name="connsiteX51-10687" fmla="*/ 5757040 w 10693106"/>
              <a:gd name="connsiteY51-10688" fmla="*/ 1062621 h 5321354"/>
              <a:gd name="connsiteX52-10689" fmla="*/ 5833240 w 10693106"/>
              <a:gd name="connsiteY52-10690" fmla="*/ 1155754 h 5321354"/>
              <a:gd name="connsiteX53-10691" fmla="*/ 6019506 w 10693106"/>
              <a:gd name="connsiteY53-10692" fmla="*/ 1358954 h 5321354"/>
              <a:gd name="connsiteX54-10693" fmla="*/ 6087240 w 10693106"/>
              <a:gd name="connsiteY54-10694" fmla="*/ 1409754 h 5321354"/>
              <a:gd name="connsiteX55-10695" fmla="*/ 6171906 w 10693106"/>
              <a:gd name="connsiteY55-10696" fmla="*/ 1511354 h 5321354"/>
              <a:gd name="connsiteX56-10697" fmla="*/ 6451306 w 10693106"/>
              <a:gd name="connsiteY56-10698" fmla="*/ 1723021 h 5321354"/>
              <a:gd name="connsiteX57-10699" fmla="*/ 6519040 w 10693106"/>
              <a:gd name="connsiteY57-10700" fmla="*/ 1731488 h 5321354"/>
              <a:gd name="connsiteX58-10701" fmla="*/ 6603706 w 10693106"/>
              <a:gd name="connsiteY58-10702" fmla="*/ 1765354 h 5321354"/>
              <a:gd name="connsiteX59-10703" fmla="*/ 6671440 w 10693106"/>
              <a:gd name="connsiteY59-10704" fmla="*/ 1799221 h 5321354"/>
              <a:gd name="connsiteX60-10705" fmla="*/ 6866173 w 10693106"/>
              <a:gd name="connsiteY60-10706" fmla="*/ 1824621 h 5321354"/>
              <a:gd name="connsiteX61-10707" fmla="*/ 7196373 w 10693106"/>
              <a:gd name="connsiteY61-10708" fmla="*/ 1807688 h 5321354"/>
              <a:gd name="connsiteX62-10709" fmla="*/ 7509640 w 10693106"/>
              <a:gd name="connsiteY62-10710" fmla="*/ 1731488 h 5321354"/>
              <a:gd name="connsiteX63-10711" fmla="*/ 7628173 w 10693106"/>
              <a:gd name="connsiteY63-10712" fmla="*/ 1706088 h 5321354"/>
              <a:gd name="connsiteX64-10713" fmla="*/ 7704373 w 10693106"/>
              <a:gd name="connsiteY64-10714" fmla="*/ 1663754 h 5321354"/>
              <a:gd name="connsiteX65-10715" fmla="*/ 7755173 w 10693106"/>
              <a:gd name="connsiteY65-10716" fmla="*/ 1655288 h 5321354"/>
              <a:gd name="connsiteX66-10717" fmla="*/ 7797506 w 10693106"/>
              <a:gd name="connsiteY66-10718" fmla="*/ 1621421 h 5321354"/>
              <a:gd name="connsiteX67-10719" fmla="*/ 7856773 w 10693106"/>
              <a:gd name="connsiteY67-10720" fmla="*/ 1604488 h 5321354"/>
              <a:gd name="connsiteX68-10721" fmla="*/ 7958373 w 10693106"/>
              <a:gd name="connsiteY68-10722" fmla="*/ 1536754 h 5321354"/>
              <a:gd name="connsiteX69-10723" fmla="*/ 8009173 w 10693106"/>
              <a:gd name="connsiteY69-10724" fmla="*/ 1485954 h 5321354"/>
              <a:gd name="connsiteX70-10725" fmla="*/ 8339373 w 10693106"/>
              <a:gd name="connsiteY70-10726" fmla="*/ 1240421 h 5321354"/>
              <a:gd name="connsiteX71-10727" fmla="*/ 8576440 w 10693106"/>
              <a:gd name="connsiteY71-10728" fmla="*/ 986421 h 5321354"/>
              <a:gd name="connsiteX72-10729" fmla="*/ 8652640 w 10693106"/>
              <a:gd name="connsiteY72-10730" fmla="*/ 707021 h 5321354"/>
              <a:gd name="connsiteX73-10731" fmla="*/ 8847373 w 10693106"/>
              <a:gd name="connsiteY73-10732" fmla="*/ 520754 h 5321354"/>
              <a:gd name="connsiteX74-10733" fmla="*/ 8982840 w 10693106"/>
              <a:gd name="connsiteY74-10734" fmla="*/ 427621 h 5321354"/>
              <a:gd name="connsiteX75-10735" fmla="*/ 9084440 w 10693106"/>
              <a:gd name="connsiteY75-10736" fmla="*/ 393754 h 5321354"/>
              <a:gd name="connsiteX76-10737" fmla="*/ 9152173 w 10693106"/>
              <a:gd name="connsiteY76-10738" fmla="*/ 368354 h 5321354"/>
              <a:gd name="connsiteX77-10739" fmla="*/ 9380773 w 10693106"/>
              <a:gd name="connsiteY77-10740" fmla="*/ 385288 h 5321354"/>
              <a:gd name="connsiteX78-10741" fmla="*/ 9744840 w 10693106"/>
              <a:gd name="connsiteY78-10742" fmla="*/ 495354 h 5321354"/>
              <a:gd name="connsiteX79-10743" fmla="*/ 9888773 w 10693106"/>
              <a:gd name="connsiteY79-10744" fmla="*/ 537688 h 5321354"/>
              <a:gd name="connsiteX80-10745" fmla="*/ 9998840 w 10693106"/>
              <a:gd name="connsiteY80-10746" fmla="*/ 588488 h 5321354"/>
              <a:gd name="connsiteX81-10747" fmla="*/ 10083506 w 10693106"/>
              <a:gd name="connsiteY81-10748" fmla="*/ 647754 h 5321354"/>
              <a:gd name="connsiteX82-10749" fmla="*/ 10286706 w 10693106"/>
              <a:gd name="connsiteY82-10750" fmla="*/ 715488 h 5321354"/>
              <a:gd name="connsiteX83-10751" fmla="*/ 10388306 w 10693106"/>
              <a:gd name="connsiteY83-10752" fmla="*/ 918688 h 5321354"/>
              <a:gd name="connsiteX84-10753" fmla="*/ 10540706 w 10693106"/>
              <a:gd name="connsiteY84-10754" fmla="*/ 1291221 h 5321354"/>
              <a:gd name="connsiteX85-10755" fmla="*/ 10557640 w 10693106"/>
              <a:gd name="connsiteY85-10756" fmla="*/ 1375888 h 5321354"/>
              <a:gd name="connsiteX86-10757" fmla="*/ 10583040 w 10693106"/>
              <a:gd name="connsiteY86-10758" fmla="*/ 1477488 h 5321354"/>
              <a:gd name="connsiteX87-10759" fmla="*/ 10616906 w 10693106"/>
              <a:gd name="connsiteY87-10760" fmla="*/ 1680688 h 5321354"/>
              <a:gd name="connsiteX88-10761" fmla="*/ 10633840 w 10693106"/>
              <a:gd name="connsiteY88-10762" fmla="*/ 1765354 h 5321354"/>
              <a:gd name="connsiteX89-10763" fmla="*/ 10650773 w 10693106"/>
              <a:gd name="connsiteY89-10764" fmla="*/ 1799221 h 5321354"/>
              <a:gd name="connsiteX90-10765" fmla="*/ 10676173 w 10693106"/>
              <a:gd name="connsiteY90-10766" fmla="*/ 1883888 h 5321354"/>
              <a:gd name="connsiteX91-10767" fmla="*/ 10693106 w 10693106"/>
              <a:gd name="connsiteY91-10768" fmla="*/ 2036288 h 5321354"/>
              <a:gd name="connsiteX92-10769" fmla="*/ 10625373 w 10693106"/>
              <a:gd name="connsiteY92-10770" fmla="*/ 2256421 h 5321354"/>
              <a:gd name="connsiteX93-10771" fmla="*/ 10608440 w 10693106"/>
              <a:gd name="connsiteY93-10772" fmla="*/ 2281821 h 5321354"/>
              <a:gd name="connsiteX94-10773" fmla="*/ 10540706 w 10693106"/>
              <a:gd name="connsiteY94-10774" fmla="*/ 2425754 h 5321354"/>
              <a:gd name="connsiteX95-10775" fmla="*/ 10498373 w 10693106"/>
              <a:gd name="connsiteY95-10776" fmla="*/ 2510421 h 5321354"/>
              <a:gd name="connsiteX96-10777" fmla="*/ 10439106 w 10693106"/>
              <a:gd name="connsiteY96-10778" fmla="*/ 2696688 h 5321354"/>
              <a:gd name="connsiteX97-10779" fmla="*/ 10430640 w 10693106"/>
              <a:gd name="connsiteY97-10780" fmla="*/ 2739021 h 5321354"/>
              <a:gd name="connsiteX98-10781" fmla="*/ 10405240 w 10693106"/>
              <a:gd name="connsiteY98-10782" fmla="*/ 2815221 h 5321354"/>
              <a:gd name="connsiteX99-10783" fmla="*/ 10396773 w 10693106"/>
              <a:gd name="connsiteY99-10784" fmla="*/ 2849088 h 5321354"/>
              <a:gd name="connsiteX100-10785" fmla="*/ 10362906 w 10693106"/>
              <a:gd name="connsiteY100-10786" fmla="*/ 2942221 h 5321354"/>
              <a:gd name="connsiteX101-10787" fmla="*/ 10329040 w 10693106"/>
              <a:gd name="connsiteY101-10788" fmla="*/ 2984554 h 5321354"/>
              <a:gd name="connsiteX102-10789" fmla="*/ 10227440 w 10693106"/>
              <a:gd name="connsiteY102-10790" fmla="*/ 3086154 h 5321354"/>
              <a:gd name="connsiteX103-10791" fmla="*/ 10168173 w 10693106"/>
              <a:gd name="connsiteY103-10792" fmla="*/ 3153888 h 5321354"/>
              <a:gd name="connsiteX104-10793" fmla="*/ 10117373 w 10693106"/>
              <a:gd name="connsiteY104-10794" fmla="*/ 3204688 h 5321354"/>
              <a:gd name="connsiteX105-10795" fmla="*/ 10032706 w 10693106"/>
              <a:gd name="connsiteY105-10796" fmla="*/ 3306288 h 5321354"/>
              <a:gd name="connsiteX106-10797" fmla="*/ 9948040 w 10693106"/>
              <a:gd name="connsiteY106-10798" fmla="*/ 3365554 h 5321354"/>
              <a:gd name="connsiteX107-10799" fmla="*/ 9905706 w 10693106"/>
              <a:gd name="connsiteY107-10800" fmla="*/ 3390954 h 5321354"/>
              <a:gd name="connsiteX108-10801" fmla="*/ 9829506 w 10693106"/>
              <a:gd name="connsiteY108-10802" fmla="*/ 3407888 h 5321354"/>
              <a:gd name="connsiteX109-10803" fmla="*/ 9727906 w 10693106"/>
              <a:gd name="connsiteY109-10804" fmla="*/ 3450221 h 5321354"/>
              <a:gd name="connsiteX110-10805" fmla="*/ 9634773 w 10693106"/>
              <a:gd name="connsiteY110-10806" fmla="*/ 3475621 h 5321354"/>
              <a:gd name="connsiteX111-10807" fmla="*/ 9456973 w 10693106"/>
              <a:gd name="connsiteY111-10808" fmla="*/ 3568754 h 5321354"/>
              <a:gd name="connsiteX112-10809" fmla="*/ 9313040 w 10693106"/>
              <a:gd name="connsiteY112-10810" fmla="*/ 3695754 h 5321354"/>
              <a:gd name="connsiteX113-10811" fmla="*/ 9279173 w 10693106"/>
              <a:gd name="connsiteY113-10812" fmla="*/ 3712688 h 5321354"/>
              <a:gd name="connsiteX114-10813" fmla="*/ 9067506 w 10693106"/>
              <a:gd name="connsiteY114-10814" fmla="*/ 3890488 h 5321354"/>
              <a:gd name="connsiteX115-10815" fmla="*/ 8999773 w 10693106"/>
              <a:gd name="connsiteY115-10816" fmla="*/ 3958221 h 5321354"/>
              <a:gd name="connsiteX116-10817" fmla="*/ 8813506 w 10693106"/>
              <a:gd name="connsiteY116-10818" fmla="*/ 4093688 h 5321354"/>
              <a:gd name="connsiteX117-10819" fmla="*/ 8728840 w 10693106"/>
              <a:gd name="connsiteY117-10820" fmla="*/ 4136021 h 5321354"/>
              <a:gd name="connsiteX118-10821" fmla="*/ 8373240 w 10693106"/>
              <a:gd name="connsiteY118-10822" fmla="*/ 4169888 h 5321354"/>
              <a:gd name="connsiteX119-10823" fmla="*/ 7966840 w 10693106"/>
              <a:gd name="connsiteY119-10824" fmla="*/ 4263021 h 5321354"/>
              <a:gd name="connsiteX120-10825" fmla="*/ 7687440 w 10693106"/>
              <a:gd name="connsiteY120-10826" fmla="*/ 4423888 h 5321354"/>
              <a:gd name="connsiteX121-10827" fmla="*/ 7551973 w 10693106"/>
              <a:gd name="connsiteY121-10828" fmla="*/ 4508554 h 5321354"/>
              <a:gd name="connsiteX122-10829" fmla="*/ 7374173 w 10693106"/>
              <a:gd name="connsiteY122-10830" fmla="*/ 4686354 h 5321354"/>
              <a:gd name="connsiteX123-10831" fmla="*/ 7374173 w 10693106"/>
              <a:gd name="connsiteY123-10832" fmla="*/ 4686354 h 5321354"/>
              <a:gd name="connsiteX124-10833" fmla="*/ 7221773 w 10693106"/>
              <a:gd name="connsiteY124-10834" fmla="*/ 4804888 h 5321354"/>
              <a:gd name="connsiteX125-10835" fmla="*/ 7027040 w 10693106"/>
              <a:gd name="connsiteY125-10836" fmla="*/ 4931888 h 5321354"/>
              <a:gd name="connsiteX126-10837" fmla="*/ 6883106 w 10693106"/>
              <a:gd name="connsiteY126-10838" fmla="*/ 4999621 h 5321354"/>
              <a:gd name="connsiteX127-10839" fmla="*/ 6815373 w 10693106"/>
              <a:gd name="connsiteY127-10840" fmla="*/ 5041954 h 5321354"/>
              <a:gd name="connsiteX128-10841" fmla="*/ 6646040 w 10693106"/>
              <a:gd name="connsiteY128-10842" fmla="*/ 5135088 h 5321354"/>
              <a:gd name="connsiteX129-10843" fmla="*/ 6527506 w 10693106"/>
              <a:gd name="connsiteY129-10844" fmla="*/ 5194354 h 5321354"/>
              <a:gd name="connsiteX130-10845" fmla="*/ 6298906 w 10693106"/>
              <a:gd name="connsiteY130-10846" fmla="*/ 5270554 h 5321354"/>
              <a:gd name="connsiteX131-10847" fmla="*/ 6197306 w 10693106"/>
              <a:gd name="connsiteY131-10848" fmla="*/ 5295954 h 5321354"/>
              <a:gd name="connsiteX132-10849" fmla="*/ 6061840 w 10693106"/>
              <a:gd name="connsiteY132-10850" fmla="*/ 5304421 h 5321354"/>
              <a:gd name="connsiteX133-10851" fmla="*/ 5917906 w 10693106"/>
              <a:gd name="connsiteY133-10852" fmla="*/ 5321354 h 5321354"/>
              <a:gd name="connsiteX134-10853" fmla="*/ 5748573 w 10693106"/>
              <a:gd name="connsiteY134-10854" fmla="*/ 5312888 h 5321354"/>
              <a:gd name="connsiteX135-10855" fmla="*/ 5282906 w 10693106"/>
              <a:gd name="connsiteY135-10856" fmla="*/ 5202821 h 5321354"/>
              <a:gd name="connsiteX136-10857" fmla="*/ 5138973 w 10693106"/>
              <a:gd name="connsiteY136-10858" fmla="*/ 5101221 h 5321354"/>
              <a:gd name="connsiteX137-10859" fmla="*/ 5020440 w 10693106"/>
              <a:gd name="connsiteY137-10860" fmla="*/ 4948821 h 5321354"/>
              <a:gd name="connsiteX138-10861" fmla="*/ 4952706 w 10693106"/>
              <a:gd name="connsiteY138-10862" fmla="*/ 4872621 h 5321354"/>
              <a:gd name="connsiteX139-10863" fmla="*/ 4884973 w 10693106"/>
              <a:gd name="connsiteY139-10864" fmla="*/ 4804888 h 5321354"/>
              <a:gd name="connsiteX140-10865" fmla="*/ 4686853 w 10693106"/>
              <a:gd name="connsiteY140-10866" fmla="*/ 4817588 h 5321354"/>
              <a:gd name="connsiteX141-10867" fmla="*/ 4536146 w 10693106"/>
              <a:gd name="connsiteY141-10868" fmla="*/ 4742234 h 5321354"/>
              <a:gd name="connsiteX142-10869" fmla="*/ 4365120 w 10693106"/>
              <a:gd name="connsiteY142-10870" fmla="*/ 4645714 h 5321354"/>
              <a:gd name="connsiteX143-10871" fmla="*/ 4187743 w 10693106"/>
              <a:gd name="connsiteY143-10872" fmla="*/ 4550888 h 5321354"/>
              <a:gd name="connsiteX144-10873" fmla="*/ 4038306 w 10693106"/>
              <a:gd name="connsiteY144-10874" fmla="*/ 4395101 h 5321354"/>
              <a:gd name="connsiteX145-10875" fmla="*/ 3893103 w 10693106"/>
              <a:gd name="connsiteY145-10876" fmla="*/ 4284611 h 5321354"/>
              <a:gd name="connsiteX146-10877" fmla="*/ 3882520 w 10693106"/>
              <a:gd name="connsiteY146-10878" fmla="*/ 4210104 h 5321354"/>
              <a:gd name="connsiteX147-10879" fmla="*/ 3895643 w 10693106"/>
              <a:gd name="connsiteY147-10880" fmla="*/ 4089031 h 5321354"/>
              <a:gd name="connsiteX148-10881" fmla="*/ 3919773 w 10693106"/>
              <a:gd name="connsiteY148-10882" fmla="*/ 3949754 h 5321354"/>
              <a:gd name="connsiteX149-10883" fmla="*/ 3877440 w 10693106"/>
              <a:gd name="connsiteY149-10884" fmla="*/ 3653421 h 5321354"/>
              <a:gd name="connsiteX150-10885" fmla="*/ 3852040 w 10693106"/>
              <a:gd name="connsiteY150-10886" fmla="*/ 3560288 h 5321354"/>
              <a:gd name="connsiteX151-10887" fmla="*/ 3801240 w 10693106"/>
              <a:gd name="connsiteY151-10888" fmla="*/ 3450221 h 5321354"/>
              <a:gd name="connsiteX152-10889" fmla="*/ 3733506 w 10693106"/>
              <a:gd name="connsiteY152-10890" fmla="*/ 3348621 h 5321354"/>
              <a:gd name="connsiteX153-10891" fmla="*/ 3242440 w 10693106"/>
              <a:gd name="connsiteY153-10892" fmla="*/ 3128488 h 5321354"/>
              <a:gd name="connsiteX154-10893" fmla="*/ 3123906 w 10693106"/>
              <a:gd name="connsiteY154-10894" fmla="*/ 3026888 h 5321354"/>
              <a:gd name="connsiteX155-10895" fmla="*/ 2988440 w 10693106"/>
              <a:gd name="connsiteY155-10896" fmla="*/ 2832154 h 5321354"/>
              <a:gd name="connsiteX156-10897" fmla="*/ 2971506 w 10693106"/>
              <a:gd name="connsiteY156-10898" fmla="*/ 2772888 h 5321354"/>
              <a:gd name="connsiteX157-10899" fmla="*/ 2996906 w 10693106"/>
              <a:gd name="connsiteY157-10900" fmla="*/ 2561221 h 5321354"/>
              <a:gd name="connsiteX158-10901" fmla="*/ 3013840 w 10693106"/>
              <a:gd name="connsiteY158-10902" fmla="*/ 2459621 h 5321354"/>
              <a:gd name="connsiteX159-10903" fmla="*/ 3005373 w 10693106"/>
              <a:gd name="connsiteY159-10904" fmla="*/ 2341088 h 5321354"/>
              <a:gd name="connsiteX160-10905" fmla="*/ 2988440 w 10693106"/>
              <a:gd name="connsiteY160-10906" fmla="*/ 2290288 h 5321354"/>
              <a:gd name="connsiteX161-10907" fmla="*/ 2802173 w 10693106"/>
              <a:gd name="connsiteY161-10908" fmla="*/ 2036288 h 5321354"/>
              <a:gd name="connsiteX162-10909" fmla="*/ 2641306 w 10693106"/>
              <a:gd name="connsiteY162-10910" fmla="*/ 1892354 h 5321354"/>
              <a:gd name="connsiteX163-10911" fmla="*/ 2590506 w 10693106"/>
              <a:gd name="connsiteY163-10912" fmla="*/ 1866954 h 5321354"/>
              <a:gd name="connsiteX164-10913" fmla="*/ 2531240 w 10693106"/>
              <a:gd name="connsiteY164-10914" fmla="*/ 1858488 h 5321354"/>
              <a:gd name="connsiteX165-10915" fmla="*/ 2446573 w 10693106"/>
              <a:gd name="connsiteY165-10916" fmla="*/ 1841554 h 5321354"/>
              <a:gd name="connsiteX166-10917" fmla="*/ 2251840 w 10693106"/>
              <a:gd name="connsiteY166-10918" fmla="*/ 1866954 h 5321354"/>
              <a:gd name="connsiteX167-10919" fmla="*/ 2167173 w 10693106"/>
              <a:gd name="connsiteY167-10920" fmla="*/ 1909288 h 5321354"/>
              <a:gd name="connsiteX168-10921" fmla="*/ 1980906 w 10693106"/>
              <a:gd name="connsiteY168-10922" fmla="*/ 1968554 h 5321354"/>
              <a:gd name="connsiteX169-10923" fmla="*/ 1904706 w 10693106"/>
              <a:gd name="connsiteY169-10924" fmla="*/ 2002421 h 5321354"/>
              <a:gd name="connsiteX170-10925" fmla="*/ 1828506 w 10693106"/>
              <a:gd name="connsiteY170-10926" fmla="*/ 2019354 h 5321354"/>
              <a:gd name="connsiteX171-10927" fmla="*/ 1726906 w 10693106"/>
              <a:gd name="connsiteY171-10928" fmla="*/ 2070154 h 5321354"/>
              <a:gd name="connsiteX172-10929" fmla="*/ 1659173 w 10693106"/>
              <a:gd name="connsiteY172-10930" fmla="*/ 2104021 h 5321354"/>
              <a:gd name="connsiteX173-10931" fmla="*/ 1498306 w 10693106"/>
              <a:gd name="connsiteY173-10932" fmla="*/ 2129421 h 5321354"/>
              <a:gd name="connsiteX174-10933" fmla="*/ 914106 w 10693106"/>
              <a:gd name="connsiteY174-10934" fmla="*/ 2061688 h 5321354"/>
              <a:gd name="connsiteX175-10935" fmla="*/ 617773 w 10693106"/>
              <a:gd name="connsiteY175-10936" fmla="*/ 1951621 h 5321354"/>
              <a:gd name="connsiteX176-10937" fmla="*/ 516173 w 10693106"/>
              <a:gd name="connsiteY176-10938" fmla="*/ 1866954 h 5321354"/>
              <a:gd name="connsiteX177-10939" fmla="*/ 355306 w 10693106"/>
              <a:gd name="connsiteY177-10940" fmla="*/ 1655288 h 5321354"/>
              <a:gd name="connsiteX178-10941" fmla="*/ 296040 w 10693106"/>
              <a:gd name="connsiteY178-10942" fmla="*/ 1553688 h 5321354"/>
              <a:gd name="connsiteX179-10943" fmla="*/ 253706 w 10693106"/>
              <a:gd name="connsiteY179-10944" fmla="*/ 1375888 h 5321354"/>
              <a:gd name="connsiteX180-10945" fmla="*/ 245240 w 10693106"/>
              <a:gd name="connsiteY180-10946" fmla="*/ 1248888 h 5321354"/>
              <a:gd name="connsiteX181-10947" fmla="*/ 236773 w 10693106"/>
              <a:gd name="connsiteY181-10948" fmla="*/ 1147288 h 5321354"/>
              <a:gd name="connsiteX182-10949" fmla="*/ 245240 w 10693106"/>
              <a:gd name="connsiteY182-10950" fmla="*/ 876354 h 5321354"/>
              <a:gd name="connsiteX183-10951" fmla="*/ 236773 w 10693106"/>
              <a:gd name="connsiteY183-10952" fmla="*/ 732421 h 5321354"/>
              <a:gd name="connsiteX184-10953" fmla="*/ 109773 w 10693106"/>
              <a:gd name="connsiteY184-10954" fmla="*/ 588488 h 5321354"/>
              <a:gd name="connsiteX185-10955" fmla="*/ 58973 w 10693106"/>
              <a:gd name="connsiteY185-10956" fmla="*/ 512288 h 5321354"/>
              <a:gd name="connsiteX186-10957" fmla="*/ 16640 w 10693106"/>
              <a:gd name="connsiteY186-10958" fmla="*/ 461488 h 5321354"/>
              <a:gd name="connsiteX187-10959" fmla="*/ 8173 w 10693106"/>
              <a:gd name="connsiteY187-10960" fmla="*/ 419154 h 5321354"/>
              <a:gd name="connsiteX188-10961" fmla="*/ 16640 w 10693106"/>
              <a:gd name="connsiteY188-10962" fmla="*/ 368354 h 5321354"/>
              <a:gd name="connsiteX0-10963" fmla="*/ 16640 w 10693106"/>
              <a:gd name="connsiteY0-10964" fmla="*/ 368354 h 5321354"/>
              <a:gd name="connsiteX1-10965" fmla="*/ 58973 w 10693106"/>
              <a:gd name="connsiteY1-10966" fmla="*/ 275221 h 5321354"/>
              <a:gd name="connsiteX2-10967" fmla="*/ 109773 w 10693106"/>
              <a:gd name="connsiteY2-10968" fmla="*/ 207488 h 5321354"/>
              <a:gd name="connsiteX3-10969" fmla="*/ 202906 w 10693106"/>
              <a:gd name="connsiteY3-10970" fmla="*/ 122821 h 5321354"/>
              <a:gd name="connsiteX4-10971" fmla="*/ 236773 w 10693106"/>
              <a:gd name="connsiteY4-10972" fmla="*/ 97421 h 5321354"/>
              <a:gd name="connsiteX5-10973" fmla="*/ 346840 w 10693106"/>
              <a:gd name="connsiteY5-10974" fmla="*/ 38154 h 5321354"/>
              <a:gd name="connsiteX6-10975" fmla="*/ 397640 w 10693106"/>
              <a:gd name="connsiteY6-10976" fmla="*/ 4288 h 5321354"/>
              <a:gd name="connsiteX7-10977" fmla="*/ 467297 w 10693106"/>
              <a:gd name="connsiteY7-10978" fmla="*/ 143218 h 5321354"/>
              <a:gd name="connsiteX8-10979" fmla="*/ 492697 w 10693106"/>
              <a:gd name="connsiteY8-10980" fmla="*/ 103579 h 5321354"/>
              <a:gd name="connsiteX9-10981" fmla="*/ 822897 w 10693106"/>
              <a:gd name="connsiteY9-10982" fmla="*/ 112045 h 5321354"/>
              <a:gd name="connsiteX10-10983" fmla="*/ 1091906 w 10693106"/>
              <a:gd name="connsiteY10-10984" fmla="*/ 29688 h 5321354"/>
              <a:gd name="connsiteX11-10985" fmla="*/ 1235840 w 10693106"/>
              <a:gd name="connsiteY11-10986" fmla="*/ 88954 h 5321354"/>
              <a:gd name="connsiteX12-10987" fmla="*/ 1337440 w 10693106"/>
              <a:gd name="connsiteY12-10988" fmla="*/ 165154 h 5321354"/>
              <a:gd name="connsiteX13-10989" fmla="*/ 1422106 w 10693106"/>
              <a:gd name="connsiteY13-10990" fmla="*/ 275221 h 5321354"/>
              <a:gd name="connsiteX14-10991" fmla="*/ 1481373 w 10693106"/>
              <a:gd name="connsiteY14-10992" fmla="*/ 342954 h 5321354"/>
              <a:gd name="connsiteX15-10993" fmla="*/ 1532173 w 10693106"/>
              <a:gd name="connsiteY15-10994" fmla="*/ 376821 h 5321354"/>
              <a:gd name="connsiteX16-10995" fmla="*/ 1684573 w 10693106"/>
              <a:gd name="connsiteY16-10996" fmla="*/ 436088 h 5321354"/>
              <a:gd name="connsiteX17-10997" fmla="*/ 1760773 w 10693106"/>
              <a:gd name="connsiteY17-10998" fmla="*/ 453021 h 5321354"/>
              <a:gd name="connsiteX18-10999" fmla="*/ 1997840 w 10693106"/>
              <a:gd name="connsiteY18-11000" fmla="*/ 444554 h 5321354"/>
              <a:gd name="connsiteX19-11001" fmla="*/ 2116373 w 10693106"/>
              <a:gd name="connsiteY19-11002" fmla="*/ 427621 h 5321354"/>
              <a:gd name="connsiteX20-11003" fmla="*/ 2260306 w 10693106"/>
              <a:gd name="connsiteY20-11004" fmla="*/ 410688 h 5321354"/>
              <a:gd name="connsiteX21-11005" fmla="*/ 2404240 w 10693106"/>
              <a:gd name="connsiteY21-11006" fmla="*/ 385288 h 5321354"/>
              <a:gd name="connsiteX22-11007" fmla="*/ 2455040 w 10693106"/>
              <a:gd name="connsiteY22-11008" fmla="*/ 359888 h 5321354"/>
              <a:gd name="connsiteX23-11009" fmla="*/ 2531240 w 10693106"/>
              <a:gd name="connsiteY23-11010" fmla="*/ 334488 h 5321354"/>
              <a:gd name="connsiteX24-11011" fmla="*/ 2683640 w 10693106"/>
              <a:gd name="connsiteY24-11012" fmla="*/ 207488 h 5321354"/>
              <a:gd name="connsiteX25-11013" fmla="*/ 2742906 w 10693106"/>
              <a:gd name="connsiteY25-11014" fmla="*/ 215954 h 5321354"/>
              <a:gd name="connsiteX26-11015" fmla="*/ 2764920 w 10693106"/>
              <a:gd name="connsiteY26-11016" fmla="*/ 202408 h 5321354"/>
              <a:gd name="connsiteX27-11017" fmla="*/ 2832653 w 10693106"/>
              <a:gd name="connsiteY27-11018" fmla="*/ 197328 h 5321354"/>
              <a:gd name="connsiteX28-11019" fmla="*/ 3002294 w 10693106"/>
              <a:gd name="connsiteY28-11020" fmla="*/ 184012 h 5321354"/>
              <a:gd name="connsiteX29-11021" fmla="*/ 3142763 w 10693106"/>
              <a:gd name="connsiteY29-11022" fmla="*/ 139753 h 5321354"/>
              <a:gd name="connsiteX30-11023" fmla="*/ 3398918 w 10693106"/>
              <a:gd name="connsiteY30-11024" fmla="*/ 101654 h 5321354"/>
              <a:gd name="connsiteX31-11025" fmla="*/ 3606506 w 10693106"/>
              <a:gd name="connsiteY31-11026" fmla="*/ 89725 h 5321354"/>
              <a:gd name="connsiteX32-11027" fmla="*/ 3682706 w 10693106"/>
              <a:gd name="connsiteY32-11028" fmla="*/ 109274 h 5321354"/>
              <a:gd name="connsiteX33-11029" fmla="*/ 3741973 w 10693106"/>
              <a:gd name="connsiteY33-11030" fmla="*/ 115893 h 5321354"/>
              <a:gd name="connsiteX34-11031" fmla="*/ 3792773 w 10693106"/>
              <a:gd name="connsiteY34-11032" fmla="*/ 151608 h 5321354"/>
              <a:gd name="connsiteX35-11033" fmla="*/ 3831720 w 10693106"/>
              <a:gd name="connsiteY35-11034" fmla="*/ 166848 h 5321354"/>
              <a:gd name="connsiteX36-11035" fmla="*/ 3896297 w 10693106"/>
              <a:gd name="connsiteY36-11036" fmla="*/ 186321 h 5321354"/>
              <a:gd name="connsiteX37-11037" fmla="*/ 3950253 w 10693106"/>
              <a:gd name="connsiteY37-11038" fmla="*/ 205794 h 5321354"/>
              <a:gd name="connsiteX38-11039" fmla="*/ 3995973 w 10693106"/>
              <a:gd name="connsiteY38-11040" fmla="*/ 139754 h 5321354"/>
              <a:gd name="connsiteX39-11041" fmla="*/ 4021373 w 10693106"/>
              <a:gd name="connsiteY39-11042" fmla="*/ 173621 h 5321354"/>
              <a:gd name="connsiteX40-11043" fmla="*/ 4055240 w 10693106"/>
              <a:gd name="connsiteY40-11044" fmla="*/ 182088 h 5321354"/>
              <a:gd name="connsiteX41-11045" fmla="*/ 4275373 w 10693106"/>
              <a:gd name="connsiteY41-11046" fmla="*/ 224421 h 5321354"/>
              <a:gd name="connsiteX42-11047" fmla="*/ 4402373 w 10693106"/>
              <a:gd name="connsiteY42-11048" fmla="*/ 258288 h 5321354"/>
              <a:gd name="connsiteX43-11049" fmla="*/ 4529373 w 10693106"/>
              <a:gd name="connsiteY43-11050" fmla="*/ 300621 h 5321354"/>
              <a:gd name="connsiteX44-11051" fmla="*/ 4859573 w 10693106"/>
              <a:gd name="connsiteY44-11052" fmla="*/ 376821 h 5321354"/>
              <a:gd name="connsiteX45-11053" fmla="*/ 5045840 w 10693106"/>
              <a:gd name="connsiteY45-11054" fmla="*/ 453021 h 5321354"/>
              <a:gd name="connsiteX46-11055" fmla="*/ 5325240 w 10693106"/>
              <a:gd name="connsiteY46-11056" fmla="*/ 613888 h 5321354"/>
              <a:gd name="connsiteX47-11057" fmla="*/ 5494573 w 10693106"/>
              <a:gd name="connsiteY47-11058" fmla="*/ 766288 h 5321354"/>
              <a:gd name="connsiteX48-11059" fmla="*/ 5562306 w 10693106"/>
              <a:gd name="connsiteY48-11060" fmla="*/ 842488 h 5321354"/>
              <a:gd name="connsiteX49-11061" fmla="*/ 5621573 w 10693106"/>
              <a:gd name="connsiteY49-11062" fmla="*/ 893288 h 5321354"/>
              <a:gd name="connsiteX50-11063" fmla="*/ 5672373 w 10693106"/>
              <a:gd name="connsiteY50-11064" fmla="*/ 961021 h 5321354"/>
              <a:gd name="connsiteX51-11065" fmla="*/ 5757040 w 10693106"/>
              <a:gd name="connsiteY51-11066" fmla="*/ 1062621 h 5321354"/>
              <a:gd name="connsiteX52-11067" fmla="*/ 5833240 w 10693106"/>
              <a:gd name="connsiteY52-11068" fmla="*/ 1155754 h 5321354"/>
              <a:gd name="connsiteX53-11069" fmla="*/ 6019506 w 10693106"/>
              <a:gd name="connsiteY53-11070" fmla="*/ 1358954 h 5321354"/>
              <a:gd name="connsiteX54-11071" fmla="*/ 6087240 w 10693106"/>
              <a:gd name="connsiteY54-11072" fmla="*/ 1409754 h 5321354"/>
              <a:gd name="connsiteX55-11073" fmla="*/ 6171906 w 10693106"/>
              <a:gd name="connsiteY55-11074" fmla="*/ 1511354 h 5321354"/>
              <a:gd name="connsiteX56-11075" fmla="*/ 6451306 w 10693106"/>
              <a:gd name="connsiteY56-11076" fmla="*/ 1723021 h 5321354"/>
              <a:gd name="connsiteX57-11077" fmla="*/ 6519040 w 10693106"/>
              <a:gd name="connsiteY57-11078" fmla="*/ 1731488 h 5321354"/>
              <a:gd name="connsiteX58-11079" fmla="*/ 6603706 w 10693106"/>
              <a:gd name="connsiteY58-11080" fmla="*/ 1765354 h 5321354"/>
              <a:gd name="connsiteX59-11081" fmla="*/ 6671440 w 10693106"/>
              <a:gd name="connsiteY59-11082" fmla="*/ 1799221 h 5321354"/>
              <a:gd name="connsiteX60-11083" fmla="*/ 6866173 w 10693106"/>
              <a:gd name="connsiteY60-11084" fmla="*/ 1824621 h 5321354"/>
              <a:gd name="connsiteX61-11085" fmla="*/ 7196373 w 10693106"/>
              <a:gd name="connsiteY61-11086" fmla="*/ 1807688 h 5321354"/>
              <a:gd name="connsiteX62-11087" fmla="*/ 7509640 w 10693106"/>
              <a:gd name="connsiteY62-11088" fmla="*/ 1731488 h 5321354"/>
              <a:gd name="connsiteX63-11089" fmla="*/ 7628173 w 10693106"/>
              <a:gd name="connsiteY63-11090" fmla="*/ 1706088 h 5321354"/>
              <a:gd name="connsiteX64-11091" fmla="*/ 7704373 w 10693106"/>
              <a:gd name="connsiteY64-11092" fmla="*/ 1663754 h 5321354"/>
              <a:gd name="connsiteX65-11093" fmla="*/ 7755173 w 10693106"/>
              <a:gd name="connsiteY65-11094" fmla="*/ 1655288 h 5321354"/>
              <a:gd name="connsiteX66-11095" fmla="*/ 7797506 w 10693106"/>
              <a:gd name="connsiteY66-11096" fmla="*/ 1621421 h 5321354"/>
              <a:gd name="connsiteX67-11097" fmla="*/ 7856773 w 10693106"/>
              <a:gd name="connsiteY67-11098" fmla="*/ 1604488 h 5321354"/>
              <a:gd name="connsiteX68-11099" fmla="*/ 7958373 w 10693106"/>
              <a:gd name="connsiteY68-11100" fmla="*/ 1536754 h 5321354"/>
              <a:gd name="connsiteX69-11101" fmla="*/ 8009173 w 10693106"/>
              <a:gd name="connsiteY69-11102" fmla="*/ 1485954 h 5321354"/>
              <a:gd name="connsiteX70-11103" fmla="*/ 8339373 w 10693106"/>
              <a:gd name="connsiteY70-11104" fmla="*/ 1240421 h 5321354"/>
              <a:gd name="connsiteX71-11105" fmla="*/ 8576440 w 10693106"/>
              <a:gd name="connsiteY71-11106" fmla="*/ 986421 h 5321354"/>
              <a:gd name="connsiteX72-11107" fmla="*/ 8652640 w 10693106"/>
              <a:gd name="connsiteY72-11108" fmla="*/ 707021 h 5321354"/>
              <a:gd name="connsiteX73-11109" fmla="*/ 8847373 w 10693106"/>
              <a:gd name="connsiteY73-11110" fmla="*/ 520754 h 5321354"/>
              <a:gd name="connsiteX74-11111" fmla="*/ 8982840 w 10693106"/>
              <a:gd name="connsiteY74-11112" fmla="*/ 427621 h 5321354"/>
              <a:gd name="connsiteX75-11113" fmla="*/ 9084440 w 10693106"/>
              <a:gd name="connsiteY75-11114" fmla="*/ 393754 h 5321354"/>
              <a:gd name="connsiteX76-11115" fmla="*/ 9152173 w 10693106"/>
              <a:gd name="connsiteY76-11116" fmla="*/ 368354 h 5321354"/>
              <a:gd name="connsiteX77-11117" fmla="*/ 9380773 w 10693106"/>
              <a:gd name="connsiteY77-11118" fmla="*/ 385288 h 5321354"/>
              <a:gd name="connsiteX78-11119" fmla="*/ 9744840 w 10693106"/>
              <a:gd name="connsiteY78-11120" fmla="*/ 495354 h 5321354"/>
              <a:gd name="connsiteX79-11121" fmla="*/ 9888773 w 10693106"/>
              <a:gd name="connsiteY79-11122" fmla="*/ 537688 h 5321354"/>
              <a:gd name="connsiteX80-11123" fmla="*/ 9998840 w 10693106"/>
              <a:gd name="connsiteY80-11124" fmla="*/ 588488 h 5321354"/>
              <a:gd name="connsiteX81-11125" fmla="*/ 10083506 w 10693106"/>
              <a:gd name="connsiteY81-11126" fmla="*/ 647754 h 5321354"/>
              <a:gd name="connsiteX82-11127" fmla="*/ 10286706 w 10693106"/>
              <a:gd name="connsiteY82-11128" fmla="*/ 715488 h 5321354"/>
              <a:gd name="connsiteX83-11129" fmla="*/ 10388306 w 10693106"/>
              <a:gd name="connsiteY83-11130" fmla="*/ 918688 h 5321354"/>
              <a:gd name="connsiteX84-11131" fmla="*/ 10540706 w 10693106"/>
              <a:gd name="connsiteY84-11132" fmla="*/ 1291221 h 5321354"/>
              <a:gd name="connsiteX85-11133" fmla="*/ 10557640 w 10693106"/>
              <a:gd name="connsiteY85-11134" fmla="*/ 1375888 h 5321354"/>
              <a:gd name="connsiteX86-11135" fmla="*/ 10583040 w 10693106"/>
              <a:gd name="connsiteY86-11136" fmla="*/ 1477488 h 5321354"/>
              <a:gd name="connsiteX87-11137" fmla="*/ 10616906 w 10693106"/>
              <a:gd name="connsiteY87-11138" fmla="*/ 1680688 h 5321354"/>
              <a:gd name="connsiteX88-11139" fmla="*/ 10633840 w 10693106"/>
              <a:gd name="connsiteY88-11140" fmla="*/ 1765354 h 5321354"/>
              <a:gd name="connsiteX89-11141" fmla="*/ 10650773 w 10693106"/>
              <a:gd name="connsiteY89-11142" fmla="*/ 1799221 h 5321354"/>
              <a:gd name="connsiteX90-11143" fmla="*/ 10676173 w 10693106"/>
              <a:gd name="connsiteY90-11144" fmla="*/ 1883888 h 5321354"/>
              <a:gd name="connsiteX91-11145" fmla="*/ 10693106 w 10693106"/>
              <a:gd name="connsiteY91-11146" fmla="*/ 2036288 h 5321354"/>
              <a:gd name="connsiteX92-11147" fmla="*/ 10625373 w 10693106"/>
              <a:gd name="connsiteY92-11148" fmla="*/ 2256421 h 5321354"/>
              <a:gd name="connsiteX93-11149" fmla="*/ 10608440 w 10693106"/>
              <a:gd name="connsiteY93-11150" fmla="*/ 2281821 h 5321354"/>
              <a:gd name="connsiteX94-11151" fmla="*/ 10540706 w 10693106"/>
              <a:gd name="connsiteY94-11152" fmla="*/ 2425754 h 5321354"/>
              <a:gd name="connsiteX95-11153" fmla="*/ 10498373 w 10693106"/>
              <a:gd name="connsiteY95-11154" fmla="*/ 2510421 h 5321354"/>
              <a:gd name="connsiteX96-11155" fmla="*/ 10439106 w 10693106"/>
              <a:gd name="connsiteY96-11156" fmla="*/ 2696688 h 5321354"/>
              <a:gd name="connsiteX97-11157" fmla="*/ 10430640 w 10693106"/>
              <a:gd name="connsiteY97-11158" fmla="*/ 2739021 h 5321354"/>
              <a:gd name="connsiteX98-11159" fmla="*/ 10405240 w 10693106"/>
              <a:gd name="connsiteY98-11160" fmla="*/ 2815221 h 5321354"/>
              <a:gd name="connsiteX99-11161" fmla="*/ 10396773 w 10693106"/>
              <a:gd name="connsiteY99-11162" fmla="*/ 2849088 h 5321354"/>
              <a:gd name="connsiteX100-11163" fmla="*/ 10362906 w 10693106"/>
              <a:gd name="connsiteY100-11164" fmla="*/ 2942221 h 5321354"/>
              <a:gd name="connsiteX101-11165" fmla="*/ 10329040 w 10693106"/>
              <a:gd name="connsiteY101-11166" fmla="*/ 2984554 h 5321354"/>
              <a:gd name="connsiteX102-11167" fmla="*/ 10227440 w 10693106"/>
              <a:gd name="connsiteY102-11168" fmla="*/ 3086154 h 5321354"/>
              <a:gd name="connsiteX103-11169" fmla="*/ 10168173 w 10693106"/>
              <a:gd name="connsiteY103-11170" fmla="*/ 3153888 h 5321354"/>
              <a:gd name="connsiteX104-11171" fmla="*/ 10117373 w 10693106"/>
              <a:gd name="connsiteY104-11172" fmla="*/ 3204688 h 5321354"/>
              <a:gd name="connsiteX105-11173" fmla="*/ 10032706 w 10693106"/>
              <a:gd name="connsiteY105-11174" fmla="*/ 3306288 h 5321354"/>
              <a:gd name="connsiteX106-11175" fmla="*/ 9948040 w 10693106"/>
              <a:gd name="connsiteY106-11176" fmla="*/ 3365554 h 5321354"/>
              <a:gd name="connsiteX107-11177" fmla="*/ 9905706 w 10693106"/>
              <a:gd name="connsiteY107-11178" fmla="*/ 3390954 h 5321354"/>
              <a:gd name="connsiteX108-11179" fmla="*/ 9829506 w 10693106"/>
              <a:gd name="connsiteY108-11180" fmla="*/ 3407888 h 5321354"/>
              <a:gd name="connsiteX109-11181" fmla="*/ 9727906 w 10693106"/>
              <a:gd name="connsiteY109-11182" fmla="*/ 3450221 h 5321354"/>
              <a:gd name="connsiteX110-11183" fmla="*/ 9634773 w 10693106"/>
              <a:gd name="connsiteY110-11184" fmla="*/ 3475621 h 5321354"/>
              <a:gd name="connsiteX111-11185" fmla="*/ 9456973 w 10693106"/>
              <a:gd name="connsiteY111-11186" fmla="*/ 3568754 h 5321354"/>
              <a:gd name="connsiteX112-11187" fmla="*/ 9313040 w 10693106"/>
              <a:gd name="connsiteY112-11188" fmla="*/ 3695754 h 5321354"/>
              <a:gd name="connsiteX113-11189" fmla="*/ 9279173 w 10693106"/>
              <a:gd name="connsiteY113-11190" fmla="*/ 3712688 h 5321354"/>
              <a:gd name="connsiteX114-11191" fmla="*/ 9067506 w 10693106"/>
              <a:gd name="connsiteY114-11192" fmla="*/ 3890488 h 5321354"/>
              <a:gd name="connsiteX115-11193" fmla="*/ 8999773 w 10693106"/>
              <a:gd name="connsiteY115-11194" fmla="*/ 3958221 h 5321354"/>
              <a:gd name="connsiteX116-11195" fmla="*/ 8813506 w 10693106"/>
              <a:gd name="connsiteY116-11196" fmla="*/ 4093688 h 5321354"/>
              <a:gd name="connsiteX117-11197" fmla="*/ 8728840 w 10693106"/>
              <a:gd name="connsiteY117-11198" fmla="*/ 4136021 h 5321354"/>
              <a:gd name="connsiteX118-11199" fmla="*/ 8373240 w 10693106"/>
              <a:gd name="connsiteY118-11200" fmla="*/ 4169888 h 5321354"/>
              <a:gd name="connsiteX119-11201" fmla="*/ 7966840 w 10693106"/>
              <a:gd name="connsiteY119-11202" fmla="*/ 4263021 h 5321354"/>
              <a:gd name="connsiteX120-11203" fmla="*/ 7687440 w 10693106"/>
              <a:gd name="connsiteY120-11204" fmla="*/ 4423888 h 5321354"/>
              <a:gd name="connsiteX121-11205" fmla="*/ 7551973 w 10693106"/>
              <a:gd name="connsiteY121-11206" fmla="*/ 4508554 h 5321354"/>
              <a:gd name="connsiteX122-11207" fmla="*/ 7374173 w 10693106"/>
              <a:gd name="connsiteY122-11208" fmla="*/ 4686354 h 5321354"/>
              <a:gd name="connsiteX123-11209" fmla="*/ 7374173 w 10693106"/>
              <a:gd name="connsiteY123-11210" fmla="*/ 4686354 h 5321354"/>
              <a:gd name="connsiteX124-11211" fmla="*/ 7221773 w 10693106"/>
              <a:gd name="connsiteY124-11212" fmla="*/ 4804888 h 5321354"/>
              <a:gd name="connsiteX125-11213" fmla="*/ 7027040 w 10693106"/>
              <a:gd name="connsiteY125-11214" fmla="*/ 4931888 h 5321354"/>
              <a:gd name="connsiteX126-11215" fmla="*/ 6883106 w 10693106"/>
              <a:gd name="connsiteY126-11216" fmla="*/ 4999621 h 5321354"/>
              <a:gd name="connsiteX127-11217" fmla="*/ 6815373 w 10693106"/>
              <a:gd name="connsiteY127-11218" fmla="*/ 5041954 h 5321354"/>
              <a:gd name="connsiteX128-11219" fmla="*/ 6646040 w 10693106"/>
              <a:gd name="connsiteY128-11220" fmla="*/ 5135088 h 5321354"/>
              <a:gd name="connsiteX129-11221" fmla="*/ 6527506 w 10693106"/>
              <a:gd name="connsiteY129-11222" fmla="*/ 5194354 h 5321354"/>
              <a:gd name="connsiteX130-11223" fmla="*/ 6298906 w 10693106"/>
              <a:gd name="connsiteY130-11224" fmla="*/ 5270554 h 5321354"/>
              <a:gd name="connsiteX131-11225" fmla="*/ 6197306 w 10693106"/>
              <a:gd name="connsiteY131-11226" fmla="*/ 5295954 h 5321354"/>
              <a:gd name="connsiteX132-11227" fmla="*/ 6061840 w 10693106"/>
              <a:gd name="connsiteY132-11228" fmla="*/ 5304421 h 5321354"/>
              <a:gd name="connsiteX133-11229" fmla="*/ 5917906 w 10693106"/>
              <a:gd name="connsiteY133-11230" fmla="*/ 5321354 h 5321354"/>
              <a:gd name="connsiteX134-11231" fmla="*/ 5748573 w 10693106"/>
              <a:gd name="connsiteY134-11232" fmla="*/ 5312888 h 5321354"/>
              <a:gd name="connsiteX135-11233" fmla="*/ 5282906 w 10693106"/>
              <a:gd name="connsiteY135-11234" fmla="*/ 5202821 h 5321354"/>
              <a:gd name="connsiteX136-11235" fmla="*/ 5138973 w 10693106"/>
              <a:gd name="connsiteY136-11236" fmla="*/ 5101221 h 5321354"/>
              <a:gd name="connsiteX137-11237" fmla="*/ 5020440 w 10693106"/>
              <a:gd name="connsiteY137-11238" fmla="*/ 4948821 h 5321354"/>
              <a:gd name="connsiteX138-11239" fmla="*/ 4952706 w 10693106"/>
              <a:gd name="connsiteY138-11240" fmla="*/ 4872621 h 5321354"/>
              <a:gd name="connsiteX139-11241" fmla="*/ 4797343 w 10693106"/>
              <a:gd name="connsiteY139-11242" fmla="*/ 4907758 h 5321354"/>
              <a:gd name="connsiteX140-11243" fmla="*/ 4686853 w 10693106"/>
              <a:gd name="connsiteY140-11244" fmla="*/ 4817588 h 5321354"/>
              <a:gd name="connsiteX141-11245" fmla="*/ 4536146 w 10693106"/>
              <a:gd name="connsiteY141-11246" fmla="*/ 4742234 h 5321354"/>
              <a:gd name="connsiteX142-11247" fmla="*/ 4365120 w 10693106"/>
              <a:gd name="connsiteY142-11248" fmla="*/ 4645714 h 5321354"/>
              <a:gd name="connsiteX143-11249" fmla="*/ 4187743 w 10693106"/>
              <a:gd name="connsiteY143-11250" fmla="*/ 4550888 h 5321354"/>
              <a:gd name="connsiteX144-11251" fmla="*/ 4038306 w 10693106"/>
              <a:gd name="connsiteY144-11252" fmla="*/ 4395101 h 5321354"/>
              <a:gd name="connsiteX145-11253" fmla="*/ 3893103 w 10693106"/>
              <a:gd name="connsiteY145-11254" fmla="*/ 4284611 h 5321354"/>
              <a:gd name="connsiteX146-11255" fmla="*/ 3882520 w 10693106"/>
              <a:gd name="connsiteY146-11256" fmla="*/ 4210104 h 5321354"/>
              <a:gd name="connsiteX147-11257" fmla="*/ 3895643 w 10693106"/>
              <a:gd name="connsiteY147-11258" fmla="*/ 4089031 h 5321354"/>
              <a:gd name="connsiteX148-11259" fmla="*/ 3919773 w 10693106"/>
              <a:gd name="connsiteY148-11260" fmla="*/ 3949754 h 5321354"/>
              <a:gd name="connsiteX149-11261" fmla="*/ 3877440 w 10693106"/>
              <a:gd name="connsiteY149-11262" fmla="*/ 3653421 h 5321354"/>
              <a:gd name="connsiteX150-11263" fmla="*/ 3852040 w 10693106"/>
              <a:gd name="connsiteY150-11264" fmla="*/ 3560288 h 5321354"/>
              <a:gd name="connsiteX151-11265" fmla="*/ 3801240 w 10693106"/>
              <a:gd name="connsiteY151-11266" fmla="*/ 3450221 h 5321354"/>
              <a:gd name="connsiteX152-11267" fmla="*/ 3733506 w 10693106"/>
              <a:gd name="connsiteY152-11268" fmla="*/ 3348621 h 5321354"/>
              <a:gd name="connsiteX153-11269" fmla="*/ 3242440 w 10693106"/>
              <a:gd name="connsiteY153-11270" fmla="*/ 3128488 h 5321354"/>
              <a:gd name="connsiteX154-11271" fmla="*/ 3123906 w 10693106"/>
              <a:gd name="connsiteY154-11272" fmla="*/ 3026888 h 5321354"/>
              <a:gd name="connsiteX155-11273" fmla="*/ 2988440 w 10693106"/>
              <a:gd name="connsiteY155-11274" fmla="*/ 2832154 h 5321354"/>
              <a:gd name="connsiteX156-11275" fmla="*/ 2971506 w 10693106"/>
              <a:gd name="connsiteY156-11276" fmla="*/ 2772888 h 5321354"/>
              <a:gd name="connsiteX157-11277" fmla="*/ 2996906 w 10693106"/>
              <a:gd name="connsiteY157-11278" fmla="*/ 2561221 h 5321354"/>
              <a:gd name="connsiteX158-11279" fmla="*/ 3013840 w 10693106"/>
              <a:gd name="connsiteY158-11280" fmla="*/ 2459621 h 5321354"/>
              <a:gd name="connsiteX159-11281" fmla="*/ 3005373 w 10693106"/>
              <a:gd name="connsiteY159-11282" fmla="*/ 2341088 h 5321354"/>
              <a:gd name="connsiteX160-11283" fmla="*/ 2988440 w 10693106"/>
              <a:gd name="connsiteY160-11284" fmla="*/ 2290288 h 5321354"/>
              <a:gd name="connsiteX161-11285" fmla="*/ 2802173 w 10693106"/>
              <a:gd name="connsiteY161-11286" fmla="*/ 2036288 h 5321354"/>
              <a:gd name="connsiteX162-11287" fmla="*/ 2641306 w 10693106"/>
              <a:gd name="connsiteY162-11288" fmla="*/ 1892354 h 5321354"/>
              <a:gd name="connsiteX163-11289" fmla="*/ 2590506 w 10693106"/>
              <a:gd name="connsiteY163-11290" fmla="*/ 1866954 h 5321354"/>
              <a:gd name="connsiteX164-11291" fmla="*/ 2531240 w 10693106"/>
              <a:gd name="connsiteY164-11292" fmla="*/ 1858488 h 5321354"/>
              <a:gd name="connsiteX165-11293" fmla="*/ 2446573 w 10693106"/>
              <a:gd name="connsiteY165-11294" fmla="*/ 1841554 h 5321354"/>
              <a:gd name="connsiteX166-11295" fmla="*/ 2251840 w 10693106"/>
              <a:gd name="connsiteY166-11296" fmla="*/ 1866954 h 5321354"/>
              <a:gd name="connsiteX167-11297" fmla="*/ 2167173 w 10693106"/>
              <a:gd name="connsiteY167-11298" fmla="*/ 1909288 h 5321354"/>
              <a:gd name="connsiteX168-11299" fmla="*/ 1980906 w 10693106"/>
              <a:gd name="connsiteY168-11300" fmla="*/ 1968554 h 5321354"/>
              <a:gd name="connsiteX169-11301" fmla="*/ 1904706 w 10693106"/>
              <a:gd name="connsiteY169-11302" fmla="*/ 2002421 h 5321354"/>
              <a:gd name="connsiteX170-11303" fmla="*/ 1828506 w 10693106"/>
              <a:gd name="connsiteY170-11304" fmla="*/ 2019354 h 5321354"/>
              <a:gd name="connsiteX171-11305" fmla="*/ 1726906 w 10693106"/>
              <a:gd name="connsiteY171-11306" fmla="*/ 2070154 h 5321354"/>
              <a:gd name="connsiteX172-11307" fmla="*/ 1659173 w 10693106"/>
              <a:gd name="connsiteY172-11308" fmla="*/ 2104021 h 5321354"/>
              <a:gd name="connsiteX173-11309" fmla="*/ 1498306 w 10693106"/>
              <a:gd name="connsiteY173-11310" fmla="*/ 2129421 h 5321354"/>
              <a:gd name="connsiteX174-11311" fmla="*/ 914106 w 10693106"/>
              <a:gd name="connsiteY174-11312" fmla="*/ 2061688 h 5321354"/>
              <a:gd name="connsiteX175-11313" fmla="*/ 617773 w 10693106"/>
              <a:gd name="connsiteY175-11314" fmla="*/ 1951621 h 5321354"/>
              <a:gd name="connsiteX176-11315" fmla="*/ 516173 w 10693106"/>
              <a:gd name="connsiteY176-11316" fmla="*/ 1866954 h 5321354"/>
              <a:gd name="connsiteX177-11317" fmla="*/ 355306 w 10693106"/>
              <a:gd name="connsiteY177-11318" fmla="*/ 1655288 h 5321354"/>
              <a:gd name="connsiteX178-11319" fmla="*/ 296040 w 10693106"/>
              <a:gd name="connsiteY178-11320" fmla="*/ 1553688 h 5321354"/>
              <a:gd name="connsiteX179-11321" fmla="*/ 253706 w 10693106"/>
              <a:gd name="connsiteY179-11322" fmla="*/ 1375888 h 5321354"/>
              <a:gd name="connsiteX180-11323" fmla="*/ 245240 w 10693106"/>
              <a:gd name="connsiteY180-11324" fmla="*/ 1248888 h 5321354"/>
              <a:gd name="connsiteX181-11325" fmla="*/ 236773 w 10693106"/>
              <a:gd name="connsiteY181-11326" fmla="*/ 1147288 h 5321354"/>
              <a:gd name="connsiteX182-11327" fmla="*/ 245240 w 10693106"/>
              <a:gd name="connsiteY182-11328" fmla="*/ 876354 h 5321354"/>
              <a:gd name="connsiteX183-11329" fmla="*/ 236773 w 10693106"/>
              <a:gd name="connsiteY183-11330" fmla="*/ 732421 h 5321354"/>
              <a:gd name="connsiteX184-11331" fmla="*/ 109773 w 10693106"/>
              <a:gd name="connsiteY184-11332" fmla="*/ 588488 h 5321354"/>
              <a:gd name="connsiteX185-11333" fmla="*/ 58973 w 10693106"/>
              <a:gd name="connsiteY185-11334" fmla="*/ 512288 h 5321354"/>
              <a:gd name="connsiteX186-11335" fmla="*/ 16640 w 10693106"/>
              <a:gd name="connsiteY186-11336" fmla="*/ 461488 h 5321354"/>
              <a:gd name="connsiteX187-11337" fmla="*/ 8173 w 10693106"/>
              <a:gd name="connsiteY187-11338" fmla="*/ 419154 h 5321354"/>
              <a:gd name="connsiteX188-11339" fmla="*/ 16640 w 10693106"/>
              <a:gd name="connsiteY188-11340" fmla="*/ 368354 h 5321354"/>
              <a:gd name="connsiteX0-11341" fmla="*/ 16640 w 10693106"/>
              <a:gd name="connsiteY0-11342" fmla="*/ 368354 h 5321354"/>
              <a:gd name="connsiteX1-11343" fmla="*/ 58973 w 10693106"/>
              <a:gd name="connsiteY1-11344" fmla="*/ 275221 h 5321354"/>
              <a:gd name="connsiteX2-11345" fmla="*/ 109773 w 10693106"/>
              <a:gd name="connsiteY2-11346" fmla="*/ 207488 h 5321354"/>
              <a:gd name="connsiteX3-11347" fmla="*/ 202906 w 10693106"/>
              <a:gd name="connsiteY3-11348" fmla="*/ 122821 h 5321354"/>
              <a:gd name="connsiteX4-11349" fmla="*/ 236773 w 10693106"/>
              <a:gd name="connsiteY4-11350" fmla="*/ 97421 h 5321354"/>
              <a:gd name="connsiteX5-11351" fmla="*/ 346840 w 10693106"/>
              <a:gd name="connsiteY5-11352" fmla="*/ 38154 h 5321354"/>
              <a:gd name="connsiteX6-11353" fmla="*/ 397640 w 10693106"/>
              <a:gd name="connsiteY6-11354" fmla="*/ 4288 h 5321354"/>
              <a:gd name="connsiteX7-11355" fmla="*/ 467297 w 10693106"/>
              <a:gd name="connsiteY7-11356" fmla="*/ 143218 h 5321354"/>
              <a:gd name="connsiteX8-11357" fmla="*/ 492697 w 10693106"/>
              <a:gd name="connsiteY8-11358" fmla="*/ 103579 h 5321354"/>
              <a:gd name="connsiteX9-11359" fmla="*/ 822897 w 10693106"/>
              <a:gd name="connsiteY9-11360" fmla="*/ 112045 h 5321354"/>
              <a:gd name="connsiteX10-11361" fmla="*/ 1091906 w 10693106"/>
              <a:gd name="connsiteY10-11362" fmla="*/ 29688 h 5321354"/>
              <a:gd name="connsiteX11-11363" fmla="*/ 1235840 w 10693106"/>
              <a:gd name="connsiteY11-11364" fmla="*/ 88954 h 5321354"/>
              <a:gd name="connsiteX12-11365" fmla="*/ 1337440 w 10693106"/>
              <a:gd name="connsiteY12-11366" fmla="*/ 165154 h 5321354"/>
              <a:gd name="connsiteX13-11367" fmla="*/ 1422106 w 10693106"/>
              <a:gd name="connsiteY13-11368" fmla="*/ 275221 h 5321354"/>
              <a:gd name="connsiteX14-11369" fmla="*/ 1481373 w 10693106"/>
              <a:gd name="connsiteY14-11370" fmla="*/ 342954 h 5321354"/>
              <a:gd name="connsiteX15-11371" fmla="*/ 1532173 w 10693106"/>
              <a:gd name="connsiteY15-11372" fmla="*/ 376821 h 5321354"/>
              <a:gd name="connsiteX16-11373" fmla="*/ 1684573 w 10693106"/>
              <a:gd name="connsiteY16-11374" fmla="*/ 436088 h 5321354"/>
              <a:gd name="connsiteX17-11375" fmla="*/ 1760773 w 10693106"/>
              <a:gd name="connsiteY17-11376" fmla="*/ 453021 h 5321354"/>
              <a:gd name="connsiteX18-11377" fmla="*/ 1997840 w 10693106"/>
              <a:gd name="connsiteY18-11378" fmla="*/ 444554 h 5321354"/>
              <a:gd name="connsiteX19-11379" fmla="*/ 2116373 w 10693106"/>
              <a:gd name="connsiteY19-11380" fmla="*/ 427621 h 5321354"/>
              <a:gd name="connsiteX20-11381" fmla="*/ 2260306 w 10693106"/>
              <a:gd name="connsiteY20-11382" fmla="*/ 410688 h 5321354"/>
              <a:gd name="connsiteX21-11383" fmla="*/ 2404240 w 10693106"/>
              <a:gd name="connsiteY21-11384" fmla="*/ 385288 h 5321354"/>
              <a:gd name="connsiteX22-11385" fmla="*/ 2455040 w 10693106"/>
              <a:gd name="connsiteY22-11386" fmla="*/ 359888 h 5321354"/>
              <a:gd name="connsiteX23-11387" fmla="*/ 2531240 w 10693106"/>
              <a:gd name="connsiteY23-11388" fmla="*/ 334488 h 5321354"/>
              <a:gd name="connsiteX24-11389" fmla="*/ 2683640 w 10693106"/>
              <a:gd name="connsiteY24-11390" fmla="*/ 207488 h 5321354"/>
              <a:gd name="connsiteX25-11391" fmla="*/ 2742906 w 10693106"/>
              <a:gd name="connsiteY25-11392" fmla="*/ 215954 h 5321354"/>
              <a:gd name="connsiteX26-11393" fmla="*/ 2764920 w 10693106"/>
              <a:gd name="connsiteY26-11394" fmla="*/ 202408 h 5321354"/>
              <a:gd name="connsiteX27-11395" fmla="*/ 2832653 w 10693106"/>
              <a:gd name="connsiteY27-11396" fmla="*/ 197328 h 5321354"/>
              <a:gd name="connsiteX28-11397" fmla="*/ 3002294 w 10693106"/>
              <a:gd name="connsiteY28-11398" fmla="*/ 184012 h 5321354"/>
              <a:gd name="connsiteX29-11399" fmla="*/ 3142763 w 10693106"/>
              <a:gd name="connsiteY29-11400" fmla="*/ 139753 h 5321354"/>
              <a:gd name="connsiteX30-11401" fmla="*/ 3398918 w 10693106"/>
              <a:gd name="connsiteY30-11402" fmla="*/ 101654 h 5321354"/>
              <a:gd name="connsiteX31-11403" fmla="*/ 3606506 w 10693106"/>
              <a:gd name="connsiteY31-11404" fmla="*/ 89725 h 5321354"/>
              <a:gd name="connsiteX32-11405" fmla="*/ 3682706 w 10693106"/>
              <a:gd name="connsiteY32-11406" fmla="*/ 109274 h 5321354"/>
              <a:gd name="connsiteX33-11407" fmla="*/ 3741973 w 10693106"/>
              <a:gd name="connsiteY33-11408" fmla="*/ 115893 h 5321354"/>
              <a:gd name="connsiteX34-11409" fmla="*/ 3792773 w 10693106"/>
              <a:gd name="connsiteY34-11410" fmla="*/ 151608 h 5321354"/>
              <a:gd name="connsiteX35-11411" fmla="*/ 3831720 w 10693106"/>
              <a:gd name="connsiteY35-11412" fmla="*/ 166848 h 5321354"/>
              <a:gd name="connsiteX36-11413" fmla="*/ 3896297 w 10693106"/>
              <a:gd name="connsiteY36-11414" fmla="*/ 186321 h 5321354"/>
              <a:gd name="connsiteX37-11415" fmla="*/ 3950253 w 10693106"/>
              <a:gd name="connsiteY37-11416" fmla="*/ 205794 h 5321354"/>
              <a:gd name="connsiteX38-11417" fmla="*/ 3995973 w 10693106"/>
              <a:gd name="connsiteY38-11418" fmla="*/ 139754 h 5321354"/>
              <a:gd name="connsiteX39-11419" fmla="*/ 4021373 w 10693106"/>
              <a:gd name="connsiteY39-11420" fmla="*/ 173621 h 5321354"/>
              <a:gd name="connsiteX40-11421" fmla="*/ 4055240 w 10693106"/>
              <a:gd name="connsiteY40-11422" fmla="*/ 182088 h 5321354"/>
              <a:gd name="connsiteX41-11423" fmla="*/ 4275373 w 10693106"/>
              <a:gd name="connsiteY41-11424" fmla="*/ 224421 h 5321354"/>
              <a:gd name="connsiteX42-11425" fmla="*/ 4402373 w 10693106"/>
              <a:gd name="connsiteY42-11426" fmla="*/ 258288 h 5321354"/>
              <a:gd name="connsiteX43-11427" fmla="*/ 4529373 w 10693106"/>
              <a:gd name="connsiteY43-11428" fmla="*/ 300621 h 5321354"/>
              <a:gd name="connsiteX44-11429" fmla="*/ 4859573 w 10693106"/>
              <a:gd name="connsiteY44-11430" fmla="*/ 376821 h 5321354"/>
              <a:gd name="connsiteX45-11431" fmla="*/ 5045840 w 10693106"/>
              <a:gd name="connsiteY45-11432" fmla="*/ 453021 h 5321354"/>
              <a:gd name="connsiteX46-11433" fmla="*/ 5325240 w 10693106"/>
              <a:gd name="connsiteY46-11434" fmla="*/ 613888 h 5321354"/>
              <a:gd name="connsiteX47-11435" fmla="*/ 5494573 w 10693106"/>
              <a:gd name="connsiteY47-11436" fmla="*/ 766288 h 5321354"/>
              <a:gd name="connsiteX48-11437" fmla="*/ 5562306 w 10693106"/>
              <a:gd name="connsiteY48-11438" fmla="*/ 842488 h 5321354"/>
              <a:gd name="connsiteX49-11439" fmla="*/ 5621573 w 10693106"/>
              <a:gd name="connsiteY49-11440" fmla="*/ 893288 h 5321354"/>
              <a:gd name="connsiteX50-11441" fmla="*/ 5672373 w 10693106"/>
              <a:gd name="connsiteY50-11442" fmla="*/ 961021 h 5321354"/>
              <a:gd name="connsiteX51-11443" fmla="*/ 5757040 w 10693106"/>
              <a:gd name="connsiteY51-11444" fmla="*/ 1062621 h 5321354"/>
              <a:gd name="connsiteX52-11445" fmla="*/ 5833240 w 10693106"/>
              <a:gd name="connsiteY52-11446" fmla="*/ 1155754 h 5321354"/>
              <a:gd name="connsiteX53-11447" fmla="*/ 6019506 w 10693106"/>
              <a:gd name="connsiteY53-11448" fmla="*/ 1358954 h 5321354"/>
              <a:gd name="connsiteX54-11449" fmla="*/ 6087240 w 10693106"/>
              <a:gd name="connsiteY54-11450" fmla="*/ 1409754 h 5321354"/>
              <a:gd name="connsiteX55-11451" fmla="*/ 6171906 w 10693106"/>
              <a:gd name="connsiteY55-11452" fmla="*/ 1511354 h 5321354"/>
              <a:gd name="connsiteX56-11453" fmla="*/ 6451306 w 10693106"/>
              <a:gd name="connsiteY56-11454" fmla="*/ 1723021 h 5321354"/>
              <a:gd name="connsiteX57-11455" fmla="*/ 6519040 w 10693106"/>
              <a:gd name="connsiteY57-11456" fmla="*/ 1731488 h 5321354"/>
              <a:gd name="connsiteX58-11457" fmla="*/ 6603706 w 10693106"/>
              <a:gd name="connsiteY58-11458" fmla="*/ 1765354 h 5321354"/>
              <a:gd name="connsiteX59-11459" fmla="*/ 6671440 w 10693106"/>
              <a:gd name="connsiteY59-11460" fmla="*/ 1799221 h 5321354"/>
              <a:gd name="connsiteX60-11461" fmla="*/ 6866173 w 10693106"/>
              <a:gd name="connsiteY60-11462" fmla="*/ 1824621 h 5321354"/>
              <a:gd name="connsiteX61-11463" fmla="*/ 7196373 w 10693106"/>
              <a:gd name="connsiteY61-11464" fmla="*/ 1807688 h 5321354"/>
              <a:gd name="connsiteX62-11465" fmla="*/ 7509640 w 10693106"/>
              <a:gd name="connsiteY62-11466" fmla="*/ 1731488 h 5321354"/>
              <a:gd name="connsiteX63-11467" fmla="*/ 7628173 w 10693106"/>
              <a:gd name="connsiteY63-11468" fmla="*/ 1706088 h 5321354"/>
              <a:gd name="connsiteX64-11469" fmla="*/ 7704373 w 10693106"/>
              <a:gd name="connsiteY64-11470" fmla="*/ 1663754 h 5321354"/>
              <a:gd name="connsiteX65-11471" fmla="*/ 7755173 w 10693106"/>
              <a:gd name="connsiteY65-11472" fmla="*/ 1655288 h 5321354"/>
              <a:gd name="connsiteX66-11473" fmla="*/ 7797506 w 10693106"/>
              <a:gd name="connsiteY66-11474" fmla="*/ 1621421 h 5321354"/>
              <a:gd name="connsiteX67-11475" fmla="*/ 7856773 w 10693106"/>
              <a:gd name="connsiteY67-11476" fmla="*/ 1604488 h 5321354"/>
              <a:gd name="connsiteX68-11477" fmla="*/ 7958373 w 10693106"/>
              <a:gd name="connsiteY68-11478" fmla="*/ 1536754 h 5321354"/>
              <a:gd name="connsiteX69-11479" fmla="*/ 8009173 w 10693106"/>
              <a:gd name="connsiteY69-11480" fmla="*/ 1485954 h 5321354"/>
              <a:gd name="connsiteX70-11481" fmla="*/ 8339373 w 10693106"/>
              <a:gd name="connsiteY70-11482" fmla="*/ 1240421 h 5321354"/>
              <a:gd name="connsiteX71-11483" fmla="*/ 8576440 w 10693106"/>
              <a:gd name="connsiteY71-11484" fmla="*/ 986421 h 5321354"/>
              <a:gd name="connsiteX72-11485" fmla="*/ 8652640 w 10693106"/>
              <a:gd name="connsiteY72-11486" fmla="*/ 707021 h 5321354"/>
              <a:gd name="connsiteX73-11487" fmla="*/ 8847373 w 10693106"/>
              <a:gd name="connsiteY73-11488" fmla="*/ 520754 h 5321354"/>
              <a:gd name="connsiteX74-11489" fmla="*/ 8982840 w 10693106"/>
              <a:gd name="connsiteY74-11490" fmla="*/ 427621 h 5321354"/>
              <a:gd name="connsiteX75-11491" fmla="*/ 9084440 w 10693106"/>
              <a:gd name="connsiteY75-11492" fmla="*/ 393754 h 5321354"/>
              <a:gd name="connsiteX76-11493" fmla="*/ 9152173 w 10693106"/>
              <a:gd name="connsiteY76-11494" fmla="*/ 368354 h 5321354"/>
              <a:gd name="connsiteX77-11495" fmla="*/ 9380773 w 10693106"/>
              <a:gd name="connsiteY77-11496" fmla="*/ 385288 h 5321354"/>
              <a:gd name="connsiteX78-11497" fmla="*/ 9744840 w 10693106"/>
              <a:gd name="connsiteY78-11498" fmla="*/ 495354 h 5321354"/>
              <a:gd name="connsiteX79-11499" fmla="*/ 9888773 w 10693106"/>
              <a:gd name="connsiteY79-11500" fmla="*/ 537688 h 5321354"/>
              <a:gd name="connsiteX80-11501" fmla="*/ 9998840 w 10693106"/>
              <a:gd name="connsiteY80-11502" fmla="*/ 588488 h 5321354"/>
              <a:gd name="connsiteX81-11503" fmla="*/ 10083506 w 10693106"/>
              <a:gd name="connsiteY81-11504" fmla="*/ 647754 h 5321354"/>
              <a:gd name="connsiteX82-11505" fmla="*/ 10286706 w 10693106"/>
              <a:gd name="connsiteY82-11506" fmla="*/ 715488 h 5321354"/>
              <a:gd name="connsiteX83-11507" fmla="*/ 10388306 w 10693106"/>
              <a:gd name="connsiteY83-11508" fmla="*/ 918688 h 5321354"/>
              <a:gd name="connsiteX84-11509" fmla="*/ 10540706 w 10693106"/>
              <a:gd name="connsiteY84-11510" fmla="*/ 1291221 h 5321354"/>
              <a:gd name="connsiteX85-11511" fmla="*/ 10557640 w 10693106"/>
              <a:gd name="connsiteY85-11512" fmla="*/ 1375888 h 5321354"/>
              <a:gd name="connsiteX86-11513" fmla="*/ 10583040 w 10693106"/>
              <a:gd name="connsiteY86-11514" fmla="*/ 1477488 h 5321354"/>
              <a:gd name="connsiteX87-11515" fmla="*/ 10616906 w 10693106"/>
              <a:gd name="connsiteY87-11516" fmla="*/ 1680688 h 5321354"/>
              <a:gd name="connsiteX88-11517" fmla="*/ 10633840 w 10693106"/>
              <a:gd name="connsiteY88-11518" fmla="*/ 1765354 h 5321354"/>
              <a:gd name="connsiteX89-11519" fmla="*/ 10650773 w 10693106"/>
              <a:gd name="connsiteY89-11520" fmla="*/ 1799221 h 5321354"/>
              <a:gd name="connsiteX90-11521" fmla="*/ 10676173 w 10693106"/>
              <a:gd name="connsiteY90-11522" fmla="*/ 1883888 h 5321354"/>
              <a:gd name="connsiteX91-11523" fmla="*/ 10693106 w 10693106"/>
              <a:gd name="connsiteY91-11524" fmla="*/ 2036288 h 5321354"/>
              <a:gd name="connsiteX92-11525" fmla="*/ 10625373 w 10693106"/>
              <a:gd name="connsiteY92-11526" fmla="*/ 2256421 h 5321354"/>
              <a:gd name="connsiteX93-11527" fmla="*/ 10608440 w 10693106"/>
              <a:gd name="connsiteY93-11528" fmla="*/ 2281821 h 5321354"/>
              <a:gd name="connsiteX94-11529" fmla="*/ 10540706 w 10693106"/>
              <a:gd name="connsiteY94-11530" fmla="*/ 2425754 h 5321354"/>
              <a:gd name="connsiteX95-11531" fmla="*/ 10498373 w 10693106"/>
              <a:gd name="connsiteY95-11532" fmla="*/ 2510421 h 5321354"/>
              <a:gd name="connsiteX96-11533" fmla="*/ 10439106 w 10693106"/>
              <a:gd name="connsiteY96-11534" fmla="*/ 2696688 h 5321354"/>
              <a:gd name="connsiteX97-11535" fmla="*/ 10430640 w 10693106"/>
              <a:gd name="connsiteY97-11536" fmla="*/ 2739021 h 5321354"/>
              <a:gd name="connsiteX98-11537" fmla="*/ 10405240 w 10693106"/>
              <a:gd name="connsiteY98-11538" fmla="*/ 2815221 h 5321354"/>
              <a:gd name="connsiteX99-11539" fmla="*/ 10396773 w 10693106"/>
              <a:gd name="connsiteY99-11540" fmla="*/ 2849088 h 5321354"/>
              <a:gd name="connsiteX100-11541" fmla="*/ 10362906 w 10693106"/>
              <a:gd name="connsiteY100-11542" fmla="*/ 2942221 h 5321354"/>
              <a:gd name="connsiteX101-11543" fmla="*/ 10329040 w 10693106"/>
              <a:gd name="connsiteY101-11544" fmla="*/ 2984554 h 5321354"/>
              <a:gd name="connsiteX102-11545" fmla="*/ 10227440 w 10693106"/>
              <a:gd name="connsiteY102-11546" fmla="*/ 3086154 h 5321354"/>
              <a:gd name="connsiteX103-11547" fmla="*/ 10168173 w 10693106"/>
              <a:gd name="connsiteY103-11548" fmla="*/ 3153888 h 5321354"/>
              <a:gd name="connsiteX104-11549" fmla="*/ 10117373 w 10693106"/>
              <a:gd name="connsiteY104-11550" fmla="*/ 3204688 h 5321354"/>
              <a:gd name="connsiteX105-11551" fmla="*/ 10032706 w 10693106"/>
              <a:gd name="connsiteY105-11552" fmla="*/ 3306288 h 5321354"/>
              <a:gd name="connsiteX106-11553" fmla="*/ 9948040 w 10693106"/>
              <a:gd name="connsiteY106-11554" fmla="*/ 3365554 h 5321354"/>
              <a:gd name="connsiteX107-11555" fmla="*/ 9905706 w 10693106"/>
              <a:gd name="connsiteY107-11556" fmla="*/ 3390954 h 5321354"/>
              <a:gd name="connsiteX108-11557" fmla="*/ 9829506 w 10693106"/>
              <a:gd name="connsiteY108-11558" fmla="*/ 3407888 h 5321354"/>
              <a:gd name="connsiteX109-11559" fmla="*/ 9727906 w 10693106"/>
              <a:gd name="connsiteY109-11560" fmla="*/ 3450221 h 5321354"/>
              <a:gd name="connsiteX110-11561" fmla="*/ 9634773 w 10693106"/>
              <a:gd name="connsiteY110-11562" fmla="*/ 3475621 h 5321354"/>
              <a:gd name="connsiteX111-11563" fmla="*/ 9456973 w 10693106"/>
              <a:gd name="connsiteY111-11564" fmla="*/ 3568754 h 5321354"/>
              <a:gd name="connsiteX112-11565" fmla="*/ 9313040 w 10693106"/>
              <a:gd name="connsiteY112-11566" fmla="*/ 3695754 h 5321354"/>
              <a:gd name="connsiteX113-11567" fmla="*/ 9279173 w 10693106"/>
              <a:gd name="connsiteY113-11568" fmla="*/ 3712688 h 5321354"/>
              <a:gd name="connsiteX114-11569" fmla="*/ 9067506 w 10693106"/>
              <a:gd name="connsiteY114-11570" fmla="*/ 3890488 h 5321354"/>
              <a:gd name="connsiteX115-11571" fmla="*/ 8999773 w 10693106"/>
              <a:gd name="connsiteY115-11572" fmla="*/ 3958221 h 5321354"/>
              <a:gd name="connsiteX116-11573" fmla="*/ 8813506 w 10693106"/>
              <a:gd name="connsiteY116-11574" fmla="*/ 4093688 h 5321354"/>
              <a:gd name="connsiteX117-11575" fmla="*/ 8728840 w 10693106"/>
              <a:gd name="connsiteY117-11576" fmla="*/ 4136021 h 5321354"/>
              <a:gd name="connsiteX118-11577" fmla="*/ 8373240 w 10693106"/>
              <a:gd name="connsiteY118-11578" fmla="*/ 4169888 h 5321354"/>
              <a:gd name="connsiteX119-11579" fmla="*/ 7966840 w 10693106"/>
              <a:gd name="connsiteY119-11580" fmla="*/ 4263021 h 5321354"/>
              <a:gd name="connsiteX120-11581" fmla="*/ 7687440 w 10693106"/>
              <a:gd name="connsiteY120-11582" fmla="*/ 4423888 h 5321354"/>
              <a:gd name="connsiteX121-11583" fmla="*/ 7551973 w 10693106"/>
              <a:gd name="connsiteY121-11584" fmla="*/ 4508554 h 5321354"/>
              <a:gd name="connsiteX122-11585" fmla="*/ 7374173 w 10693106"/>
              <a:gd name="connsiteY122-11586" fmla="*/ 4686354 h 5321354"/>
              <a:gd name="connsiteX123-11587" fmla="*/ 7374173 w 10693106"/>
              <a:gd name="connsiteY123-11588" fmla="*/ 4686354 h 5321354"/>
              <a:gd name="connsiteX124-11589" fmla="*/ 7221773 w 10693106"/>
              <a:gd name="connsiteY124-11590" fmla="*/ 4804888 h 5321354"/>
              <a:gd name="connsiteX125-11591" fmla="*/ 7027040 w 10693106"/>
              <a:gd name="connsiteY125-11592" fmla="*/ 4931888 h 5321354"/>
              <a:gd name="connsiteX126-11593" fmla="*/ 6883106 w 10693106"/>
              <a:gd name="connsiteY126-11594" fmla="*/ 4999621 h 5321354"/>
              <a:gd name="connsiteX127-11595" fmla="*/ 6815373 w 10693106"/>
              <a:gd name="connsiteY127-11596" fmla="*/ 5041954 h 5321354"/>
              <a:gd name="connsiteX128-11597" fmla="*/ 6646040 w 10693106"/>
              <a:gd name="connsiteY128-11598" fmla="*/ 5135088 h 5321354"/>
              <a:gd name="connsiteX129-11599" fmla="*/ 6527506 w 10693106"/>
              <a:gd name="connsiteY129-11600" fmla="*/ 5194354 h 5321354"/>
              <a:gd name="connsiteX130-11601" fmla="*/ 6298906 w 10693106"/>
              <a:gd name="connsiteY130-11602" fmla="*/ 5270554 h 5321354"/>
              <a:gd name="connsiteX131-11603" fmla="*/ 6197306 w 10693106"/>
              <a:gd name="connsiteY131-11604" fmla="*/ 5295954 h 5321354"/>
              <a:gd name="connsiteX132-11605" fmla="*/ 6061840 w 10693106"/>
              <a:gd name="connsiteY132-11606" fmla="*/ 5304421 h 5321354"/>
              <a:gd name="connsiteX133-11607" fmla="*/ 5917906 w 10693106"/>
              <a:gd name="connsiteY133-11608" fmla="*/ 5321354 h 5321354"/>
              <a:gd name="connsiteX134-11609" fmla="*/ 5748573 w 10693106"/>
              <a:gd name="connsiteY134-11610" fmla="*/ 5312888 h 5321354"/>
              <a:gd name="connsiteX135-11611" fmla="*/ 5282906 w 10693106"/>
              <a:gd name="connsiteY135-11612" fmla="*/ 5202821 h 5321354"/>
              <a:gd name="connsiteX136-11613" fmla="*/ 5138973 w 10693106"/>
              <a:gd name="connsiteY136-11614" fmla="*/ 5101221 h 5321354"/>
              <a:gd name="connsiteX137-11615" fmla="*/ 4959480 w 10693106"/>
              <a:gd name="connsiteY137-11616" fmla="*/ 5017401 h 5321354"/>
              <a:gd name="connsiteX138-11617" fmla="*/ 4952706 w 10693106"/>
              <a:gd name="connsiteY138-11618" fmla="*/ 4872621 h 5321354"/>
              <a:gd name="connsiteX139-11619" fmla="*/ 4797343 w 10693106"/>
              <a:gd name="connsiteY139-11620" fmla="*/ 4907758 h 5321354"/>
              <a:gd name="connsiteX140-11621" fmla="*/ 4686853 w 10693106"/>
              <a:gd name="connsiteY140-11622" fmla="*/ 4817588 h 5321354"/>
              <a:gd name="connsiteX141-11623" fmla="*/ 4536146 w 10693106"/>
              <a:gd name="connsiteY141-11624" fmla="*/ 4742234 h 5321354"/>
              <a:gd name="connsiteX142-11625" fmla="*/ 4365120 w 10693106"/>
              <a:gd name="connsiteY142-11626" fmla="*/ 4645714 h 5321354"/>
              <a:gd name="connsiteX143-11627" fmla="*/ 4187743 w 10693106"/>
              <a:gd name="connsiteY143-11628" fmla="*/ 4550888 h 5321354"/>
              <a:gd name="connsiteX144-11629" fmla="*/ 4038306 w 10693106"/>
              <a:gd name="connsiteY144-11630" fmla="*/ 4395101 h 5321354"/>
              <a:gd name="connsiteX145-11631" fmla="*/ 3893103 w 10693106"/>
              <a:gd name="connsiteY145-11632" fmla="*/ 4284611 h 5321354"/>
              <a:gd name="connsiteX146-11633" fmla="*/ 3882520 w 10693106"/>
              <a:gd name="connsiteY146-11634" fmla="*/ 4210104 h 5321354"/>
              <a:gd name="connsiteX147-11635" fmla="*/ 3895643 w 10693106"/>
              <a:gd name="connsiteY147-11636" fmla="*/ 4089031 h 5321354"/>
              <a:gd name="connsiteX148-11637" fmla="*/ 3919773 w 10693106"/>
              <a:gd name="connsiteY148-11638" fmla="*/ 3949754 h 5321354"/>
              <a:gd name="connsiteX149-11639" fmla="*/ 3877440 w 10693106"/>
              <a:gd name="connsiteY149-11640" fmla="*/ 3653421 h 5321354"/>
              <a:gd name="connsiteX150-11641" fmla="*/ 3852040 w 10693106"/>
              <a:gd name="connsiteY150-11642" fmla="*/ 3560288 h 5321354"/>
              <a:gd name="connsiteX151-11643" fmla="*/ 3801240 w 10693106"/>
              <a:gd name="connsiteY151-11644" fmla="*/ 3450221 h 5321354"/>
              <a:gd name="connsiteX152-11645" fmla="*/ 3733506 w 10693106"/>
              <a:gd name="connsiteY152-11646" fmla="*/ 3348621 h 5321354"/>
              <a:gd name="connsiteX153-11647" fmla="*/ 3242440 w 10693106"/>
              <a:gd name="connsiteY153-11648" fmla="*/ 3128488 h 5321354"/>
              <a:gd name="connsiteX154-11649" fmla="*/ 3123906 w 10693106"/>
              <a:gd name="connsiteY154-11650" fmla="*/ 3026888 h 5321354"/>
              <a:gd name="connsiteX155-11651" fmla="*/ 2988440 w 10693106"/>
              <a:gd name="connsiteY155-11652" fmla="*/ 2832154 h 5321354"/>
              <a:gd name="connsiteX156-11653" fmla="*/ 2971506 w 10693106"/>
              <a:gd name="connsiteY156-11654" fmla="*/ 2772888 h 5321354"/>
              <a:gd name="connsiteX157-11655" fmla="*/ 2996906 w 10693106"/>
              <a:gd name="connsiteY157-11656" fmla="*/ 2561221 h 5321354"/>
              <a:gd name="connsiteX158-11657" fmla="*/ 3013840 w 10693106"/>
              <a:gd name="connsiteY158-11658" fmla="*/ 2459621 h 5321354"/>
              <a:gd name="connsiteX159-11659" fmla="*/ 3005373 w 10693106"/>
              <a:gd name="connsiteY159-11660" fmla="*/ 2341088 h 5321354"/>
              <a:gd name="connsiteX160-11661" fmla="*/ 2988440 w 10693106"/>
              <a:gd name="connsiteY160-11662" fmla="*/ 2290288 h 5321354"/>
              <a:gd name="connsiteX161-11663" fmla="*/ 2802173 w 10693106"/>
              <a:gd name="connsiteY161-11664" fmla="*/ 2036288 h 5321354"/>
              <a:gd name="connsiteX162-11665" fmla="*/ 2641306 w 10693106"/>
              <a:gd name="connsiteY162-11666" fmla="*/ 1892354 h 5321354"/>
              <a:gd name="connsiteX163-11667" fmla="*/ 2590506 w 10693106"/>
              <a:gd name="connsiteY163-11668" fmla="*/ 1866954 h 5321354"/>
              <a:gd name="connsiteX164-11669" fmla="*/ 2531240 w 10693106"/>
              <a:gd name="connsiteY164-11670" fmla="*/ 1858488 h 5321354"/>
              <a:gd name="connsiteX165-11671" fmla="*/ 2446573 w 10693106"/>
              <a:gd name="connsiteY165-11672" fmla="*/ 1841554 h 5321354"/>
              <a:gd name="connsiteX166-11673" fmla="*/ 2251840 w 10693106"/>
              <a:gd name="connsiteY166-11674" fmla="*/ 1866954 h 5321354"/>
              <a:gd name="connsiteX167-11675" fmla="*/ 2167173 w 10693106"/>
              <a:gd name="connsiteY167-11676" fmla="*/ 1909288 h 5321354"/>
              <a:gd name="connsiteX168-11677" fmla="*/ 1980906 w 10693106"/>
              <a:gd name="connsiteY168-11678" fmla="*/ 1968554 h 5321354"/>
              <a:gd name="connsiteX169-11679" fmla="*/ 1904706 w 10693106"/>
              <a:gd name="connsiteY169-11680" fmla="*/ 2002421 h 5321354"/>
              <a:gd name="connsiteX170-11681" fmla="*/ 1828506 w 10693106"/>
              <a:gd name="connsiteY170-11682" fmla="*/ 2019354 h 5321354"/>
              <a:gd name="connsiteX171-11683" fmla="*/ 1726906 w 10693106"/>
              <a:gd name="connsiteY171-11684" fmla="*/ 2070154 h 5321354"/>
              <a:gd name="connsiteX172-11685" fmla="*/ 1659173 w 10693106"/>
              <a:gd name="connsiteY172-11686" fmla="*/ 2104021 h 5321354"/>
              <a:gd name="connsiteX173-11687" fmla="*/ 1498306 w 10693106"/>
              <a:gd name="connsiteY173-11688" fmla="*/ 2129421 h 5321354"/>
              <a:gd name="connsiteX174-11689" fmla="*/ 914106 w 10693106"/>
              <a:gd name="connsiteY174-11690" fmla="*/ 2061688 h 5321354"/>
              <a:gd name="connsiteX175-11691" fmla="*/ 617773 w 10693106"/>
              <a:gd name="connsiteY175-11692" fmla="*/ 1951621 h 5321354"/>
              <a:gd name="connsiteX176-11693" fmla="*/ 516173 w 10693106"/>
              <a:gd name="connsiteY176-11694" fmla="*/ 1866954 h 5321354"/>
              <a:gd name="connsiteX177-11695" fmla="*/ 355306 w 10693106"/>
              <a:gd name="connsiteY177-11696" fmla="*/ 1655288 h 5321354"/>
              <a:gd name="connsiteX178-11697" fmla="*/ 296040 w 10693106"/>
              <a:gd name="connsiteY178-11698" fmla="*/ 1553688 h 5321354"/>
              <a:gd name="connsiteX179-11699" fmla="*/ 253706 w 10693106"/>
              <a:gd name="connsiteY179-11700" fmla="*/ 1375888 h 5321354"/>
              <a:gd name="connsiteX180-11701" fmla="*/ 245240 w 10693106"/>
              <a:gd name="connsiteY180-11702" fmla="*/ 1248888 h 5321354"/>
              <a:gd name="connsiteX181-11703" fmla="*/ 236773 w 10693106"/>
              <a:gd name="connsiteY181-11704" fmla="*/ 1147288 h 5321354"/>
              <a:gd name="connsiteX182-11705" fmla="*/ 245240 w 10693106"/>
              <a:gd name="connsiteY182-11706" fmla="*/ 876354 h 5321354"/>
              <a:gd name="connsiteX183-11707" fmla="*/ 236773 w 10693106"/>
              <a:gd name="connsiteY183-11708" fmla="*/ 732421 h 5321354"/>
              <a:gd name="connsiteX184-11709" fmla="*/ 109773 w 10693106"/>
              <a:gd name="connsiteY184-11710" fmla="*/ 588488 h 5321354"/>
              <a:gd name="connsiteX185-11711" fmla="*/ 58973 w 10693106"/>
              <a:gd name="connsiteY185-11712" fmla="*/ 512288 h 5321354"/>
              <a:gd name="connsiteX186-11713" fmla="*/ 16640 w 10693106"/>
              <a:gd name="connsiteY186-11714" fmla="*/ 461488 h 5321354"/>
              <a:gd name="connsiteX187-11715" fmla="*/ 8173 w 10693106"/>
              <a:gd name="connsiteY187-11716" fmla="*/ 419154 h 5321354"/>
              <a:gd name="connsiteX188-11717" fmla="*/ 16640 w 10693106"/>
              <a:gd name="connsiteY188-11718" fmla="*/ 368354 h 5321354"/>
              <a:gd name="connsiteX0-11719" fmla="*/ 16640 w 10693106"/>
              <a:gd name="connsiteY0-11720" fmla="*/ 368354 h 5321354"/>
              <a:gd name="connsiteX1-11721" fmla="*/ 58973 w 10693106"/>
              <a:gd name="connsiteY1-11722" fmla="*/ 275221 h 5321354"/>
              <a:gd name="connsiteX2-11723" fmla="*/ 109773 w 10693106"/>
              <a:gd name="connsiteY2-11724" fmla="*/ 207488 h 5321354"/>
              <a:gd name="connsiteX3-11725" fmla="*/ 202906 w 10693106"/>
              <a:gd name="connsiteY3-11726" fmla="*/ 122821 h 5321354"/>
              <a:gd name="connsiteX4-11727" fmla="*/ 236773 w 10693106"/>
              <a:gd name="connsiteY4-11728" fmla="*/ 97421 h 5321354"/>
              <a:gd name="connsiteX5-11729" fmla="*/ 346840 w 10693106"/>
              <a:gd name="connsiteY5-11730" fmla="*/ 38154 h 5321354"/>
              <a:gd name="connsiteX6-11731" fmla="*/ 397640 w 10693106"/>
              <a:gd name="connsiteY6-11732" fmla="*/ 4288 h 5321354"/>
              <a:gd name="connsiteX7-11733" fmla="*/ 467297 w 10693106"/>
              <a:gd name="connsiteY7-11734" fmla="*/ 143218 h 5321354"/>
              <a:gd name="connsiteX8-11735" fmla="*/ 492697 w 10693106"/>
              <a:gd name="connsiteY8-11736" fmla="*/ 103579 h 5321354"/>
              <a:gd name="connsiteX9-11737" fmla="*/ 822897 w 10693106"/>
              <a:gd name="connsiteY9-11738" fmla="*/ 112045 h 5321354"/>
              <a:gd name="connsiteX10-11739" fmla="*/ 1091906 w 10693106"/>
              <a:gd name="connsiteY10-11740" fmla="*/ 29688 h 5321354"/>
              <a:gd name="connsiteX11-11741" fmla="*/ 1235840 w 10693106"/>
              <a:gd name="connsiteY11-11742" fmla="*/ 88954 h 5321354"/>
              <a:gd name="connsiteX12-11743" fmla="*/ 1337440 w 10693106"/>
              <a:gd name="connsiteY12-11744" fmla="*/ 165154 h 5321354"/>
              <a:gd name="connsiteX13-11745" fmla="*/ 1422106 w 10693106"/>
              <a:gd name="connsiteY13-11746" fmla="*/ 275221 h 5321354"/>
              <a:gd name="connsiteX14-11747" fmla="*/ 1481373 w 10693106"/>
              <a:gd name="connsiteY14-11748" fmla="*/ 342954 h 5321354"/>
              <a:gd name="connsiteX15-11749" fmla="*/ 1532173 w 10693106"/>
              <a:gd name="connsiteY15-11750" fmla="*/ 376821 h 5321354"/>
              <a:gd name="connsiteX16-11751" fmla="*/ 1684573 w 10693106"/>
              <a:gd name="connsiteY16-11752" fmla="*/ 436088 h 5321354"/>
              <a:gd name="connsiteX17-11753" fmla="*/ 1760773 w 10693106"/>
              <a:gd name="connsiteY17-11754" fmla="*/ 453021 h 5321354"/>
              <a:gd name="connsiteX18-11755" fmla="*/ 1997840 w 10693106"/>
              <a:gd name="connsiteY18-11756" fmla="*/ 444554 h 5321354"/>
              <a:gd name="connsiteX19-11757" fmla="*/ 2116373 w 10693106"/>
              <a:gd name="connsiteY19-11758" fmla="*/ 427621 h 5321354"/>
              <a:gd name="connsiteX20-11759" fmla="*/ 2260306 w 10693106"/>
              <a:gd name="connsiteY20-11760" fmla="*/ 410688 h 5321354"/>
              <a:gd name="connsiteX21-11761" fmla="*/ 2404240 w 10693106"/>
              <a:gd name="connsiteY21-11762" fmla="*/ 385288 h 5321354"/>
              <a:gd name="connsiteX22-11763" fmla="*/ 2455040 w 10693106"/>
              <a:gd name="connsiteY22-11764" fmla="*/ 359888 h 5321354"/>
              <a:gd name="connsiteX23-11765" fmla="*/ 2531240 w 10693106"/>
              <a:gd name="connsiteY23-11766" fmla="*/ 334488 h 5321354"/>
              <a:gd name="connsiteX24-11767" fmla="*/ 2683640 w 10693106"/>
              <a:gd name="connsiteY24-11768" fmla="*/ 207488 h 5321354"/>
              <a:gd name="connsiteX25-11769" fmla="*/ 2742906 w 10693106"/>
              <a:gd name="connsiteY25-11770" fmla="*/ 215954 h 5321354"/>
              <a:gd name="connsiteX26-11771" fmla="*/ 2764920 w 10693106"/>
              <a:gd name="connsiteY26-11772" fmla="*/ 202408 h 5321354"/>
              <a:gd name="connsiteX27-11773" fmla="*/ 2832653 w 10693106"/>
              <a:gd name="connsiteY27-11774" fmla="*/ 197328 h 5321354"/>
              <a:gd name="connsiteX28-11775" fmla="*/ 3002294 w 10693106"/>
              <a:gd name="connsiteY28-11776" fmla="*/ 184012 h 5321354"/>
              <a:gd name="connsiteX29-11777" fmla="*/ 3142763 w 10693106"/>
              <a:gd name="connsiteY29-11778" fmla="*/ 139753 h 5321354"/>
              <a:gd name="connsiteX30-11779" fmla="*/ 3398918 w 10693106"/>
              <a:gd name="connsiteY30-11780" fmla="*/ 101654 h 5321354"/>
              <a:gd name="connsiteX31-11781" fmla="*/ 3606506 w 10693106"/>
              <a:gd name="connsiteY31-11782" fmla="*/ 89725 h 5321354"/>
              <a:gd name="connsiteX32-11783" fmla="*/ 3682706 w 10693106"/>
              <a:gd name="connsiteY32-11784" fmla="*/ 109274 h 5321354"/>
              <a:gd name="connsiteX33-11785" fmla="*/ 3741973 w 10693106"/>
              <a:gd name="connsiteY33-11786" fmla="*/ 115893 h 5321354"/>
              <a:gd name="connsiteX34-11787" fmla="*/ 3792773 w 10693106"/>
              <a:gd name="connsiteY34-11788" fmla="*/ 151608 h 5321354"/>
              <a:gd name="connsiteX35-11789" fmla="*/ 3831720 w 10693106"/>
              <a:gd name="connsiteY35-11790" fmla="*/ 166848 h 5321354"/>
              <a:gd name="connsiteX36-11791" fmla="*/ 3896297 w 10693106"/>
              <a:gd name="connsiteY36-11792" fmla="*/ 186321 h 5321354"/>
              <a:gd name="connsiteX37-11793" fmla="*/ 3950253 w 10693106"/>
              <a:gd name="connsiteY37-11794" fmla="*/ 205794 h 5321354"/>
              <a:gd name="connsiteX38-11795" fmla="*/ 3995973 w 10693106"/>
              <a:gd name="connsiteY38-11796" fmla="*/ 139754 h 5321354"/>
              <a:gd name="connsiteX39-11797" fmla="*/ 4021373 w 10693106"/>
              <a:gd name="connsiteY39-11798" fmla="*/ 173621 h 5321354"/>
              <a:gd name="connsiteX40-11799" fmla="*/ 4055240 w 10693106"/>
              <a:gd name="connsiteY40-11800" fmla="*/ 182088 h 5321354"/>
              <a:gd name="connsiteX41-11801" fmla="*/ 4275373 w 10693106"/>
              <a:gd name="connsiteY41-11802" fmla="*/ 224421 h 5321354"/>
              <a:gd name="connsiteX42-11803" fmla="*/ 4402373 w 10693106"/>
              <a:gd name="connsiteY42-11804" fmla="*/ 258288 h 5321354"/>
              <a:gd name="connsiteX43-11805" fmla="*/ 4529373 w 10693106"/>
              <a:gd name="connsiteY43-11806" fmla="*/ 300621 h 5321354"/>
              <a:gd name="connsiteX44-11807" fmla="*/ 4859573 w 10693106"/>
              <a:gd name="connsiteY44-11808" fmla="*/ 376821 h 5321354"/>
              <a:gd name="connsiteX45-11809" fmla="*/ 5045840 w 10693106"/>
              <a:gd name="connsiteY45-11810" fmla="*/ 453021 h 5321354"/>
              <a:gd name="connsiteX46-11811" fmla="*/ 5325240 w 10693106"/>
              <a:gd name="connsiteY46-11812" fmla="*/ 613888 h 5321354"/>
              <a:gd name="connsiteX47-11813" fmla="*/ 5494573 w 10693106"/>
              <a:gd name="connsiteY47-11814" fmla="*/ 766288 h 5321354"/>
              <a:gd name="connsiteX48-11815" fmla="*/ 5562306 w 10693106"/>
              <a:gd name="connsiteY48-11816" fmla="*/ 842488 h 5321354"/>
              <a:gd name="connsiteX49-11817" fmla="*/ 5621573 w 10693106"/>
              <a:gd name="connsiteY49-11818" fmla="*/ 893288 h 5321354"/>
              <a:gd name="connsiteX50-11819" fmla="*/ 5672373 w 10693106"/>
              <a:gd name="connsiteY50-11820" fmla="*/ 961021 h 5321354"/>
              <a:gd name="connsiteX51-11821" fmla="*/ 5757040 w 10693106"/>
              <a:gd name="connsiteY51-11822" fmla="*/ 1062621 h 5321354"/>
              <a:gd name="connsiteX52-11823" fmla="*/ 5833240 w 10693106"/>
              <a:gd name="connsiteY52-11824" fmla="*/ 1155754 h 5321354"/>
              <a:gd name="connsiteX53-11825" fmla="*/ 6019506 w 10693106"/>
              <a:gd name="connsiteY53-11826" fmla="*/ 1358954 h 5321354"/>
              <a:gd name="connsiteX54-11827" fmla="*/ 6087240 w 10693106"/>
              <a:gd name="connsiteY54-11828" fmla="*/ 1409754 h 5321354"/>
              <a:gd name="connsiteX55-11829" fmla="*/ 6171906 w 10693106"/>
              <a:gd name="connsiteY55-11830" fmla="*/ 1511354 h 5321354"/>
              <a:gd name="connsiteX56-11831" fmla="*/ 6451306 w 10693106"/>
              <a:gd name="connsiteY56-11832" fmla="*/ 1723021 h 5321354"/>
              <a:gd name="connsiteX57-11833" fmla="*/ 6519040 w 10693106"/>
              <a:gd name="connsiteY57-11834" fmla="*/ 1731488 h 5321354"/>
              <a:gd name="connsiteX58-11835" fmla="*/ 6603706 w 10693106"/>
              <a:gd name="connsiteY58-11836" fmla="*/ 1765354 h 5321354"/>
              <a:gd name="connsiteX59-11837" fmla="*/ 6671440 w 10693106"/>
              <a:gd name="connsiteY59-11838" fmla="*/ 1799221 h 5321354"/>
              <a:gd name="connsiteX60-11839" fmla="*/ 6866173 w 10693106"/>
              <a:gd name="connsiteY60-11840" fmla="*/ 1824621 h 5321354"/>
              <a:gd name="connsiteX61-11841" fmla="*/ 7196373 w 10693106"/>
              <a:gd name="connsiteY61-11842" fmla="*/ 1807688 h 5321354"/>
              <a:gd name="connsiteX62-11843" fmla="*/ 7509640 w 10693106"/>
              <a:gd name="connsiteY62-11844" fmla="*/ 1731488 h 5321354"/>
              <a:gd name="connsiteX63-11845" fmla="*/ 7628173 w 10693106"/>
              <a:gd name="connsiteY63-11846" fmla="*/ 1706088 h 5321354"/>
              <a:gd name="connsiteX64-11847" fmla="*/ 7704373 w 10693106"/>
              <a:gd name="connsiteY64-11848" fmla="*/ 1663754 h 5321354"/>
              <a:gd name="connsiteX65-11849" fmla="*/ 7755173 w 10693106"/>
              <a:gd name="connsiteY65-11850" fmla="*/ 1655288 h 5321354"/>
              <a:gd name="connsiteX66-11851" fmla="*/ 7797506 w 10693106"/>
              <a:gd name="connsiteY66-11852" fmla="*/ 1621421 h 5321354"/>
              <a:gd name="connsiteX67-11853" fmla="*/ 7856773 w 10693106"/>
              <a:gd name="connsiteY67-11854" fmla="*/ 1604488 h 5321354"/>
              <a:gd name="connsiteX68-11855" fmla="*/ 7958373 w 10693106"/>
              <a:gd name="connsiteY68-11856" fmla="*/ 1536754 h 5321354"/>
              <a:gd name="connsiteX69-11857" fmla="*/ 8009173 w 10693106"/>
              <a:gd name="connsiteY69-11858" fmla="*/ 1485954 h 5321354"/>
              <a:gd name="connsiteX70-11859" fmla="*/ 8339373 w 10693106"/>
              <a:gd name="connsiteY70-11860" fmla="*/ 1240421 h 5321354"/>
              <a:gd name="connsiteX71-11861" fmla="*/ 8576440 w 10693106"/>
              <a:gd name="connsiteY71-11862" fmla="*/ 986421 h 5321354"/>
              <a:gd name="connsiteX72-11863" fmla="*/ 8652640 w 10693106"/>
              <a:gd name="connsiteY72-11864" fmla="*/ 707021 h 5321354"/>
              <a:gd name="connsiteX73-11865" fmla="*/ 8847373 w 10693106"/>
              <a:gd name="connsiteY73-11866" fmla="*/ 520754 h 5321354"/>
              <a:gd name="connsiteX74-11867" fmla="*/ 8982840 w 10693106"/>
              <a:gd name="connsiteY74-11868" fmla="*/ 427621 h 5321354"/>
              <a:gd name="connsiteX75-11869" fmla="*/ 9084440 w 10693106"/>
              <a:gd name="connsiteY75-11870" fmla="*/ 393754 h 5321354"/>
              <a:gd name="connsiteX76-11871" fmla="*/ 9152173 w 10693106"/>
              <a:gd name="connsiteY76-11872" fmla="*/ 368354 h 5321354"/>
              <a:gd name="connsiteX77-11873" fmla="*/ 9380773 w 10693106"/>
              <a:gd name="connsiteY77-11874" fmla="*/ 385288 h 5321354"/>
              <a:gd name="connsiteX78-11875" fmla="*/ 9744840 w 10693106"/>
              <a:gd name="connsiteY78-11876" fmla="*/ 495354 h 5321354"/>
              <a:gd name="connsiteX79-11877" fmla="*/ 9888773 w 10693106"/>
              <a:gd name="connsiteY79-11878" fmla="*/ 537688 h 5321354"/>
              <a:gd name="connsiteX80-11879" fmla="*/ 9998840 w 10693106"/>
              <a:gd name="connsiteY80-11880" fmla="*/ 588488 h 5321354"/>
              <a:gd name="connsiteX81-11881" fmla="*/ 10083506 w 10693106"/>
              <a:gd name="connsiteY81-11882" fmla="*/ 647754 h 5321354"/>
              <a:gd name="connsiteX82-11883" fmla="*/ 10286706 w 10693106"/>
              <a:gd name="connsiteY82-11884" fmla="*/ 715488 h 5321354"/>
              <a:gd name="connsiteX83-11885" fmla="*/ 10388306 w 10693106"/>
              <a:gd name="connsiteY83-11886" fmla="*/ 918688 h 5321354"/>
              <a:gd name="connsiteX84-11887" fmla="*/ 10540706 w 10693106"/>
              <a:gd name="connsiteY84-11888" fmla="*/ 1291221 h 5321354"/>
              <a:gd name="connsiteX85-11889" fmla="*/ 10557640 w 10693106"/>
              <a:gd name="connsiteY85-11890" fmla="*/ 1375888 h 5321354"/>
              <a:gd name="connsiteX86-11891" fmla="*/ 10583040 w 10693106"/>
              <a:gd name="connsiteY86-11892" fmla="*/ 1477488 h 5321354"/>
              <a:gd name="connsiteX87-11893" fmla="*/ 10616906 w 10693106"/>
              <a:gd name="connsiteY87-11894" fmla="*/ 1680688 h 5321354"/>
              <a:gd name="connsiteX88-11895" fmla="*/ 10633840 w 10693106"/>
              <a:gd name="connsiteY88-11896" fmla="*/ 1765354 h 5321354"/>
              <a:gd name="connsiteX89-11897" fmla="*/ 10650773 w 10693106"/>
              <a:gd name="connsiteY89-11898" fmla="*/ 1799221 h 5321354"/>
              <a:gd name="connsiteX90-11899" fmla="*/ 10676173 w 10693106"/>
              <a:gd name="connsiteY90-11900" fmla="*/ 1883888 h 5321354"/>
              <a:gd name="connsiteX91-11901" fmla="*/ 10693106 w 10693106"/>
              <a:gd name="connsiteY91-11902" fmla="*/ 2036288 h 5321354"/>
              <a:gd name="connsiteX92-11903" fmla="*/ 10625373 w 10693106"/>
              <a:gd name="connsiteY92-11904" fmla="*/ 2256421 h 5321354"/>
              <a:gd name="connsiteX93-11905" fmla="*/ 10608440 w 10693106"/>
              <a:gd name="connsiteY93-11906" fmla="*/ 2281821 h 5321354"/>
              <a:gd name="connsiteX94-11907" fmla="*/ 10540706 w 10693106"/>
              <a:gd name="connsiteY94-11908" fmla="*/ 2425754 h 5321354"/>
              <a:gd name="connsiteX95-11909" fmla="*/ 10498373 w 10693106"/>
              <a:gd name="connsiteY95-11910" fmla="*/ 2510421 h 5321354"/>
              <a:gd name="connsiteX96-11911" fmla="*/ 10439106 w 10693106"/>
              <a:gd name="connsiteY96-11912" fmla="*/ 2696688 h 5321354"/>
              <a:gd name="connsiteX97-11913" fmla="*/ 10430640 w 10693106"/>
              <a:gd name="connsiteY97-11914" fmla="*/ 2739021 h 5321354"/>
              <a:gd name="connsiteX98-11915" fmla="*/ 10405240 w 10693106"/>
              <a:gd name="connsiteY98-11916" fmla="*/ 2815221 h 5321354"/>
              <a:gd name="connsiteX99-11917" fmla="*/ 10396773 w 10693106"/>
              <a:gd name="connsiteY99-11918" fmla="*/ 2849088 h 5321354"/>
              <a:gd name="connsiteX100-11919" fmla="*/ 10362906 w 10693106"/>
              <a:gd name="connsiteY100-11920" fmla="*/ 2942221 h 5321354"/>
              <a:gd name="connsiteX101-11921" fmla="*/ 10329040 w 10693106"/>
              <a:gd name="connsiteY101-11922" fmla="*/ 2984554 h 5321354"/>
              <a:gd name="connsiteX102-11923" fmla="*/ 10227440 w 10693106"/>
              <a:gd name="connsiteY102-11924" fmla="*/ 3086154 h 5321354"/>
              <a:gd name="connsiteX103-11925" fmla="*/ 10168173 w 10693106"/>
              <a:gd name="connsiteY103-11926" fmla="*/ 3153888 h 5321354"/>
              <a:gd name="connsiteX104-11927" fmla="*/ 10117373 w 10693106"/>
              <a:gd name="connsiteY104-11928" fmla="*/ 3204688 h 5321354"/>
              <a:gd name="connsiteX105-11929" fmla="*/ 10032706 w 10693106"/>
              <a:gd name="connsiteY105-11930" fmla="*/ 3306288 h 5321354"/>
              <a:gd name="connsiteX106-11931" fmla="*/ 9948040 w 10693106"/>
              <a:gd name="connsiteY106-11932" fmla="*/ 3365554 h 5321354"/>
              <a:gd name="connsiteX107-11933" fmla="*/ 9905706 w 10693106"/>
              <a:gd name="connsiteY107-11934" fmla="*/ 3390954 h 5321354"/>
              <a:gd name="connsiteX108-11935" fmla="*/ 9829506 w 10693106"/>
              <a:gd name="connsiteY108-11936" fmla="*/ 3407888 h 5321354"/>
              <a:gd name="connsiteX109-11937" fmla="*/ 9727906 w 10693106"/>
              <a:gd name="connsiteY109-11938" fmla="*/ 3450221 h 5321354"/>
              <a:gd name="connsiteX110-11939" fmla="*/ 9634773 w 10693106"/>
              <a:gd name="connsiteY110-11940" fmla="*/ 3475621 h 5321354"/>
              <a:gd name="connsiteX111-11941" fmla="*/ 9456973 w 10693106"/>
              <a:gd name="connsiteY111-11942" fmla="*/ 3568754 h 5321354"/>
              <a:gd name="connsiteX112-11943" fmla="*/ 9313040 w 10693106"/>
              <a:gd name="connsiteY112-11944" fmla="*/ 3695754 h 5321354"/>
              <a:gd name="connsiteX113-11945" fmla="*/ 9279173 w 10693106"/>
              <a:gd name="connsiteY113-11946" fmla="*/ 3712688 h 5321354"/>
              <a:gd name="connsiteX114-11947" fmla="*/ 9067506 w 10693106"/>
              <a:gd name="connsiteY114-11948" fmla="*/ 3890488 h 5321354"/>
              <a:gd name="connsiteX115-11949" fmla="*/ 8999773 w 10693106"/>
              <a:gd name="connsiteY115-11950" fmla="*/ 3958221 h 5321354"/>
              <a:gd name="connsiteX116-11951" fmla="*/ 8813506 w 10693106"/>
              <a:gd name="connsiteY116-11952" fmla="*/ 4093688 h 5321354"/>
              <a:gd name="connsiteX117-11953" fmla="*/ 8728840 w 10693106"/>
              <a:gd name="connsiteY117-11954" fmla="*/ 4136021 h 5321354"/>
              <a:gd name="connsiteX118-11955" fmla="*/ 8373240 w 10693106"/>
              <a:gd name="connsiteY118-11956" fmla="*/ 4169888 h 5321354"/>
              <a:gd name="connsiteX119-11957" fmla="*/ 7966840 w 10693106"/>
              <a:gd name="connsiteY119-11958" fmla="*/ 4263021 h 5321354"/>
              <a:gd name="connsiteX120-11959" fmla="*/ 7687440 w 10693106"/>
              <a:gd name="connsiteY120-11960" fmla="*/ 4423888 h 5321354"/>
              <a:gd name="connsiteX121-11961" fmla="*/ 7551973 w 10693106"/>
              <a:gd name="connsiteY121-11962" fmla="*/ 4508554 h 5321354"/>
              <a:gd name="connsiteX122-11963" fmla="*/ 7374173 w 10693106"/>
              <a:gd name="connsiteY122-11964" fmla="*/ 4686354 h 5321354"/>
              <a:gd name="connsiteX123-11965" fmla="*/ 7374173 w 10693106"/>
              <a:gd name="connsiteY123-11966" fmla="*/ 4686354 h 5321354"/>
              <a:gd name="connsiteX124-11967" fmla="*/ 7221773 w 10693106"/>
              <a:gd name="connsiteY124-11968" fmla="*/ 4804888 h 5321354"/>
              <a:gd name="connsiteX125-11969" fmla="*/ 7027040 w 10693106"/>
              <a:gd name="connsiteY125-11970" fmla="*/ 4931888 h 5321354"/>
              <a:gd name="connsiteX126-11971" fmla="*/ 6883106 w 10693106"/>
              <a:gd name="connsiteY126-11972" fmla="*/ 4999621 h 5321354"/>
              <a:gd name="connsiteX127-11973" fmla="*/ 6815373 w 10693106"/>
              <a:gd name="connsiteY127-11974" fmla="*/ 5041954 h 5321354"/>
              <a:gd name="connsiteX128-11975" fmla="*/ 6646040 w 10693106"/>
              <a:gd name="connsiteY128-11976" fmla="*/ 5135088 h 5321354"/>
              <a:gd name="connsiteX129-11977" fmla="*/ 6527506 w 10693106"/>
              <a:gd name="connsiteY129-11978" fmla="*/ 5194354 h 5321354"/>
              <a:gd name="connsiteX130-11979" fmla="*/ 6298906 w 10693106"/>
              <a:gd name="connsiteY130-11980" fmla="*/ 5270554 h 5321354"/>
              <a:gd name="connsiteX131-11981" fmla="*/ 6197306 w 10693106"/>
              <a:gd name="connsiteY131-11982" fmla="*/ 5295954 h 5321354"/>
              <a:gd name="connsiteX132-11983" fmla="*/ 6061840 w 10693106"/>
              <a:gd name="connsiteY132-11984" fmla="*/ 5304421 h 5321354"/>
              <a:gd name="connsiteX133-11985" fmla="*/ 5917906 w 10693106"/>
              <a:gd name="connsiteY133-11986" fmla="*/ 5321354 h 5321354"/>
              <a:gd name="connsiteX134-11987" fmla="*/ 5748573 w 10693106"/>
              <a:gd name="connsiteY134-11988" fmla="*/ 5312888 h 5321354"/>
              <a:gd name="connsiteX135-11989" fmla="*/ 5282906 w 10693106"/>
              <a:gd name="connsiteY135-11990" fmla="*/ 5202821 h 5321354"/>
              <a:gd name="connsiteX136-11991" fmla="*/ 5138973 w 10693106"/>
              <a:gd name="connsiteY136-11992" fmla="*/ 5101221 h 5321354"/>
              <a:gd name="connsiteX137-11993" fmla="*/ 4959480 w 10693106"/>
              <a:gd name="connsiteY137-11994" fmla="*/ 5017401 h 5321354"/>
              <a:gd name="connsiteX138-11995" fmla="*/ 4842216 w 10693106"/>
              <a:gd name="connsiteY138-11996" fmla="*/ 4983111 h 5321354"/>
              <a:gd name="connsiteX139-11997" fmla="*/ 4797343 w 10693106"/>
              <a:gd name="connsiteY139-11998" fmla="*/ 4907758 h 5321354"/>
              <a:gd name="connsiteX140-11999" fmla="*/ 4686853 w 10693106"/>
              <a:gd name="connsiteY140-12000" fmla="*/ 4817588 h 5321354"/>
              <a:gd name="connsiteX141-12001" fmla="*/ 4536146 w 10693106"/>
              <a:gd name="connsiteY141-12002" fmla="*/ 4742234 h 5321354"/>
              <a:gd name="connsiteX142-12003" fmla="*/ 4365120 w 10693106"/>
              <a:gd name="connsiteY142-12004" fmla="*/ 4645714 h 5321354"/>
              <a:gd name="connsiteX143-12005" fmla="*/ 4187743 w 10693106"/>
              <a:gd name="connsiteY143-12006" fmla="*/ 4550888 h 5321354"/>
              <a:gd name="connsiteX144-12007" fmla="*/ 4038306 w 10693106"/>
              <a:gd name="connsiteY144-12008" fmla="*/ 4395101 h 5321354"/>
              <a:gd name="connsiteX145-12009" fmla="*/ 3893103 w 10693106"/>
              <a:gd name="connsiteY145-12010" fmla="*/ 4284611 h 5321354"/>
              <a:gd name="connsiteX146-12011" fmla="*/ 3882520 w 10693106"/>
              <a:gd name="connsiteY146-12012" fmla="*/ 4210104 h 5321354"/>
              <a:gd name="connsiteX147-12013" fmla="*/ 3895643 w 10693106"/>
              <a:gd name="connsiteY147-12014" fmla="*/ 4089031 h 5321354"/>
              <a:gd name="connsiteX148-12015" fmla="*/ 3919773 w 10693106"/>
              <a:gd name="connsiteY148-12016" fmla="*/ 3949754 h 5321354"/>
              <a:gd name="connsiteX149-12017" fmla="*/ 3877440 w 10693106"/>
              <a:gd name="connsiteY149-12018" fmla="*/ 3653421 h 5321354"/>
              <a:gd name="connsiteX150-12019" fmla="*/ 3852040 w 10693106"/>
              <a:gd name="connsiteY150-12020" fmla="*/ 3560288 h 5321354"/>
              <a:gd name="connsiteX151-12021" fmla="*/ 3801240 w 10693106"/>
              <a:gd name="connsiteY151-12022" fmla="*/ 3450221 h 5321354"/>
              <a:gd name="connsiteX152-12023" fmla="*/ 3733506 w 10693106"/>
              <a:gd name="connsiteY152-12024" fmla="*/ 3348621 h 5321354"/>
              <a:gd name="connsiteX153-12025" fmla="*/ 3242440 w 10693106"/>
              <a:gd name="connsiteY153-12026" fmla="*/ 3128488 h 5321354"/>
              <a:gd name="connsiteX154-12027" fmla="*/ 3123906 w 10693106"/>
              <a:gd name="connsiteY154-12028" fmla="*/ 3026888 h 5321354"/>
              <a:gd name="connsiteX155-12029" fmla="*/ 2988440 w 10693106"/>
              <a:gd name="connsiteY155-12030" fmla="*/ 2832154 h 5321354"/>
              <a:gd name="connsiteX156-12031" fmla="*/ 2971506 w 10693106"/>
              <a:gd name="connsiteY156-12032" fmla="*/ 2772888 h 5321354"/>
              <a:gd name="connsiteX157-12033" fmla="*/ 2996906 w 10693106"/>
              <a:gd name="connsiteY157-12034" fmla="*/ 2561221 h 5321354"/>
              <a:gd name="connsiteX158-12035" fmla="*/ 3013840 w 10693106"/>
              <a:gd name="connsiteY158-12036" fmla="*/ 2459621 h 5321354"/>
              <a:gd name="connsiteX159-12037" fmla="*/ 3005373 w 10693106"/>
              <a:gd name="connsiteY159-12038" fmla="*/ 2341088 h 5321354"/>
              <a:gd name="connsiteX160-12039" fmla="*/ 2988440 w 10693106"/>
              <a:gd name="connsiteY160-12040" fmla="*/ 2290288 h 5321354"/>
              <a:gd name="connsiteX161-12041" fmla="*/ 2802173 w 10693106"/>
              <a:gd name="connsiteY161-12042" fmla="*/ 2036288 h 5321354"/>
              <a:gd name="connsiteX162-12043" fmla="*/ 2641306 w 10693106"/>
              <a:gd name="connsiteY162-12044" fmla="*/ 1892354 h 5321354"/>
              <a:gd name="connsiteX163-12045" fmla="*/ 2590506 w 10693106"/>
              <a:gd name="connsiteY163-12046" fmla="*/ 1866954 h 5321354"/>
              <a:gd name="connsiteX164-12047" fmla="*/ 2531240 w 10693106"/>
              <a:gd name="connsiteY164-12048" fmla="*/ 1858488 h 5321354"/>
              <a:gd name="connsiteX165-12049" fmla="*/ 2446573 w 10693106"/>
              <a:gd name="connsiteY165-12050" fmla="*/ 1841554 h 5321354"/>
              <a:gd name="connsiteX166-12051" fmla="*/ 2251840 w 10693106"/>
              <a:gd name="connsiteY166-12052" fmla="*/ 1866954 h 5321354"/>
              <a:gd name="connsiteX167-12053" fmla="*/ 2167173 w 10693106"/>
              <a:gd name="connsiteY167-12054" fmla="*/ 1909288 h 5321354"/>
              <a:gd name="connsiteX168-12055" fmla="*/ 1980906 w 10693106"/>
              <a:gd name="connsiteY168-12056" fmla="*/ 1968554 h 5321354"/>
              <a:gd name="connsiteX169-12057" fmla="*/ 1904706 w 10693106"/>
              <a:gd name="connsiteY169-12058" fmla="*/ 2002421 h 5321354"/>
              <a:gd name="connsiteX170-12059" fmla="*/ 1828506 w 10693106"/>
              <a:gd name="connsiteY170-12060" fmla="*/ 2019354 h 5321354"/>
              <a:gd name="connsiteX171-12061" fmla="*/ 1726906 w 10693106"/>
              <a:gd name="connsiteY171-12062" fmla="*/ 2070154 h 5321354"/>
              <a:gd name="connsiteX172-12063" fmla="*/ 1659173 w 10693106"/>
              <a:gd name="connsiteY172-12064" fmla="*/ 2104021 h 5321354"/>
              <a:gd name="connsiteX173-12065" fmla="*/ 1498306 w 10693106"/>
              <a:gd name="connsiteY173-12066" fmla="*/ 2129421 h 5321354"/>
              <a:gd name="connsiteX174-12067" fmla="*/ 914106 w 10693106"/>
              <a:gd name="connsiteY174-12068" fmla="*/ 2061688 h 5321354"/>
              <a:gd name="connsiteX175-12069" fmla="*/ 617773 w 10693106"/>
              <a:gd name="connsiteY175-12070" fmla="*/ 1951621 h 5321354"/>
              <a:gd name="connsiteX176-12071" fmla="*/ 516173 w 10693106"/>
              <a:gd name="connsiteY176-12072" fmla="*/ 1866954 h 5321354"/>
              <a:gd name="connsiteX177-12073" fmla="*/ 355306 w 10693106"/>
              <a:gd name="connsiteY177-12074" fmla="*/ 1655288 h 5321354"/>
              <a:gd name="connsiteX178-12075" fmla="*/ 296040 w 10693106"/>
              <a:gd name="connsiteY178-12076" fmla="*/ 1553688 h 5321354"/>
              <a:gd name="connsiteX179-12077" fmla="*/ 253706 w 10693106"/>
              <a:gd name="connsiteY179-12078" fmla="*/ 1375888 h 5321354"/>
              <a:gd name="connsiteX180-12079" fmla="*/ 245240 w 10693106"/>
              <a:gd name="connsiteY180-12080" fmla="*/ 1248888 h 5321354"/>
              <a:gd name="connsiteX181-12081" fmla="*/ 236773 w 10693106"/>
              <a:gd name="connsiteY181-12082" fmla="*/ 1147288 h 5321354"/>
              <a:gd name="connsiteX182-12083" fmla="*/ 245240 w 10693106"/>
              <a:gd name="connsiteY182-12084" fmla="*/ 876354 h 5321354"/>
              <a:gd name="connsiteX183-12085" fmla="*/ 236773 w 10693106"/>
              <a:gd name="connsiteY183-12086" fmla="*/ 732421 h 5321354"/>
              <a:gd name="connsiteX184-12087" fmla="*/ 109773 w 10693106"/>
              <a:gd name="connsiteY184-12088" fmla="*/ 588488 h 5321354"/>
              <a:gd name="connsiteX185-12089" fmla="*/ 58973 w 10693106"/>
              <a:gd name="connsiteY185-12090" fmla="*/ 512288 h 5321354"/>
              <a:gd name="connsiteX186-12091" fmla="*/ 16640 w 10693106"/>
              <a:gd name="connsiteY186-12092" fmla="*/ 461488 h 5321354"/>
              <a:gd name="connsiteX187-12093" fmla="*/ 8173 w 10693106"/>
              <a:gd name="connsiteY187-12094" fmla="*/ 419154 h 5321354"/>
              <a:gd name="connsiteX188-12095" fmla="*/ 16640 w 10693106"/>
              <a:gd name="connsiteY188-12096" fmla="*/ 368354 h 5321354"/>
              <a:gd name="connsiteX0-12097" fmla="*/ 16640 w 10693106"/>
              <a:gd name="connsiteY0-12098" fmla="*/ 368354 h 5321354"/>
              <a:gd name="connsiteX1-12099" fmla="*/ 58973 w 10693106"/>
              <a:gd name="connsiteY1-12100" fmla="*/ 275221 h 5321354"/>
              <a:gd name="connsiteX2-12101" fmla="*/ 109773 w 10693106"/>
              <a:gd name="connsiteY2-12102" fmla="*/ 207488 h 5321354"/>
              <a:gd name="connsiteX3-12103" fmla="*/ 202906 w 10693106"/>
              <a:gd name="connsiteY3-12104" fmla="*/ 122821 h 5321354"/>
              <a:gd name="connsiteX4-12105" fmla="*/ 236773 w 10693106"/>
              <a:gd name="connsiteY4-12106" fmla="*/ 97421 h 5321354"/>
              <a:gd name="connsiteX5-12107" fmla="*/ 346840 w 10693106"/>
              <a:gd name="connsiteY5-12108" fmla="*/ 38154 h 5321354"/>
              <a:gd name="connsiteX6-12109" fmla="*/ 397640 w 10693106"/>
              <a:gd name="connsiteY6-12110" fmla="*/ 4288 h 5321354"/>
              <a:gd name="connsiteX7-12111" fmla="*/ 467297 w 10693106"/>
              <a:gd name="connsiteY7-12112" fmla="*/ 143218 h 5321354"/>
              <a:gd name="connsiteX8-12113" fmla="*/ 492697 w 10693106"/>
              <a:gd name="connsiteY8-12114" fmla="*/ 103579 h 5321354"/>
              <a:gd name="connsiteX9-12115" fmla="*/ 822897 w 10693106"/>
              <a:gd name="connsiteY9-12116" fmla="*/ 112045 h 5321354"/>
              <a:gd name="connsiteX10-12117" fmla="*/ 1091906 w 10693106"/>
              <a:gd name="connsiteY10-12118" fmla="*/ 29688 h 5321354"/>
              <a:gd name="connsiteX11-12119" fmla="*/ 1235840 w 10693106"/>
              <a:gd name="connsiteY11-12120" fmla="*/ 88954 h 5321354"/>
              <a:gd name="connsiteX12-12121" fmla="*/ 1337440 w 10693106"/>
              <a:gd name="connsiteY12-12122" fmla="*/ 165154 h 5321354"/>
              <a:gd name="connsiteX13-12123" fmla="*/ 1422106 w 10693106"/>
              <a:gd name="connsiteY13-12124" fmla="*/ 275221 h 5321354"/>
              <a:gd name="connsiteX14-12125" fmla="*/ 1481373 w 10693106"/>
              <a:gd name="connsiteY14-12126" fmla="*/ 342954 h 5321354"/>
              <a:gd name="connsiteX15-12127" fmla="*/ 1532173 w 10693106"/>
              <a:gd name="connsiteY15-12128" fmla="*/ 376821 h 5321354"/>
              <a:gd name="connsiteX16-12129" fmla="*/ 1684573 w 10693106"/>
              <a:gd name="connsiteY16-12130" fmla="*/ 436088 h 5321354"/>
              <a:gd name="connsiteX17-12131" fmla="*/ 1760773 w 10693106"/>
              <a:gd name="connsiteY17-12132" fmla="*/ 453021 h 5321354"/>
              <a:gd name="connsiteX18-12133" fmla="*/ 1997840 w 10693106"/>
              <a:gd name="connsiteY18-12134" fmla="*/ 444554 h 5321354"/>
              <a:gd name="connsiteX19-12135" fmla="*/ 2116373 w 10693106"/>
              <a:gd name="connsiteY19-12136" fmla="*/ 427621 h 5321354"/>
              <a:gd name="connsiteX20-12137" fmla="*/ 2260306 w 10693106"/>
              <a:gd name="connsiteY20-12138" fmla="*/ 410688 h 5321354"/>
              <a:gd name="connsiteX21-12139" fmla="*/ 2404240 w 10693106"/>
              <a:gd name="connsiteY21-12140" fmla="*/ 385288 h 5321354"/>
              <a:gd name="connsiteX22-12141" fmla="*/ 2455040 w 10693106"/>
              <a:gd name="connsiteY22-12142" fmla="*/ 359888 h 5321354"/>
              <a:gd name="connsiteX23-12143" fmla="*/ 2531240 w 10693106"/>
              <a:gd name="connsiteY23-12144" fmla="*/ 334488 h 5321354"/>
              <a:gd name="connsiteX24-12145" fmla="*/ 2683640 w 10693106"/>
              <a:gd name="connsiteY24-12146" fmla="*/ 207488 h 5321354"/>
              <a:gd name="connsiteX25-12147" fmla="*/ 2742906 w 10693106"/>
              <a:gd name="connsiteY25-12148" fmla="*/ 215954 h 5321354"/>
              <a:gd name="connsiteX26-12149" fmla="*/ 2764920 w 10693106"/>
              <a:gd name="connsiteY26-12150" fmla="*/ 202408 h 5321354"/>
              <a:gd name="connsiteX27-12151" fmla="*/ 2832653 w 10693106"/>
              <a:gd name="connsiteY27-12152" fmla="*/ 197328 h 5321354"/>
              <a:gd name="connsiteX28-12153" fmla="*/ 3002294 w 10693106"/>
              <a:gd name="connsiteY28-12154" fmla="*/ 184012 h 5321354"/>
              <a:gd name="connsiteX29-12155" fmla="*/ 3142763 w 10693106"/>
              <a:gd name="connsiteY29-12156" fmla="*/ 139753 h 5321354"/>
              <a:gd name="connsiteX30-12157" fmla="*/ 3398918 w 10693106"/>
              <a:gd name="connsiteY30-12158" fmla="*/ 101654 h 5321354"/>
              <a:gd name="connsiteX31-12159" fmla="*/ 3606506 w 10693106"/>
              <a:gd name="connsiteY31-12160" fmla="*/ 89725 h 5321354"/>
              <a:gd name="connsiteX32-12161" fmla="*/ 3682706 w 10693106"/>
              <a:gd name="connsiteY32-12162" fmla="*/ 109274 h 5321354"/>
              <a:gd name="connsiteX33-12163" fmla="*/ 3741973 w 10693106"/>
              <a:gd name="connsiteY33-12164" fmla="*/ 115893 h 5321354"/>
              <a:gd name="connsiteX34-12165" fmla="*/ 3792773 w 10693106"/>
              <a:gd name="connsiteY34-12166" fmla="*/ 151608 h 5321354"/>
              <a:gd name="connsiteX35-12167" fmla="*/ 3831720 w 10693106"/>
              <a:gd name="connsiteY35-12168" fmla="*/ 166848 h 5321354"/>
              <a:gd name="connsiteX36-12169" fmla="*/ 3896297 w 10693106"/>
              <a:gd name="connsiteY36-12170" fmla="*/ 186321 h 5321354"/>
              <a:gd name="connsiteX37-12171" fmla="*/ 3933108 w 10693106"/>
              <a:gd name="connsiteY37-12172" fmla="*/ 158169 h 5321354"/>
              <a:gd name="connsiteX38-12173" fmla="*/ 3995973 w 10693106"/>
              <a:gd name="connsiteY38-12174" fmla="*/ 139754 h 5321354"/>
              <a:gd name="connsiteX39-12175" fmla="*/ 4021373 w 10693106"/>
              <a:gd name="connsiteY39-12176" fmla="*/ 173621 h 5321354"/>
              <a:gd name="connsiteX40-12177" fmla="*/ 4055240 w 10693106"/>
              <a:gd name="connsiteY40-12178" fmla="*/ 182088 h 5321354"/>
              <a:gd name="connsiteX41-12179" fmla="*/ 4275373 w 10693106"/>
              <a:gd name="connsiteY41-12180" fmla="*/ 224421 h 5321354"/>
              <a:gd name="connsiteX42-12181" fmla="*/ 4402373 w 10693106"/>
              <a:gd name="connsiteY42-12182" fmla="*/ 258288 h 5321354"/>
              <a:gd name="connsiteX43-12183" fmla="*/ 4529373 w 10693106"/>
              <a:gd name="connsiteY43-12184" fmla="*/ 300621 h 5321354"/>
              <a:gd name="connsiteX44-12185" fmla="*/ 4859573 w 10693106"/>
              <a:gd name="connsiteY44-12186" fmla="*/ 376821 h 5321354"/>
              <a:gd name="connsiteX45-12187" fmla="*/ 5045840 w 10693106"/>
              <a:gd name="connsiteY45-12188" fmla="*/ 453021 h 5321354"/>
              <a:gd name="connsiteX46-12189" fmla="*/ 5325240 w 10693106"/>
              <a:gd name="connsiteY46-12190" fmla="*/ 613888 h 5321354"/>
              <a:gd name="connsiteX47-12191" fmla="*/ 5494573 w 10693106"/>
              <a:gd name="connsiteY47-12192" fmla="*/ 766288 h 5321354"/>
              <a:gd name="connsiteX48-12193" fmla="*/ 5562306 w 10693106"/>
              <a:gd name="connsiteY48-12194" fmla="*/ 842488 h 5321354"/>
              <a:gd name="connsiteX49-12195" fmla="*/ 5621573 w 10693106"/>
              <a:gd name="connsiteY49-12196" fmla="*/ 893288 h 5321354"/>
              <a:gd name="connsiteX50-12197" fmla="*/ 5672373 w 10693106"/>
              <a:gd name="connsiteY50-12198" fmla="*/ 961021 h 5321354"/>
              <a:gd name="connsiteX51-12199" fmla="*/ 5757040 w 10693106"/>
              <a:gd name="connsiteY51-12200" fmla="*/ 1062621 h 5321354"/>
              <a:gd name="connsiteX52-12201" fmla="*/ 5833240 w 10693106"/>
              <a:gd name="connsiteY52-12202" fmla="*/ 1155754 h 5321354"/>
              <a:gd name="connsiteX53-12203" fmla="*/ 6019506 w 10693106"/>
              <a:gd name="connsiteY53-12204" fmla="*/ 1358954 h 5321354"/>
              <a:gd name="connsiteX54-12205" fmla="*/ 6087240 w 10693106"/>
              <a:gd name="connsiteY54-12206" fmla="*/ 1409754 h 5321354"/>
              <a:gd name="connsiteX55-12207" fmla="*/ 6171906 w 10693106"/>
              <a:gd name="connsiteY55-12208" fmla="*/ 1511354 h 5321354"/>
              <a:gd name="connsiteX56-12209" fmla="*/ 6451306 w 10693106"/>
              <a:gd name="connsiteY56-12210" fmla="*/ 1723021 h 5321354"/>
              <a:gd name="connsiteX57-12211" fmla="*/ 6519040 w 10693106"/>
              <a:gd name="connsiteY57-12212" fmla="*/ 1731488 h 5321354"/>
              <a:gd name="connsiteX58-12213" fmla="*/ 6603706 w 10693106"/>
              <a:gd name="connsiteY58-12214" fmla="*/ 1765354 h 5321354"/>
              <a:gd name="connsiteX59-12215" fmla="*/ 6671440 w 10693106"/>
              <a:gd name="connsiteY59-12216" fmla="*/ 1799221 h 5321354"/>
              <a:gd name="connsiteX60-12217" fmla="*/ 6866173 w 10693106"/>
              <a:gd name="connsiteY60-12218" fmla="*/ 1824621 h 5321354"/>
              <a:gd name="connsiteX61-12219" fmla="*/ 7196373 w 10693106"/>
              <a:gd name="connsiteY61-12220" fmla="*/ 1807688 h 5321354"/>
              <a:gd name="connsiteX62-12221" fmla="*/ 7509640 w 10693106"/>
              <a:gd name="connsiteY62-12222" fmla="*/ 1731488 h 5321354"/>
              <a:gd name="connsiteX63-12223" fmla="*/ 7628173 w 10693106"/>
              <a:gd name="connsiteY63-12224" fmla="*/ 1706088 h 5321354"/>
              <a:gd name="connsiteX64-12225" fmla="*/ 7704373 w 10693106"/>
              <a:gd name="connsiteY64-12226" fmla="*/ 1663754 h 5321354"/>
              <a:gd name="connsiteX65-12227" fmla="*/ 7755173 w 10693106"/>
              <a:gd name="connsiteY65-12228" fmla="*/ 1655288 h 5321354"/>
              <a:gd name="connsiteX66-12229" fmla="*/ 7797506 w 10693106"/>
              <a:gd name="connsiteY66-12230" fmla="*/ 1621421 h 5321354"/>
              <a:gd name="connsiteX67-12231" fmla="*/ 7856773 w 10693106"/>
              <a:gd name="connsiteY67-12232" fmla="*/ 1604488 h 5321354"/>
              <a:gd name="connsiteX68-12233" fmla="*/ 7958373 w 10693106"/>
              <a:gd name="connsiteY68-12234" fmla="*/ 1536754 h 5321354"/>
              <a:gd name="connsiteX69-12235" fmla="*/ 8009173 w 10693106"/>
              <a:gd name="connsiteY69-12236" fmla="*/ 1485954 h 5321354"/>
              <a:gd name="connsiteX70-12237" fmla="*/ 8339373 w 10693106"/>
              <a:gd name="connsiteY70-12238" fmla="*/ 1240421 h 5321354"/>
              <a:gd name="connsiteX71-12239" fmla="*/ 8576440 w 10693106"/>
              <a:gd name="connsiteY71-12240" fmla="*/ 986421 h 5321354"/>
              <a:gd name="connsiteX72-12241" fmla="*/ 8652640 w 10693106"/>
              <a:gd name="connsiteY72-12242" fmla="*/ 707021 h 5321354"/>
              <a:gd name="connsiteX73-12243" fmla="*/ 8847373 w 10693106"/>
              <a:gd name="connsiteY73-12244" fmla="*/ 520754 h 5321354"/>
              <a:gd name="connsiteX74-12245" fmla="*/ 8982840 w 10693106"/>
              <a:gd name="connsiteY74-12246" fmla="*/ 427621 h 5321354"/>
              <a:gd name="connsiteX75-12247" fmla="*/ 9084440 w 10693106"/>
              <a:gd name="connsiteY75-12248" fmla="*/ 393754 h 5321354"/>
              <a:gd name="connsiteX76-12249" fmla="*/ 9152173 w 10693106"/>
              <a:gd name="connsiteY76-12250" fmla="*/ 368354 h 5321354"/>
              <a:gd name="connsiteX77-12251" fmla="*/ 9380773 w 10693106"/>
              <a:gd name="connsiteY77-12252" fmla="*/ 385288 h 5321354"/>
              <a:gd name="connsiteX78-12253" fmla="*/ 9744840 w 10693106"/>
              <a:gd name="connsiteY78-12254" fmla="*/ 495354 h 5321354"/>
              <a:gd name="connsiteX79-12255" fmla="*/ 9888773 w 10693106"/>
              <a:gd name="connsiteY79-12256" fmla="*/ 537688 h 5321354"/>
              <a:gd name="connsiteX80-12257" fmla="*/ 9998840 w 10693106"/>
              <a:gd name="connsiteY80-12258" fmla="*/ 588488 h 5321354"/>
              <a:gd name="connsiteX81-12259" fmla="*/ 10083506 w 10693106"/>
              <a:gd name="connsiteY81-12260" fmla="*/ 647754 h 5321354"/>
              <a:gd name="connsiteX82-12261" fmla="*/ 10286706 w 10693106"/>
              <a:gd name="connsiteY82-12262" fmla="*/ 715488 h 5321354"/>
              <a:gd name="connsiteX83-12263" fmla="*/ 10388306 w 10693106"/>
              <a:gd name="connsiteY83-12264" fmla="*/ 918688 h 5321354"/>
              <a:gd name="connsiteX84-12265" fmla="*/ 10540706 w 10693106"/>
              <a:gd name="connsiteY84-12266" fmla="*/ 1291221 h 5321354"/>
              <a:gd name="connsiteX85-12267" fmla="*/ 10557640 w 10693106"/>
              <a:gd name="connsiteY85-12268" fmla="*/ 1375888 h 5321354"/>
              <a:gd name="connsiteX86-12269" fmla="*/ 10583040 w 10693106"/>
              <a:gd name="connsiteY86-12270" fmla="*/ 1477488 h 5321354"/>
              <a:gd name="connsiteX87-12271" fmla="*/ 10616906 w 10693106"/>
              <a:gd name="connsiteY87-12272" fmla="*/ 1680688 h 5321354"/>
              <a:gd name="connsiteX88-12273" fmla="*/ 10633840 w 10693106"/>
              <a:gd name="connsiteY88-12274" fmla="*/ 1765354 h 5321354"/>
              <a:gd name="connsiteX89-12275" fmla="*/ 10650773 w 10693106"/>
              <a:gd name="connsiteY89-12276" fmla="*/ 1799221 h 5321354"/>
              <a:gd name="connsiteX90-12277" fmla="*/ 10676173 w 10693106"/>
              <a:gd name="connsiteY90-12278" fmla="*/ 1883888 h 5321354"/>
              <a:gd name="connsiteX91-12279" fmla="*/ 10693106 w 10693106"/>
              <a:gd name="connsiteY91-12280" fmla="*/ 2036288 h 5321354"/>
              <a:gd name="connsiteX92-12281" fmla="*/ 10625373 w 10693106"/>
              <a:gd name="connsiteY92-12282" fmla="*/ 2256421 h 5321354"/>
              <a:gd name="connsiteX93-12283" fmla="*/ 10608440 w 10693106"/>
              <a:gd name="connsiteY93-12284" fmla="*/ 2281821 h 5321354"/>
              <a:gd name="connsiteX94-12285" fmla="*/ 10540706 w 10693106"/>
              <a:gd name="connsiteY94-12286" fmla="*/ 2425754 h 5321354"/>
              <a:gd name="connsiteX95-12287" fmla="*/ 10498373 w 10693106"/>
              <a:gd name="connsiteY95-12288" fmla="*/ 2510421 h 5321354"/>
              <a:gd name="connsiteX96-12289" fmla="*/ 10439106 w 10693106"/>
              <a:gd name="connsiteY96-12290" fmla="*/ 2696688 h 5321354"/>
              <a:gd name="connsiteX97-12291" fmla="*/ 10430640 w 10693106"/>
              <a:gd name="connsiteY97-12292" fmla="*/ 2739021 h 5321354"/>
              <a:gd name="connsiteX98-12293" fmla="*/ 10405240 w 10693106"/>
              <a:gd name="connsiteY98-12294" fmla="*/ 2815221 h 5321354"/>
              <a:gd name="connsiteX99-12295" fmla="*/ 10396773 w 10693106"/>
              <a:gd name="connsiteY99-12296" fmla="*/ 2849088 h 5321354"/>
              <a:gd name="connsiteX100-12297" fmla="*/ 10362906 w 10693106"/>
              <a:gd name="connsiteY100-12298" fmla="*/ 2942221 h 5321354"/>
              <a:gd name="connsiteX101-12299" fmla="*/ 10329040 w 10693106"/>
              <a:gd name="connsiteY101-12300" fmla="*/ 2984554 h 5321354"/>
              <a:gd name="connsiteX102-12301" fmla="*/ 10227440 w 10693106"/>
              <a:gd name="connsiteY102-12302" fmla="*/ 3086154 h 5321354"/>
              <a:gd name="connsiteX103-12303" fmla="*/ 10168173 w 10693106"/>
              <a:gd name="connsiteY103-12304" fmla="*/ 3153888 h 5321354"/>
              <a:gd name="connsiteX104-12305" fmla="*/ 10117373 w 10693106"/>
              <a:gd name="connsiteY104-12306" fmla="*/ 3204688 h 5321354"/>
              <a:gd name="connsiteX105-12307" fmla="*/ 10032706 w 10693106"/>
              <a:gd name="connsiteY105-12308" fmla="*/ 3306288 h 5321354"/>
              <a:gd name="connsiteX106-12309" fmla="*/ 9948040 w 10693106"/>
              <a:gd name="connsiteY106-12310" fmla="*/ 3365554 h 5321354"/>
              <a:gd name="connsiteX107-12311" fmla="*/ 9905706 w 10693106"/>
              <a:gd name="connsiteY107-12312" fmla="*/ 3390954 h 5321354"/>
              <a:gd name="connsiteX108-12313" fmla="*/ 9829506 w 10693106"/>
              <a:gd name="connsiteY108-12314" fmla="*/ 3407888 h 5321354"/>
              <a:gd name="connsiteX109-12315" fmla="*/ 9727906 w 10693106"/>
              <a:gd name="connsiteY109-12316" fmla="*/ 3450221 h 5321354"/>
              <a:gd name="connsiteX110-12317" fmla="*/ 9634773 w 10693106"/>
              <a:gd name="connsiteY110-12318" fmla="*/ 3475621 h 5321354"/>
              <a:gd name="connsiteX111-12319" fmla="*/ 9456973 w 10693106"/>
              <a:gd name="connsiteY111-12320" fmla="*/ 3568754 h 5321354"/>
              <a:gd name="connsiteX112-12321" fmla="*/ 9313040 w 10693106"/>
              <a:gd name="connsiteY112-12322" fmla="*/ 3695754 h 5321354"/>
              <a:gd name="connsiteX113-12323" fmla="*/ 9279173 w 10693106"/>
              <a:gd name="connsiteY113-12324" fmla="*/ 3712688 h 5321354"/>
              <a:gd name="connsiteX114-12325" fmla="*/ 9067506 w 10693106"/>
              <a:gd name="connsiteY114-12326" fmla="*/ 3890488 h 5321354"/>
              <a:gd name="connsiteX115-12327" fmla="*/ 8999773 w 10693106"/>
              <a:gd name="connsiteY115-12328" fmla="*/ 3958221 h 5321354"/>
              <a:gd name="connsiteX116-12329" fmla="*/ 8813506 w 10693106"/>
              <a:gd name="connsiteY116-12330" fmla="*/ 4093688 h 5321354"/>
              <a:gd name="connsiteX117-12331" fmla="*/ 8728840 w 10693106"/>
              <a:gd name="connsiteY117-12332" fmla="*/ 4136021 h 5321354"/>
              <a:gd name="connsiteX118-12333" fmla="*/ 8373240 w 10693106"/>
              <a:gd name="connsiteY118-12334" fmla="*/ 4169888 h 5321354"/>
              <a:gd name="connsiteX119-12335" fmla="*/ 7966840 w 10693106"/>
              <a:gd name="connsiteY119-12336" fmla="*/ 4263021 h 5321354"/>
              <a:gd name="connsiteX120-12337" fmla="*/ 7687440 w 10693106"/>
              <a:gd name="connsiteY120-12338" fmla="*/ 4423888 h 5321354"/>
              <a:gd name="connsiteX121-12339" fmla="*/ 7551973 w 10693106"/>
              <a:gd name="connsiteY121-12340" fmla="*/ 4508554 h 5321354"/>
              <a:gd name="connsiteX122-12341" fmla="*/ 7374173 w 10693106"/>
              <a:gd name="connsiteY122-12342" fmla="*/ 4686354 h 5321354"/>
              <a:gd name="connsiteX123-12343" fmla="*/ 7374173 w 10693106"/>
              <a:gd name="connsiteY123-12344" fmla="*/ 4686354 h 5321354"/>
              <a:gd name="connsiteX124-12345" fmla="*/ 7221773 w 10693106"/>
              <a:gd name="connsiteY124-12346" fmla="*/ 4804888 h 5321354"/>
              <a:gd name="connsiteX125-12347" fmla="*/ 7027040 w 10693106"/>
              <a:gd name="connsiteY125-12348" fmla="*/ 4931888 h 5321354"/>
              <a:gd name="connsiteX126-12349" fmla="*/ 6883106 w 10693106"/>
              <a:gd name="connsiteY126-12350" fmla="*/ 4999621 h 5321354"/>
              <a:gd name="connsiteX127-12351" fmla="*/ 6815373 w 10693106"/>
              <a:gd name="connsiteY127-12352" fmla="*/ 5041954 h 5321354"/>
              <a:gd name="connsiteX128-12353" fmla="*/ 6646040 w 10693106"/>
              <a:gd name="connsiteY128-12354" fmla="*/ 5135088 h 5321354"/>
              <a:gd name="connsiteX129-12355" fmla="*/ 6527506 w 10693106"/>
              <a:gd name="connsiteY129-12356" fmla="*/ 5194354 h 5321354"/>
              <a:gd name="connsiteX130-12357" fmla="*/ 6298906 w 10693106"/>
              <a:gd name="connsiteY130-12358" fmla="*/ 5270554 h 5321354"/>
              <a:gd name="connsiteX131-12359" fmla="*/ 6197306 w 10693106"/>
              <a:gd name="connsiteY131-12360" fmla="*/ 5295954 h 5321354"/>
              <a:gd name="connsiteX132-12361" fmla="*/ 6061840 w 10693106"/>
              <a:gd name="connsiteY132-12362" fmla="*/ 5304421 h 5321354"/>
              <a:gd name="connsiteX133-12363" fmla="*/ 5917906 w 10693106"/>
              <a:gd name="connsiteY133-12364" fmla="*/ 5321354 h 5321354"/>
              <a:gd name="connsiteX134-12365" fmla="*/ 5748573 w 10693106"/>
              <a:gd name="connsiteY134-12366" fmla="*/ 5312888 h 5321354"/>
              <a:gd name="connsiteX135-12367" fmla="*/ 5282906 w 10693106"/>
              <a:gd name="connsiteY135-12368" fmla="*/ 5202821 h 5321354"/>
              <a:gd name="connsiteX136-12369" fmla="*/ 5138973 w 10693106"/>
              <a:gd name="connsiteY136-12370" fmla="*/ 5101221 h 5321354"/>
              <a:gd name="connsiteX137-12371" fmla="*/ 4959480 w 10693106"/>
              <a:gd name="connsiteY137-12372" fmla="*/ 5017401 h 5321354"/>
              <a:gd name="connsiteX138-12373" fmla="*/ 4842216 w 10693106"/>
              <a:gd name="connsiteY138-12374" fmla="*/ 4983111 h 5321354"/>
              <a:gd name="connsiteX139-12375" fmla="*/ 4797343 w 10693106"/>
              <a:gd name="connsiteY139-12376" fmla="*/ 4907758 h 5321354"/>
              <a:gd name="connsiteX140-12377" fmla="*/ 4686853 w 10693106"/>
              <a:gd name="connsiteY140-12378" fmla="*/ 4817588 h 5321354"/>
              <a:gd name="connsiteX141-12379" fmla="*/ 4536146 w 10693106"/>
              <a:gd name="connsiteY141-12380" fmla="*/ 4742234 h 5321354"/>
              <a:gd name="connsiteX142-12381" fmla="*/ 4365120 w 10693106"/>
              <a:gd name="connsiteY142-12382" fmla="*/ 4645714 h 5321354"/>
              <a:gd name="connsiteX143-12383" fmla="*/ 4187743 w 10693106"/>
              <a:gd name="connsiteY143-12384" fmla="*/ 4550888 h 5321354"/>
              <a:gd name="connsiteX144-12385" fmla="*/ 4038306 w 10693106"/>
              <a:gd name="connsiteY144-12386" fmla="*/ 4395101 h 5321354"/>
              <a:gd name="connsiteX145-12387" fmla="*/ 3893103 w 10693106"/>
              <a:gd name="connsiteY145-12388" fmla="*/ 4284611 h 5321354"/>
              <a:gd name="connsiteX146-12389" fmla="*/ 3882520 w 10693106"/>
              <a:gd name="connsiteY146-12390" fmla="*/ 4210104 h 5321354"/>
              <a:gd name="connsiteX147-12391" fmla="*/ 3895643 w 10693106"/>
              <a:gd name="connsiteY147-12392" fmla="*/ 4089031 h 5321354"/>
              <a:gd name="connsiteX148-12393" fmla="*/ 3919773 w 10693106"/>
              <a:gd name="connsiteY148-12394" fmla="*/ 3949754 h 5321354"/>
              <a:gd name="connsiteX149-12395" fmla="*/ 3877440 w 10693106"/>
              <a:gd name="connsiteY149-12396" fmla="*/ 3653421 h 5321354"/>
              <a:gd name="connsiteX150-12397" fmla="*/ 3852040 w 10693106"/>
              <a:gd name="connsiteY150-12398" fmla="*/ 3560288 h 5321354"/>
              <a:gd name="connsiteX151-12399" fmla="*/ 3801240 w 10693106"/>
              <a:gd name="connsiteY151-12400" fmla="*/ 3450221 h 5321354"/>
              <a:gd name="connsiteX152-12401" fmla="*/ 3733506 w 10693106"/>
              <a:gd name="connsiteY152-12402" fmla="*/ 3348621 h 5321354"/>
              <a:gd name="connsiteX153-12403" fmla="*/ 3242440 w 10693106"/>
              <a:gd name="connsiteY153-12404" fmla="*/ 3128488 h 5321354"/>
              <a:gd name="connsiteX154-12405" fmla="*/ 3123906 w 10693106"/>
              <a:gd name="connsiteY154-12406" fmla="*/ 3026888 h 5321354"/>
              <a:gd name="connsiteX155-12407" fmla="*/ 2988440 w 10693106"/>
              <a:gd name="connsiteY155-12408" fmla="*/ 2832154 h 5321354"/>
              <a:gd name="connsiteX156-12409" fmla="*/ 2971506 w 10693106"/>
              <a:gd name="connsiteY156-12410" fmla="*/ 2772888 h 5321354"/>
              <a:gd name="connsiteX157-12411" fmla="*/ 2996906 w 10693106"/>
              <a:gd name="connsiteY157-12412" fmla="*/ 2561221 h 5321354"/>
              <a:gd name="connsiteX158-12413" fmla="*/ 3013840 w 10693106"/>
              <a:gd name="connsiteY158-12414" fmla="*/ 2459621 h 5321354"/>
              <a:gd name="connsiteX159-12415" fmla="*/ 3005373 w 10693106"/>
              <a:gd name="connsiteY159-12416" fmla="*/ 2341088 h 5321354"/>
              <a:gd name="connsiteX160-12417" fmla="*/ 2988440 w 10693106"/>
              <a:gd name="connsiteY160-12418" fmla="*/ 2290288 h 5321354"/>
              <a:gd name="connsiteX161-12419" fmla="*/ 2802173 w 10693106"/>
              <a:gd name="connsiteY161-12420" fmla="*/ 2036288 h 5321354"/>
              <a:gd name="connsiteX162-12421" fmla="*/ 2641306 w 10693106"/>
              <a:gd name="connsiteY162-12422" fmla="*/ 1892354 h 5321354"/>
              <a:gd name="connsiteX163-12423" fmla="*/ 2590506 w 10693106"/>
              <a:gd name="connsiteY163-12424" fmla="*/ 1866954 h 5321354"/>
              <a:gd name="connsiteX164-12425" fmla="*/ 2531240 w 10693106"/>
              <a:gd name="connsiteY164-12426" fmla="*/ 1858488 h 5321354"/>
              <a:gd name="connsiteX165-12427" fmla="*/ 2446573 w 10693106"/>
              <a:gd name="connsiteY165-12428" fmla="*/ 1841554 h 5321354"/>
              <a:gd name="connsiteX166-12429" fmla="*/ 2251840 w 10693106"/>
              <a:gd name="connsiteY166-12430" fmla="*/ 1866954 h 5321354"/>
              <a:gd name="connsiteX167-12431" fmla="*/ 2167173 w 10693106"/>
              <a:gd name="connsiteY167-12432" fmla="*/ 1909288 h 5321354"/>
              <a:gd name="connsiteX168-12433" fmla="*/ 1980906 w 10693106"/>
              <a:gd name="connsiteY168-12434" fmla="*/ 1968554 h 5321354"/>
              <a:gd name="connsiteX169-12435" fmla="*/ 1904706 w 10693106"/>
              <a:gd name="connsiteY169-12436" fmla="*/ 2002421 h 5321354"/>
              <a:gd name="connsiteX170-12437" fmla="*/ 1828506 w 10693106"/>
              <a:gd name="connsiteY170-12438" fmla="*/ 2019354 h 5321354"/>
              <a:gd name="connsiteX171-12439" fmla="*/ 1726906 w 10693106"/>
              <a:gd name="connsiteY171-12440" fmla="*/ 2070154 h 5321354"/>
              <a:gd name="connsiteX172-12441" fmla="*/ 1659173 w 10693106"/>
              <a:gd name="connsiteY172-12442" fmla="*/ 2104021 h 5321354"/>
              <a:gd name="connsiteX173-12443" fmla="*/ 1498306 w 10693106"/>
              <a:gd name="connsiteY173-12444" fmla="*/ 2129421 h 5321354"/>
              <a:gd name="connsiteX174-12445" fmla="*/ 914106 w 10693106"/>
              <a:gd name="connsiteY174-12446" fmla="*/ 2061688 h 5321354"/>
              <a:gd name="connsiteX175-12447" fmla="*/ 617773 w 10693106"/>
              <a:gd name="connsiteY175-12448" fmla="*/ 1951621 h 5321354"/>
              <a:gd name="connsiteX176-12449" fmla="*/ 516173 w 10693106"/>
              <a:gd name="connsiteY176-12450" fmla="*/ 1866954 h 5321354"/>
              <a:gd name="connsiteX177-12451" fmla="*/ 355306 w 10693106"/>
              <a:gd name="connsiteY177-12452" fmla="*/ 1655288 h 5321354"/>
              <a:gd name="connsiteX178-12453" fmla="*/ 296040 w 10693106"/>
              <a:gd name="connsiteY178-12454" fmla="*/ 1553688 h 5321354"/>
              <a:gd name="connsiteX179-12455" fmla="*/ 253706 w 10693106"/>
              <a:gd name="connsiteY179-12456" fmla="*/ 1375888 h 5321354"/>
              <a:gd name="connsiteX180-12457" fmla="*/ 245240 w 10693106"/>
              <a:gd name="connsiteY180-12458" fmla="*/ 1248888 h 5321354"/>
              <a:gd name="connsiteX181-12459" fmla="*/ 236773 w 10693106"/>
              <a:gd name="connsiteY181-12460" fmla="*/ 1147288 h 5321354"/>
              <a:gd name="connsiteX182-12461" fmla="*/ 245240 w 10693106"/>
              <a:gd name="connsiteY182-12462" fmla="*/ 876354 h 5321354"/>
              <a:gd name="connsiteX183-12463" fmla="*/ 236773 w 10693106"/>
              <a:gd name="connsiteY183-12464" fmla="*/ 732421 h 5321354"/>
              <a:gd name="connsiteX184-12465" fmla="*/ 109773 w 10693106"/>
              <a:gd name="connsiteY184-12466" fmla="*/ 588488 h 5321354"/>
              <a:gd name="connsiteX185-12467" fmla="*/ 58973 w 10693106"/>
              <a:gd name="connsiteY185-12468" fmla="*/ 512288 h 5321354"/>
              <a:gd name="connsiteX186-12469" fmla="*/ 16640 w 10693106"/>
              <a:gd name="connsiteY186-12470" fmla="*/ 461488 h 5321354"/>
              <a:gd name="connsiteX187-12471" fmla="*/ 8173 w 10693106"/>
              <a:gd name="connsiteY187-12472" fmla="*/ 419154 h 5321354"/>
              <a:gd name="connsiteX188-12473" fmla="*/ 16640 w 10693106"/>
              <a:gd name="connsiteY188-12474" fmla="*/ 368354 h 5321354"/>
              <a:gd name="connsiteX0-12475" fmla="*/ 16640 w 10693106"/>
              <a:gd name="connsiteY0-12476" fmla="*/ 368354 h 5321354"/>
              <a:gd name="connsiteX1-12477" fmla="*/ 58973 w 10693106"/>
              <a:gd name="connsiteY1-12478" fmla="*/ 275221 h 5321354"/>
              <a:gd name="connsiteX2-12479" fmla="*/ 109773 w 10693106"/>
              <a:gd name="connsiteY2-12480" fmla="*/ 207488 h 5321354"/>
              <a:gd name="connsiteX3-12481" fmla="*/ 202906 w 10693106"/>
              <a:gd name="connsiteY3-12482" fmla="*/ 122821 h 5321354"/>
              <a:gd name="connsiteX4-12483" fmla="*/ 236773 w 10693106"/>
              <a:gd name="connsiteY4-12484" fmla="*/ 97421 h 5321354"/>
              <a:gd name="connsiteX5-12485" fmla="*/ 346840 w 10693106"/>
              <a:gd name="connsiteY5-12486" fmla="*/ 38154 h 5321354"/>
              <a:gd name="connsiteX6-12487" fmla="*/ 397640 w 10693106"/>
              <a:gd name="connsiteY6-12488" fmla="*/ 4288 h 5321354"/>
              <a:gd name="connsiteX7-12489" fmla="*/ 467297 w 10693106"/>
              <a:gd name="connsiteY7-12490" fmla="*/ 143218 h 5321354"/>
              <a:gd name="connsiteX8-12491" fmla="*/ 492697 w 10693106"/>
              <a:gd name="connsiteY8-12492" fmla="*/ 103579 h 5321354"/>
              <a:gd name="connsiteX9-12493" fmla="*/ 822897 w 10693106"/>
              <a:gd name="connsiteY9-12494" fmla="*/ 112045 h 5321354"/>
              <a:gd name="connsiteX10-12495" fmla="*/ 1091906 w 10693106"/>
              <a:gd name="connsiteY10-12496" fmla="*/ 29688 h 5321354"/>
              <a:gd name="connsiteX11-12497" fmla="*/ 1235840 w 10693106"/>
              <a:gd name="connsiteY11-12498" fmla="*/ 88954 h 5321354"/>
              <a:gd name="connsiteX12-12499" fmla="*/ 1337440 w 10693106"/>
              <a:gd name="connsiteY12-12500" fmla="*/ 165154 h 5321354"/>
              <a:gd name="connsiteX13-12501" fmla="*/ 1422106 w 10693106"/>
              <a:gd name="connsiteY13-12502" fmla="*/ 275221 h 5321354"/>
              <a:gd name="connsiteX14-12503" fmla="*/ 1481373 w 10693106"/>
              <a:gd name="connsiteY14-12504" fmla="*/ 342954 h 5321354"/>
              <a:gd name="connsiteX15-12505" fmla="*/ 1532173 w 10693106"/>
              <a:gd name="connsiteY15-12506" fmla="*/ 376821 h 5321354"/>
              <a:gd name="connsiteX16-12507" fmla="*/ 1684573 w 10693106"/>
              <a:gd name="connsiteY16-12508" fmla="*/ 436088 h 5321354"/>
              <a:gd name="connsiteX17-12509" fmla="*/ 1760773 w 10693106"/>
              <a:gd name="connsiteY17-12510" fmla="*/ 453021 h 5321354"/>
              <a:gd name="connsiteX18-12511" fmla="*/ 1997840 w 10693106"/>
              <a:gd name="connsiteY18-12512" fmla="*/ 444554 h 5321354"/>
              <a:gd name="connsiteX19-12513" fmla="*/ 2116373 w 10693106"/>
              <a:gd name="connsiteY19-12514" fmla="*/ 427621 h 5321354"/>
              <a:gd name="connsiteX20-12515" fmla="*/ 2260306 w 10693106"/>
              <a:gd name="connsiteY20-12516" fmla="*/ 410688 h 5321354"/>
              <a:gd name="connsiteX21-12517" fmla="*/ 2404240 w 10693106"/>
              <a:gd name="connsiteY21-12518" fmla="*/ 385288 h 5321354"/>
              <a:gd name="connsiteX22-12519" fmla="*/ 2455040 w 10693106"/>
              <a:gd name="connsiteY22-12520" fmla="*/ 359888 h 5321354"/>
              <a:gd name="connsiteX23-12521" fmla="*/ 2531240 w 10693106"/>
              <a:gd name="connsiteY23-12522" fmla="*/ 334488 h 5321354"/>
              <a:gd name="connsiteX24-12523" fmla="*/ 2683640 w 10693106"/>
              <a:gd name="connsiteY24-12524" fmla="*/ 207488 h 5321354"/>
              <a:gd name="connsiteX25-12525" fmla="*/ 2742906 w 10693106"/>
              <a:gd name="connsiteY25-12526" fmla="*/ 215954 h 5321354"/>
              <a:gd name="connsiteX26-12527" fmla="*/ 2764920 w 10693106"/>
              <a:gd name="connsiteY26-12528" fmla="*/ 202408 h 5321354"/>
              <a:gd name="connsiteX27-12529" fmla="*/ 2832653 w 10693106"/>
              <a:gd name="connsiteY27-12530" fmla="*/ 197328 h 5321354"/>
              <a:gd name="connsiteX28-12531" fmla="*/ 3002294 w 10693106"/>
              <a:gd name="connsiteY28-12532" fmla="*/ 184012 h 5321354"/>
              <a:gd name="connsiteX29-12533" fmla="*/ 3142763 w 10693106"/>
              <a:gd name="connsiteY29-12534" fmla="*/ 139753 h 5321354"/>
              <a:gd name="connsiteX30-12535" fmla="*/ 3398918 w 10693106"/>
              <a:gd name="connsiteY30-12536" fmla="*/ 101654 h 5321354"/>
              <a:gd name="connsiteX31-12537" fmla="*/ 3606506 w 10693106"/>
              <a:gd name="connsiteY31-12538" fmla="*/ 89725 h 5321354"/>
              <a:gd name="connsiteX32-12539" fmla="*/ 3682706 w 10693106"/>
              <a:gd name="connsiteY32-12540" fmla="*/ 109274 h 5321354"/>
              <a:gd name="connsiteX33-12541" fmla="*/ 3741973 w 10693106"/>
              <a:gd name="connsiteY33-12542" fmla="*/ 115893 h 5321354"/>
              <a:gd name="connsiteX34-12543" fmla="*/ 3792773 w 10693106"/>
              <a:gd name="connsiteY34-12544" fmla="*/ 151608 h 5321354"/>
              <a:gd name="connsiteX35-12545" fmla="*/ 3831720 w 10693106"/>
              <a:gd name="connsiteY35-12546" fmla="*/ 166848 h 5321354"/>
              <a:gd name="connsiteX36-12547" fmla="*/ 3892487 w 10693106"/>
              <a:gd name="connsiteY36-12548" fmla="*/ 146316 h 5321354"/>
              <a:gd name="connsiteX37-12549" fmla="*/ 3933108 w 10693106"/>
              <a:gd name="connsiteY37-12550" fmla="*/ 158169 h 5321354"/>
              <a:gd name="connsiteX38-12551" fmla="*/ 3995973 w 10693106"/>
              <a:gd name="connsiteY38-12552" fmla="*/ 139754 h 5321354"/>
              <a:gd name="connsiteX39-12553" fmla="*/ 4021373 w 10693106"/>
              <a:gd name="connsiteY39-12554" fmla="*/ 173621 h 5321354"/>
              <a:gd name="connsiteX40-12555" fmla="*/ 4055240 w 10693106"/>
              <a:gd name="connsiteY40-12556" fmla="*/ 182088 h 5321354"/>
              <a:gd name="connsiteX41-12557" fmla="*/ 4275373 w 10693106"/>
              <a:gd name="connsiteY41-12558" fmla="*/ 224421 h 5321354"/>
              <a:gd name="connsiteX42-12559" fmla="*/ 4402373 w 10693106"/>
              <a:gd name="connsiteY42-12560" fmla="*/ 258288 h 5321354"/>
              <a:gd name="connsiteX43-12561" fmla="*/ 4529373 w 10693106"/>
              <a:gd name="connsiteY43-12562" fmla="*/ 300621 h 5321354"/>
              <a:gd name="connsiteX44-12563" fmla="*/ 4859573 w 10693106"/>
              <a:gd name="connsiteY44-12564" fmla="*/ 376821 h 5321354"/>
              <a:gd name="connsiteX45-12565" fmla="*/ 5045840 w 10693106"/>
              <a:gd name="connsiteY45-12566" fmla="*/ 453021 h 5321354"/>
              <a:gd name="connsiteX46-12567" fmla="*/ 5325240 w 10693106"/>
              <a:gd name="connsiteY46-12568" fmla="*/ 613888 h 5321354"/>
              <a:gd name="connsiteX47-12569" fmla="*/ 5494573 w 10693106"/>
              <a:gd name="connsiteY47-12570" fmla="*/ 766288 h 5321354"/>
              <a:gd name="connsiteX48-12571" fmla="*/ 5562306 w 10693106"/>
              <a:gd name="connsiteY48-12572" fmla="*/ 842488 h 5321354"/>
              <a:gd name="connsiteX49-12573" fmla="*/ 5621573 w 10693106"/>
              <a:gd name="connsiteY49-12574" fmla="*/ 893288 h 5321354"/>
              <a:gd name="connsiteX50-12575" fmla="*/ 5672373 w 10693106"/>
              <a:gd name="connsiteY50-12576" fmla="*/ 961021 h 5321354"/>
              <a:gd name="connsiteX51-12577" fmla="*/ 5757040 w 10693106"/>
              <a:gd name="connsiteY51-12578" fmla="*/ 1062621 h 5321354"/>
              <a:gd name="connsiteX52-12579" fmla="*/ 5833240 w 10693106"/>
              <a:gd name="connsiteY52-12580" fmla="*/ 1155754 h 5321354"/>
              <a:gd name="connsiteX53-12581" fmla="*/ 6019506 w 10693106"/>
              <a:gd name="connsiteY53-12582" fmla="*/ 1358954 h 5321354"/>
              <a:gd name="connsiteX54-12583" fmla="*/ 6087240 w 10693106"/>
              <a:gd name="connsiteY54-12584" fmla="*/ 1409754 h 5321354"/>
              <a:gd name="connsiteX55-12585" fmla="*/ 6171906 w 10693106"/>
              <a:gd name="connsiteY55-12586" fmla="*/ 1511354 h 5321354"/>
              <a:gd name="connsiteX56-12587" fmla="*/ 6451306 w 10693106"/>
              <a:gd name="connsiteY56-12588" fmla="*/ 1723021 h 5321354"/>
              <a:gd name="connsiteX57-12589" fmla="*/ 6519040 w 10693106"/>
              <a:gd name="connsiteY57-12590" fmla="*/ 1731488 h 5321354"/>
              <a:gd name="connsiteX58-12591" fmla="*/ 6603706 w 10693106"/>
              <a:gd name="connsiteY58-12592" fmla="*/ 1765354 h 5321354"/>
              <a:gd name="connsiteX59-12593" fmla="*/ 6671440 w 10693106"/>
              <a:gd name="connsiteY59-12594" fmla="*/ 1799221 h 5321354"/>
              <a:gd name="connsiteX60-12595" fmla="*/ 6866173 w 10693106"/>
              <a:gd name="connsiteY60-12596" fmla="*/ 1824621 h 5321354"/>
              <a:gd name="connsiteX61-12597" fmla="*/ 7196373 w 10693106"/>
              <a:gd name="connsiteY61-12598" fmla="*/ 1807688 h 5321354"/>
              <a:gd name="connsiteX62-12599" fmla="*/ 7509640 w 10693106"/>
              <a:gd name="connsiteY62-12600" fmla="*/ 1731488 h 5321354"/>
              <a:gd name="connsiteX63-12601" fmla="*/ 7628173 w 10693106"/>
              <a:gd name="connsiteY63-12602" fmla="*/ 1706088 h 5321354"/>
              <a:gd name="connsiteX64-12603" fmla="*/ 7704373 w 10693106"/>
              <a:gd name="connsiteY64-12604" fmla="*/ 1663754 h 5321354"/>
              <a:gd name="connsiteX65-12605" fmla="*/ 7755173 w 10693106"/>
              <a:gd name="connsiteY65-12606" fmla="*/ 1655288 h 5321354"/>
              <a:gd name="connsiteX66-12607" fmla="*/ 7797506 w 10693106"/>
              <a:gd name="connsiteY66-12608" fmla="*/ 1621421 h 5321354"/>
              <a:gd name="connsiteX67-12609" fmla="*/ 7856773 w 10693106"/>
              <a:gd name="connsiteY67-12610" fmla="*/ 1604488 h 5321354"/>
              <a:gd name="connsiteX68-12611" fmla="*/ 7958373 w 10693106"/>
              <a:gd name="connsiteY68-12612" fmla="*/ 1536754 h 5321354"/>
              <a:gd name="connsiteX69-12613" fmla="*/ 8009173 w 10693106"/>
              <a:gd name="connsiteY69-12614" fmla="*/ 1485954 h 5321354"/>
              <a:gd name="connsiteX70-12615" fmla="*/ 8339373 w 10693106"/>
              <a:gd name="connsiteY70-12616" fmla="*/ 1240421 h 5321354"/>
              <a:gd name="connsiteX71-12617" fmla="*/ 8576440 w 10693106"/>
              <a:gd name="connsiteY71-12618" fmla="*/ 986421 h 5321354"/>
              <a:gd name="connsiteX72-12619" fmla="*/ 8652640 w 10693106"/>
              <a:gd name="connsiteY72-12620" fmla="*/ 707021 h 5321354"/>
              <a:gd name="connsiteX73-12621" fmla="*/ 8847373 w 10693106"/>
              <a:gd name="connsiteY73-12622" fmla="*/ 520754 h 5321354"/>
              <a:gd name="connsiteX74-12623" fmla="*/ 8982840 w 10693106"/>
              <a:gd name="connsiteY74-12624" fmla="*/ 427621 h 5321354"/>
              <a:gd name="connsiteX75-12625" fmla="*/ 9084440 w 10693106"/>
              <a:gd name="connsiteY75-12626" fmla="*/ 393754 h 5321354"/>
              <a:gd name="connsiteX76-12627" fmla="*/ 9152173 w 10693106"/>
              <a:gd name="connsiteY76-12628" fmla="*/ 368354 h 5321354"/>
              <a:gd name="connsiteX77-12629" fmla="*/ 9380773 w 10693106"/>
              <a:gd name="connsiteY77-12630" fmla="*/ 385288 h 5321354"/>
              <a:gd name="connsiteX78-12631" fmla="*/ 9744840 w 10693106"/>
              <a:gd name="connsiteY78-12632" fmla="*/ 495354 h 5321354"/>
              <a:gd name="connsiteX79-12633" fmla="*/ 9888773 w 10693106"/>
              <a:gd name="connsiteY79-12634" fmla="*/ 537688 h 5321354"/>
              <a:gd name="connsiteX80-12635" fmla="*/ 9998840 w 10693106"/>
              <a:gd name="connsiteY80-12636" fmla="*/ 588488 h 5321354"/>
              <a:gd name="connsiteX81-12637" fmla="*/ 10083506 w 10693106"/>
              <a:gd name="connsiteY81-12638" fmla="*/ 647754 h 5321354"/>
              <a:gd name="connsiteX82-12639" fmla="*/ 10286706 w 10693106"/>
              <a:gd name="connsiteY82-12640" fmla="*/ 715488 h 5321354"/>
              <a:gd name="connsiteX83-12641" fmla="*/ 10388306 w 10693106"/>
              <a:gd name="connsiteY83-12642" fmla="*/ 918688 h 5321354"/>
              <a:gd name="connsiteX84-12643" fmla="*/ 10540706 w 10693106"/>
              <a:gd name="connsiteY84-12644" fmla="*/ 1291221 h 5321354"/>
              <a:gd name="connsiteX85-12645" fmla="*/ 10557640 w 10693106"/>
              <a:gd name="connsiteY85-12646" fmla="*/ 1375888 h 5321354"/>
              <a:gd name="connsiteX86-12647" fmla="*/ 10583040 w 10693106"/>
              <a:gd name="connsiteY86-12648" fmla="*/ 1477488 h 5321354"/>
              <a:gd name="connsiteX87-12649" fmla="*/ 10616906 w 10693106"/>
              <a:gd name="connsiteY87-12650" fmla="*/ 1680688 h 5321354"/>
              <a:gd name="connsiteX88-12651" fmla="*/ 10633840 w 10693106"/>
              <a:gd name="connsiteY88-12652" fmla="*/ 1765354 h 5321354"/>
              <a:gd name="connsiteX89-12653" fmla="*/ 10650773 w 10693106"/>
              <a:gd name="connsiteY89-12654" fmla="*/ 1799221 h 5321354"/>
              <a:gd name="connsiteX90-12655" fmla="*/ 10676173 w 10693106"/>
              <a:gd name="connsiteY90-12656" fmla="*/ 1883888 h 5321354"/>
              <a:gd name="connsiteX91-12657" fmla="*/ 10693106 w 10693106"/>
              <a:gd name="connsiteY91-12658" fmla="*/ 2036288 h 5321354"/>
              <a:gd name="connsiteX92-12659" fmla="*/ 10625373 w 10693106"/>
              <a:gd name="connsiteY92-12660" fmla="*/ 2256421 h 5321354"/>
              <a:gd name="connsiteX93-12661" fmla="*/ 10608440 w 10693106"/>
              <a:gd name="connsiteY93-12662" fmla="*/ 2281821 h 5321354"/>
              <a:gd name="connsiteX94-12663" fmla="*/ 10540706 w 10693106"/>
              <a:gd name="connsiteY94-12664" fmla="*/ 2425754 h 5321354"/>
              <a:gd name="connsiteX95-12665" fmla="*/ 10498373 w 10693106"/>
              <a:gd name="connsiteY95-12666" fmla="*/ 2510421 h 5321354"/>
              <a:gd name="connsiteX96-12667" fmla="*/ 10439106 w 10693106"/>
              <a:gd name="connsiteY96-12668" fmla="*/ 2696688 h 5321354"/>
              <a:gd name="connsiteX97-12669" fmla="*/ 10430640 w 10693106"/>
              <a:gd name="connsiteY97-12670" fmla="*/ 2739021 h 5321354"/>
              <a:gd name="connsiteX98-12671" fmla="*/ 10405240 w 10693106"/>
              <a:gd name="connsiteY98-12672" fmla="*/ 2815221 h 5321354"/>
              <a:gd name="connsiteX99-12673" fmla="*/ 10396773 w 10693106"/>
              <a:gd name="connsiteY99-12674" fmla="*/ 2849088 h 5321354"/>
              <a:gd name="connsiteX100-12675" fmla="*/ 10362906 w 10693106"/>
              <a:gd name="connsiteY100-12676" fmla="*/ 2942221 h 5321354"/>
              <a:gd name="connsiteX101-12677" fmla="*/ 10329040 w 10693106"/>
              <a:gd name="connsiteY101-12678" fmla="*/ 2984554 h 5321354"/>
              <a:gd name="connsiteX102-12679" fmla="*/ 10227440 w 10693106"/>
              <a:gd name="connsiteY102-12680" fmla="*/ 3086154 h 5321354"/>
              <a:gd name="connsiteX103-12681" fmla="*/ 10168173 w 10693106"/>
              <a:gd name="connsiteY103-12682" fmla="*/ 3153888 h 5321354"/>
              <a:gd name="connsiteX104-12683" fmla="*/ 10117373 w 10693106"/>
              <a:gd name="connsiteY104-12684" fmla="*/ 3204688 h 5321354"/>
              <a:gd name="connsiteX105-12685" fmla="*/ 10032706 w 10693106"/>
              <a:gd name="connsiteY105-12686" fmla="*/ 3306288 h 5321354"/>
              <a:gd name="connsiteX106-12687" fmla="*/ 9948040 w 10693106"/>
              <a:gd name="connsiteY106-12688" fmla="*/ 3365554 h 5321354"/>
              <a:gd name="connsiteX107-12689" fmla="*/ 9905706 w 10693106"/>
              <a:gd name="connsiteY107-12690" fmla="*/ 3390954 h 5321354"/>
              <a:gd name="connsiteX108-12691" fmla="*/ 9829506 w 10693106"/>
              <a:gd name="connsiteY108-12692" fmla="*/ 3407888 h 5321354"/>
              <a:gd name="connsiteX109-12693" fmla="*/ 9727906 w 10693106"/>
              <a:gd name="connsiteY109-12694" fmla="*/ 3450221 h 5321354"/>
              <a:gd name="connsiteX110-12695" fmla="*/ 9634773 w 10693106"/>
              <a:gd name="connsiteY110-12696" fmla="*/ 3475621 h 5321354"/>
              <a:gd name="connsiteX111-12697" fmla="*/ 9456973 w 10693106"/>
              <a:gd name="connsiteY111-12698" fmla="*/ 3568754 h 5321354"/>
              <a:gd name="connsiteX112-12699" fmla="*/ 9313040 w 10693106"/>
              <a:gd name="connsiteY112-12700" fmla="*/ 3695754 h 5321354"/>
              <a:gd name="connsiteX113-12701" fmla="*/ 9279173 w 10693106"/>
              <a:gd name="connsiteY113-12702" fmla="*/ 3712688 h 5321354"/>
              <a:gd name="connsiteX114-12703" fmla="*/ 9067506 w 10693106"/>
              <a:gd name="connsiteY114-12704" fmla="*/ 3890488 h 5321354"/>
              <a:gd name="connsiteX115-12705" fmla="*/ 8999773 w 10693106"/>
              <a:gd name="connsiteY115-12706" fmla="*/ 3958221 h 5321354"/>
              <a:gd name="connsiteX116-12707" fmla="*/ 8813506 w 10693106"/>
              <a:gd name="connsiteY116-12708" fmla="*/ 4093688 h 5321354"/>
              <a:gd name="connsiteX117-12709" fmla="*/ 8728840 w 10693106"/>
              <a:gd name="connsiteY117-12710" fmla="*/ 4136021 h 5321354"/>
              <a:gd name="connsiteX118-12711" fmla="*/ 8373240 w 10693106"/>
              <a:gd name="connsiteY118-12712" fmla="*/ 4169888 h 5321354"/>
              <a:gd name="connsiteX119-12713" fmla="*/ 7966840 w 10693106"/>
              <a:gd name="connsiteY119-12714" fmla="*/ 4263021 h 5321354"/>
              <a:gd name="connsiteX120-12715" fmla="*/ 7687440 w 10693106"/>
              <a:gd name="connsiteY120-12716" fmla="*/ 4423888 h 5321354"/>
              <a:gd name="connsiteX121-12717" fmla="*/ 7551973 w 10693106"/>
              <a:gd name="connsiteY121-12718" fmla="*/ 4508554 h 5321354"/>
              <a:gd name="connsiteX122-12719" fmla="*/ 7374173 w 10693106"/>
              <a:gd name="connsiteY122-12720" fmla="*/ 4686354 h 5321354"/>
              <a:gd name="connsiteX123-12721" fmla="*/ 7374173 w 10693106"/>
              <a:gd name="connsiteY123-12722" fmla="*/ 4686354 h 5321354"/>
              <a:gd name="connsiteX124-12723" fmla="*/ 7221773 w 10693106"/>
              <a:gd name="connsiteY124-12724" fmla="*/ 4804888 h 5321354"/>
              <a:gd name="connsiteX125-12725" fmla="*/ 7027040 w 10693106"/>
              <a:gd name="connsiteY125-12726" fmla="*/ 4931888 h 5321354"/>
              <a:gd name="connsiteX126-12727" fmla="*/ 6883106 w 10693106"/>
              <a:gd name="connsiteY126-12728" fmla="*/ 4999621 h 5321354"/>
              <a:gd name="connsiteX127-12729" fmla="*/ 6815373 w 10693106"/>
              <a:gd name="connsiteY127-12730" fmla="*/ 5041954 h 5321354"/>
              <a:gd name="connsiteX128-12731" fmla="*/ 6646040 w 10693106"/>
              <a:gd name="connsiteY128-12732" fmla="*/ 5135088 h 5321354"/>
              <a:gd name="connsiteX129-12733" fmla="*/ 6527506 w 10693106"/>
              <a:gd name="connsiteY129-12734" fmla="*/ 5194354 h 5321354"/>
              <a:gd name="connsiteX130-12735" fmla="*/ 6298906 w 10693106"/>
              <a:gd name="connsiteY130-12736" fmla="*/ 5270554 h 5321354"/>
              <a:gd name="connsiteX131-12737" fmla="*/ 6197306 w 10693106"/>
              <a:gd name="connsiteY131-12738" fmla="*/ 5295954 h 5321354"/>
              <a:gd name="connsiteX132-12739" fmla="*/ 6061840 w 10693106"/>
              <a:gd name="connsiteY132-12740" fmla="*/ 5304421 h 5321354"/>
              <a:gd name="connsiteX133-12741" fmla="*/ 5917906 w 10693106"/>
              <a:gd name="connsiteY133-12742" fmla="*/ 5321354 h 5321354"/>
              <a:gd name="connsiteX134-12743" fmla="*/ 5748573 w 10693106"/>
              <a:gd name="connsiteY134-12744" fmla="*/ 5312888 h 5321354"/>
              <a:gd name="connsiteX135-12745" fmla="*/ 5282906 w 10693106"/>
              <a:gd name="connsiteY135-12746" fmla="*/ 5202821 h 5321354"/>
              <a:gd name="connsiteX136-12747" fmla="*/ 5138973 w 10693106"/>
              <a:gd name="connsiteY136-12748" fmla="*/ 5101221 h 5321354"/>
              <a:gd name="connsiteX137-12749" fmla="*/ 4959480 w 10693106"/>
              <a:gd name="connsiteY137-12750" fmla="*/ 5017401 h 5321354"/>
              <a:gd name="connsiteX138-12751" fmla="*/ 4842216 w 10693106"/>
              <a:gd name="connsiteY138-12752" fmla="*/ 4983111 h 5321354"/>
              <a:gd name="connsiteX139-12753" fmla="*/ 4797343 w 10693106"/>
              <a:gd name="connsiteY139-12754" fmla="*/ 4907758 h 5321354"/>
              <a:gd name="connsiteX140-12755" fmla="*/ 4686853 w 10693106"/>
              <a:gd name="connsiteY140-12756" fmla="*/ 4817588 h 5321354"/>
              <a:gd name="connsiteX141-12757" fmla="*/ 4536146 w 10693106"/>
              <a:gd name="connsiteY141-12758" fmla="*/ 4742234 h 5321354"/>
              <a:gd name="connsiteX142-12759" fmla="*/ 4365120 w 10693106"/>
              <a:gd name="connsiteY142-12760" fmla="*/ 4645714 h 5321354"/>
              <a:gd name="connsiteX143-12761" fmla="*/ 4187743 w 10693106"/>
              <a:gd name="connsiteY143-12762" fmla="*/ 4550888 h 5321354"/>
              <a:gd name="connsiteX144-12763" fmla="*/ 4038306 w 10693106"/>
              <a:gd name="connsiteY144-12764" fmla="*/ 4395101 h 5321354"/>
              <a:gd name="connsiteX145-12765" fmla="*/ 3893103 w 10693106"/>
              <a:gd name="connsiteY145-12766" fmla="*/ 4284611 h 5321354"/>
              <a:gd name="connsiteX146-12767" fmla="*/ 3882520 w 10693106"/>
              <a:gd name="connsiteY146-12768" fmla="*/ 4210104 h 5321354"/>
              <a:gd name="connsiteX147-12769" fmla="*/ 3895643 w 10693106"/>
              <a:gd name="connsiteY147-12770" fmla="*/ 4089031 h 5321354"/>
              <a:gd name="connsiteX148-12771" fmla="*/ 3919773 w 10693106"/>
              <a:gd name="connsiteY148-12772" fmla="*/ 3949754 h 5321354"/>
              <a:gd name="connsiteX149-12773" fmla="*/ 3877440 w 10693106"/>
              <a:gd name="connsiteY149-12774" fmla="*/ 3653421 h 5321354"/>
              <a:gd name="connsiteX150-12775" fmla="*/ 3852040 w 10693106"/>
              <a:gd name="connsiteY150-12776" fmla="*/ 3560288 h 5321354"/>
              <a:gd name="connsiteX151-12777" fmla="*/ 3801240 w 10693106"/>
              <a:gd name="connsiteY151-12778" fmla="*/ 3450221 h 5321354"/>
              <a:gd name="connsiteX152-12779" fmla="*/ 3733506 w 10693106"/>
              <a:gd name="connsiteY152-12780" fmla="*/ 3348621 h 5321354"/>
              <a:gd name="connsiteX153-12781" fmla="*/ 3242440 w 10693106"/>
              <a:gd name="connsiteY153-12782" fmla="*/ 3128488 h 5321354"/>
              <a:gd name="connsiteX154-12783" fmla="*/ 3123906 w 10693106"/>
              <a:gd name="connsiteY154-12784" fmla="*/ 3026888 h 5321354"/>
              <a:gd name="connsiteX155-12785" fmla="*/ 2988440 w 10693106"/>
              <a:gd name="connsiteY155-12786" fmla="*/ 2832154 h 5321354"/>
              <a:gd name="connsiteX156-12787" fmla="*/ 2971506 w 10693106"/>
              <a:gd name="connsiteY156-12788" fmla="*/ 2772888 h 5321354"/>
              <a:gd name="connsiteX157-12789" fmla="*/ 2996906 w 10693106"/>
              <a:gd name="connsiteY157-12790" fmla="*/ 2561221 h 5321354"/>
              <a:gd name="connsiteX158-12791" fmla="*/ 3013840 w 10693106"/>
              <a:gd name="connsiteY158-12792" fmla="*/ 2459621 h 5321354"/>
              <a:gd name="connsiteX159-12793" fmla="*/ 3005373 w 10693106"/>
              <a:gd name="connsiteY159-12794" fmla="*/ 2341088 h 5321354"/>
              <a:gd name="connsiteX160-12795" fmla="*/ 2988440 w 10693106"/>
              <a:gd name="connsiteY160-12796" fmla="*/ 2290288 h 5321354"/>
              <a:gd name="connsiteX161-12797" fmla="*/ 2802173 w 10693106"/>
              <a:gd name="connsiteY161-12798" fmla="*/ 2036288 h 5321354"/>
              <a:gd name="connsiteX162-12799" fmla="*/ 2641306 w 10693106"/>
              <a:gd name="connsiteY162-12800" fmla="*/ 1892354 h 5321354"/>
              <a:gd name="connsiteX163-12801" fmla="*/ 2590506 w 10693106"/>
              <a:gd name="connsiteY163-12802" fmla="*/ 1866954 h 5321354"/>
              <a:gd name="connsiteX164-12803" fmla="*/ 2531240 w 10693106"/>
              <a:gd name="connsiteY164-12804" fmla="*/ 1858488 h 5321354"/>
              <a:gd name="connsiteX165-12805" fmla="*/ 2446573 w 10693106"/>
              <a:gd name="connsiteY165-12806" fmla="*/ 1841554 h 5321354"/>
              <a:gd name="connsiteX166-12807" fmla="*/ 2251840 w 10693106"/>
              <a:gd name="connsiteY166-12808" fmla="*/ 1866954 h 5321354"/>
              <a:gd name="connsiteX167-12809" fmla="*/ 2167173 w 10693106"/>
              <a:gd name="connsiteY167-12810" fmla="*/ 1909288 h 5321354"/>
              <a:gd name="connsiteX168-12811" fmla="*/ 1980906 w 10693106"/>
              <a:gd name="connsiteY168-12812" fmla="*/ 1968554 h 5321354"/>
              <a:gd name="connsiteX169-12813" fmla="*/ 1904706 w 10693106"/>
              <a:gd name="connsiteY169-12814" fmla="*/ 2002421 h 5321354"/>
              <a:gd name="connsiteX170-12815" fmla="*/ 1828506 w 10693106"/>
              <a:gd name="connsiteY170-12816" fmla="*/ 2019354 h 5321354"/>
              <a:gd name="connsiteX171-12817" fmla="*/ 1726906 w 10693106"/>
              <a:gd name="connsiteY171-12818" fmla="*/ 2070154 h 5321354"/>
              <a:gd name="connsiteX172-12819" fmla="*/ 1659173 w 10693106"/>
              <a:gd name="connsiteY172-12820" fmla="*/ 2104021 h 5321354"/>
              <a:gd name="connsiteX173-12821" fmla="*/ 1498306 w 10693106"/>
              <a:gd name="connsiteY173-12822" fmla="*/ 2129421 h 5321354"/>
              <a:gd name="connsiteX174-12823" fmla="*/ 914106 w 10693106"/>
              <a:gd name="connsiteY174-12824" fmla="*/ 2061688 h 5321354"/>
              <a:gd name="connsiteX175-12825" fmla="*/ 617773 w 10693106"/>
              <a:gd name="connsiteY175-12826" fmla="*/ 1951621 h 5321354"/>
              <a:gd name="connsiteX176-12827" fmla="*/ 516173 w 10693106"/>
              <a:gd name="connsiteY176-12828" fmla="*/ 1866954 h 5321354"/>
              <a:gd name="connsiteX177-12829" fmla="*/ 355306 w 10693106"/>
              <a:gd name="connsiteY177-12830" fmla="*/ 1655288 h 5321354"/>
              <a:gd name="connsiteX178-12831" fmla="*/ 296040 w 10693106"/>
              <a:gd name="connsiteY178-12832" fmla="*/ 1553688 h 5321354"/>
              <a:gd name="connsiteX179-12833" fmla="*/ 253706 w 10693106"/>
              <a:gd name="connsiteY179-12834" fmla="*/ 1375888 h 5321354"/>
              <a:gd name="connsiteX180-12835" fmla="*/ 245240 w 10693106"/>
              <a:gd name="connsiteY180-12836" fmla="*/ 1248888 h 5321354"/>
              <a:gd name="connsiteX181-12837" fmla="*/ 236773 w 10693106"/>
              <a:gd name="connsiteY181-12838" fmla="*/ 1147288 h 5321354"/>
              <a:gd name="connsiteX182-12839" fmla="*/ 245240 w 10693106"/>
              <a:gd name="connsiteY182-12840" fmla="*/ 876354 h 5321354"/>
              <a:gd name="connsiteX183-12841" fmla="*/ 236773 w 10693106"/>
              <a:gd name="connsiteY183-12842" fmla="*/ 732421 h 5321354"/>
              <a:gd name="connsiteX184-12843" fmla="*/ 109773 w 10693106"/>
              <a:gd name="connsiteY184-12844" fmla="*/ 588488 h 5321354"/>
              <a:gd name="connsiteX185-12845" fmla="*/ 58973 w 10693106"/>
              <a:gd name="connsiteY185-12846" fmla="*/ 512288 h 5321354"/>
              <a:gd name="connsiteX186-12847" fmla="*/ 16640 w 10693106"/>
              <a:gd name="connsiteY186-12848" fmla="*/ 461488 h 5321354"/>
              <a:gd name="connsiteX187-12849" fmla="*/ 8173 w 10693106"/>
              <a:gd name="connsiteY187-12850" fmla="*/ 419154 h 5321354"/>
              <a:gd name="connsiteX188-12851" fmla="*/ 16640 w 10693106"/>
              <a:gd name="connsiteY188-12852" fmla="*/ 368354 h 5321354"/>
              <a:gd name="connsiteX0-12853" fmla="*/ 16640 w 10693106"/>
              <a:gd name="connsiteY0-12854" fmla="*/ 368354 h 5321354"/>
              <a:gd name="connsiteX1-12855" fmla="*/ 58973 w 10693106"/>
              <a:gd name="connsiteY1-12856" fmla="*/ 275221 h 5321354"/>
              <a:gd name="connsiteX2-12857" fmla="*/ 109773 w 10693106"/>
              <a:gd name="connsiteY2-12858" fmla="*/ 207488 h 5321354"/>
              <a:gd name="connsiteX3-12859" fmla="*/ 202906 w 10693106"/>
              <a:gd name="connsiteY3-12860" fmla="*/ 122821 h 5321354"/>
              <a:gd name="connsiteX4-12861" fmla="*/ 236773 w 10693106"/>
              <a:gd name="connsiteY4-12862" fmla="*/ 97421 h 5321354"/>
              <a:gd name="connsiteX5-12863" fmla="*/ 346840 w 10693106"/>
              <a:gd name="connsiteY5-12864" fmla="*/ 38154 h 5321354"/>
              <a:gd name="connsiteX6-12865" fmla="*/ 397640 w 10693106"/>
              <a:gd name="connsiteY6-12866" fmla="*/ 4288 h 5321354"/>
              <a:gd name="connsiteX7-12867" fmla="*/ 467297 w 10693106"/>
              <a:gd name="connsiteY7-12868" fmla="*/ 143218 h 5321354"/>
              <a:gd name="connsiteX8-12869" fmla="*/ 492697 w 10693106"/>
              <a:gd name="connsiteY8-12870" fmla="*/ 103579 h 5321354"/>
              <a:gd name="connsiteX9-12871" fmla="*/ 822897 w 10693106"/>
              <a:gd name="connsiteY9-12872" fmla="*/ 112045 h 5321354"/>
              <a:gd name="connsiteX10-12873" fmla="*/ 1091906 w 10693106"/>
              <a:gd name="connsiteY10-12874" fmla="*/ 29688 h 5321354"/>
              <a:gd name="connsiteX11-12875" fmla="*/ 1235840 w 10693106"/>
              <a:gd name="connsiteY11-12876" fmla="*/ 88954 h 5321354"/>
              <a:gd name="connsiteX12-12877" fmla="*/ 1337440 w 10693106"/>
              <a:gd name="connsiteY12-12878" fmla="*/ 165154 h 5321354"/>
              <a:gd name="connsiteX13-12879" fmla="*/ 1422106 w 10693106"/>
              <a:gd name="connsiteY13-12880" fmla="*/ 275221 h 5321354"/>
              <a:gd name="connsiteX14-12881" fmla="*/ 1481373 w 10693106"/>
              <a:gd name="connsiteY14-12882" fmla="*/ 342954 h 5321354"/>
              <a:gd name="connsiteX15-12883" fmla="*/ 1532173 w 10693106"/>
              <a:gd name="connsiteY15-12884" fmla="*/ 376821 h 5321354"/>
              <a:gd name="connsiteX16-12885" fmla="*/ 1684573 w 10693106"/>
              <a:gd name="connsiteY16-12886" fmla="*/ 436088 h 5321354"/>
              <a:gd name="connsiteX17-12887" fmla="*/ 1760773 w 10693106"/>
              <a:gd name="connsiteY17-12888" fmla="*/ 453021 h 5321354"/>
              <a:gd name="connsiteX18-12889" fmla="*/ 1997840 w 10693106"/>
              <a:gd name="connsiteY18-12890" fmla="*/ 444554 h 5321354"/>
              <a:gd name="connsiteX19-12891" fmla="*/ 2116373 w 10693106"/>
              <a:gd name="connsiteY19-12892" fmla="*/ 427621 h 5321354"/>
              <a:gd name="connsiteX20-12893" fmla="*/ 2260306 w 10693106"/>
              <a:gd name="connsiteY20-12894" fmla="*/ 410688 h 5321354"/>
              <a:gd name="connsiteX21-12895" fmla="*/ 2404240 w 10693106"/>
              <a:gd name="connsiteY21-12896" fmla="*/ 385288 h 5321354"/>
              <a:gd name="connsiteX22-12897" fmla="*/ 2455040 w 10693106"/>
              <a:gd name="connsiteY22-12898" fmla="*/ 359888 h 5321354"/>
              <a:gd name="connsiteX23-12899" fmla="*/ 2531240 w 10693106"/>
              <a:gd name="connsiteY23-12900" fmla="*/ 334488 h 5321354"/>
              <a:gd name="connsiteX24-12901" fmla="*/ 2683640 w 10693106"/>
              <a:gd name="connsiteY24-12902" fmla="*/ 207488 h 5321354"/>
              <a:gd name="connsiteX25-12903" fmla="*/ 2742906 w 10693106"/>
              <a:gd name="connsiteY25-12904" fmla="*/ 215954 h 5321354"/>
              <a:gd name="connsiteX26-12905" fmla="*/ 2764920 w 10693106"/>
              <a:gd name="connsiteY26-12906" fmla="*/ 202408 h 5321354"/>
              <a:gd name="connsiteX27-12907" fmla="*/ 2832653 w 10693106"/>
              <a:gd name="connsiteY27-12908" fmla="*/ 197328 h 5321354"/>
              <a:gd name="connsiteX28-12909" fmla="*/ 3002294 w 10693106"/>
              <a:gd name="connsiteY28-12910" fmla="*/ 184012 h 5321354"/>
              <a:gd name="connsiteX29-12911" fmla="*/ 3142763 w 10693106"/>
              <a:gd name="connsiteY29-12912" fmla="*/ 139753 h 5321354"/>
              <a:gd name="connsiteX30-12913" fmla="*/ 3398918 w 10693106"/>
              <a:gd name="connsiteY30-12914" fmla="*/ 101654 h 5321354"/>
              <a:gd name="connsiteX31-12915" fmla="*/ 3606506 w 10693106"/>
              <a:gd name="connsiteY31-12916" fmla="*/ 89725 h 5321354"/>
              <a:gd name="connsiteX32-12917" fmla="*/ 3682706 w 10693106"/>
              <a:gd name="connsiteY32-12918" fmla="*/ 109274 h 5321354"/>
              <a:gd name="connsiteX33-12919" fmla="*/ 3741973 w 10693106"/>
              <a:gd name="connsiteY33-12920" fmla="*/ 115893 h 5321354"/>
              <a:gd name="connsiteX34-12921" fmla="*/ 3792773 w 10693106"/>
              <a:gd name="connsiteY34-12922" fmla="*/ 151608 h 5321354"/>
              <a:gd name="connsiteX35-12923" fmla="*/ 3833625 w 10693106"/>
              <a:gd name="connsiteY35-12924" fmla="*/ 140178 h 5321354"/>
              <a:gd name="connsiteX36-12925" fmla="*/ 3892487 w 10693106"/>
              <a:gd name="connsiteY36-12926" fmla="*/ 146316 h 5321354"/>
              <a:gd name="connsiteX37-12927" fmla="*/ 3933108 w 10693106"/>
              <a:gd name="connsiteY37-12928" fmla="*/ 158169 h 5321354"/>
              <a:gd name="connsiteX38-12929" fmla="*/ 3995973 w 10693106"/>
              <a:gd name="connsiteY38-12930" fmla="*/ 139754 h 5321354"/>
              <a:gd name="connsiteX39-12931" fmla="*/ 4021373 w 10693106"/>
              <a:gd name="connsiteY39-12932" fmla="*/ 173621 h 5321354"/>
              <a:gd name="connsiteX40-12933" fmla="*/ 4055240 w 10693106"/>
              <a:gd name="connsiteY40-12934" fmla="*/ 182088 h 5321354"/>
              <a:gd name="connsiteX41-12935" fmla="*/ 4275373 w 10693106"/>
              <a:gd name="connsiteY41-12936" fmla="*/ 224421 h 5321354"/>
              <a:gd name="connsiteX42-12937" fmla="*/ 4402373 w 10693106"/>
              <a:gd name="connsiteY42-12938" fmla="*/ 258288 h 5321354"/>
              <a:gd name="connsiteX43-12939" fmla="*/ 4529373 w 10693106"/>
              <a:gd name="connsiteY43-12940" fmla="*/ 300621 h 5321354"/>
              <a:gd name="connsiteX44-12941" fmla="*/ 4859573 w 10693106"/>
              <a:gd name="connsiteY44-12942" fmla="*/ 376821 h 5321354"/>
              <a:gd name="connsiteX45-12943" fmla="*/ 5045840 w 10693106"/>
              <a:gd name="connsiteY45-12944" fmla="*/ 453021 h 5321354"/>
              <a:gd name="connsiteX46-12945" fmla="*/ 5325240 w 10693106"/>
              <a:gd name="connsiteY46-12946" fmla="*/ 613888 h 5321354"/>
              <a:gd name="connsiteX47-12947" fmla="*/ 5494573 w 10693106"/>
              <a:gd name="connsiteY47-12948" fmla="*/ 766288 h 5321354"/>
              <a:gd name="connsiteX48-12949" fmla="*/ 5562306 w 10693106"/>
              <a:gd name="connsiteY48-12950" fmla="*/ 842488 h 5321354"/>
              <a:gd name="connsiteX49-12951" fmla="*/ 5621573 w 10693106"/>
              <a:gd name="connsiteY49-12952" fmla="*/ 893288 h 5321354"/>
              <a:gd name="connsiteX50-12953" fmla="*/ 5672373 w 10693106"/>
              <a:gd name="connsiteY50-12954" fmla="*/ 961021 h 5321354"/>
              <a:gd name="connsiteX51-12955" fmla="*/ 5757040 w 10693106"/>
              <a:gd name="connsiteY51-12956" fmla="*/ 1062621 h 5321354"/>
              <a:gd name="connsiteX52-12957" fmla="*/ 5833240 w 10693106"/>
              <a:gd name="connsiteY52-12958" fmla="*/ 1155754 h 5321354"/>
              <a:gd name="connsiteX53-12959" fmla="*/ 6019506 w 10693106"/>
              <a:gd name="connsiteY53-12960" fmla="*/ 1358954 h 5321354"/>
              <a:gd name="connsiteX54-12961" fmla="*/ 6087240 w 10693106"/>
              <a:gd name="connsiteY54-12962" fmla="*/ 1409754 h 5321354"/>
              <a:gd name="connsiteX55-12963" fmla="*/ 6171906 w 10693106"/>
              <a:gd name="connsiteY55-12964" fmla="*/ 1511354 h 5321354"/>
              <a:gd name="connsiteX56-12965" fmla="*/ 6451306 w 10693106"/>
              <a:gd name="connsiteY56-12966" fmla="*/ 1723021 h 5321354"/>
              <a:gd name="connsiteX57-12967" fmla="*/ 6519040 w 10693106"/>
              <a:gd name="connsiteY57-12968" fmla="*/ 1731488 h 5321354"/>
              <a:gd name="connsiteX58-12969" fmla="*/ 6603706 w 10693106"/>
              <a:gd name="connsiteY58-12970" fmla="*/ 1765354 h 5321354"/>
              <a:gd name="connsiteX59-12971" fmla="*/ 6671440 w 10693106"/>
              <a:gd name="connsiteY59-12972" fmla="*/ 1799221 h 5321354"/>
              <a:gd name="connsiteX60-12973" fmla="*/ 6866173 w 10693106"/>
              <a:gd name="connsiteY60-12974" fmla="*/ 1824621 h 5321354"/>
              <a:gd name="connsiteX61-12975" fmla="*/ 7196373 w 10693106"/>
              <a:gd name="connsiteY61-12976" fmla="*/ 1807688 h 5321354"/>
              <a:gd name="connsiteX62-12977" fmla="*/ 7509640 w 10693106"/>
              <a:gd name="connsiteY62-12978" fmla="*/ 1731488 h 5321354"/>
              <a:gd name="connsiteX63-12979" fmla="*/ 7628173 w 10693106"/>
              <a:gd name="connsiteY63-12980" fmla="*/ 1706088 h 5321354"/>
              <a:gd name="connsiteX64-12981" fmla="*/ 7704373 w 10693106"/>
              <a:gd name="connsiteY64-12982" fmla="*/ 1663754 h 5321354"/>
              <a:gd name="connsiteX65-12983" fmla="*/ 7755173 w 10693106"/>
              <a:gd name="connsiteY65-12984" fmla="*/ 1655288 h 5321354"/>
              <a:gd name="connsiteX66-12985" fmla="*/ 7797506 w 10693106"/>
              <a:gd name="connsiteY66-12986" fmla="*/ 1621421 h 5321354"/>
              <a:gd name="connsiteX67-12987" fmla="*/ 7856773 w 10693106"/>
              <a:gd name="connsiteY67-12988" fmla="*/ 1604488 h 5321354"/>
              <a:gd name="connsiteX68-12989" fmla="*/ 7958373 w 10693106"/>
              <a:gd name="connsiteY68-12990" fmla="*/ 1536754 h 5321354"/>
              <a:gd name="connsiteX69-12991" fmla="*/ 8009173 w 10693106"/>
              <a:gd name="connsiteY69-12992" fmla="*/ 1485954 h 5321354"/>
              <a:gd name="connsiteX70-12993" fmla="*/ 8339373 w 10693106"/>
              <a:gd name="connsiteY70-12994" fmla="*/ 1240421 h 5321354"/>
              <a:gd name="connsiteX71-12995" fmla="*/ 8576440 w 10693106"/>
              <a:gd name="connsiteY71-12996" fmla="*/ 986421 h 5321354"/>
              <a:gd name="connsiteX72-12997" fmla="*/ 8652640 w 10693106"/>
              <a:gd name="connsiteY72-12998" fmla="*/ 707021 h 5321354"/>
              <a:gd name="connsiteX73-12999" fmla="*/ 8847373 w 10693106"/>
              <a:gd name="connsiteY73-13000" fmla="*/ 520754 h 5321354"/>
              <a:gd name="connsiteX74-13001" fmla="*/ 8982840 w 10693106"/>
              <a:gd name="connsiteY74-13002" fmla="*/ 427621 h 5321354"/>
              <a:gd name="connsiteX75-13003" fmla="*/ 9084440 w 10693106"/>
              <a:gd name="connsiteY75-13004" fmla="*/ 393754 h 5321354"/>
              <a:gd name="connsiteX76-13005" fmla="*/ 9152173 w 10693106"/>
              <a:gd name="connsiteY76-13006" fmla="*/ 368354 h 5321354"/>
              <a:gd name="connsiteX77-13007" fmla="*/ 9380773 w 10693106"/>
              <a:gd name="connsiteY77-13008" fmla="*/ 385288 h 5321354"/>
              <a:gd name="connsiteX78-13009" fmla="*/ 9744840 w 10693106"/>
              <a:gd name="connsiteY78-13010" fmla="*/ 495354 h 5321354"/>
              <a:gd name="connsiteX79-13011" fmla="*/ 9888773 w 10693106"/>
              <a:gd name="connsiteY79-13012" fmla="*/ 537688 h 5321354"/>
              <a:gd name="connsiteX80-13013" fmla="*/ 9998840 w 10693106"/>
              <a:gd name="connsiteY80-13014" fmla="*/ 588488 h 5321354"/>
              <a:gd name="connsiteX81-13015" fmla="*/ 10083506 w 10693106"/>
              <a:gd name="connsiteY81-13016" fmla="*/ 647754 h 5321354"/>
              <a:gd name="connsiteX82-13017" fmla="*/ 10286706 w 10693106"/>
              <a:gd name="connsiteY82-13018" fmla="*/ 715488 h 5321354"/>
              <a:gd name="connsiteX83-13019" fmla="*/ 10388306 w 10693106"/>
              <a:gd name="connsiteY83-13020" fmla="*/ 918688 h 5321354"/>
              <a:gd name="connsiteX84-13021" fmla="*/ 10540706 w 10693106"/>
              <a:gd name="connsiteY84-13022" fmla="*/ 1291221 h 5321354"/>
              <a:gd name="connsiteX85-13023" fmla="*/ 10557640 w 10693106"/>
              <a:gd name="connsiteY85-13024" fmla="*/ 1375888 h 5321354"/>
              <a:gd name="connsiteX86-13025" fmla="*/ 10583040 w 10693106"/>
              <a:gd name="connsiteY86-13026" fmla="*/ 1477488 h 5321354"/>
              <a:gd name="connsiteX87-13027" fmla="*/ 10616906 w 10693106"/>
              <a:gd name="connsiteY87-13028" fmla="*/ 1680688 h 5321354"/>
              <a:gd name="connsiteX88-13029" fmla="*/ 10633840 w 10693106"/>
              <a:gd name="connsiteY88-13030" fmla="*/ 1765354 h 5321354"/>
              <a:gd name="connsiteX89-13031" fmla="*/ 10650773 w 10693106"/>
              <a:gd name="connsiteY89-13032" fmla="*/ 1799221 h 5321354"/>
              <a:gd name="connsiteX90-13033" fmla="*/ 10676173 w 10693106"/>
              <a:gd name="connsiteY90-13034" fmla="*/ 1883888 h 5321354"/>
              <a:gd name="connsiteX91-13035" fmla="*/ 10693106 w 10693106"/>
              <a:gd name="connsiteY91-13036" fmla="*/ 2036288 h 5321354"/>
              <a:gd name="connsiteX92-13037" fmla="*/ 10625373 w 10693106"/>
              <a:gd name="connsiteY92-13038" fmla="*/ 2256421 h 5321354"/>
              <a:gd name="connsiteX93-13039" fmla="*/ 10608440 w 10693106"/>
              <a:gd name="connsiteY93-13040" fmla="*/ 2281821 h 5321354"/>
              <a:gd name="connsiteX94-13041" fmla="*/ 10540706 w 10693106"/>
              <a:gd name="connsiteY94-13042" fmla="*/ 2425754 h 5321354"/>
              <a:gd name="connsiteX95-13043" fmla="*/ 10498373 w 10693106"/>
              <a:gd name="connsiteY95-13044" fmla="*/ 2510421 h 5321354"/>
              <a:gd name="connsiteX96-13045" fmla="*/ 10439106 w 10693106"/>
              <a:gd name="connsiteY96-13046" fmla="*/ 2696688 h 5321354"/>
              <a:gd name="connsiteX97-13047" fmla="*/ 10430640 w 10693106"/>
              <a:gd name="connsiteY97-13048" fmla="*/ 2739021 h 5321354"/>
              <a:gd name="connsiteX98-13049" fmla="*/ 10405240 w 10693106"/>
              <a:gd name="connsiteY98-13050" fmla="*/ 2815221 h 5321354"/>
              <a:gd name="connsiteX99-13051" fmla="*/ 10396773 w 10693106"/>
              <a:gd name="connsiteY99-13052" fmla="*/ 2849088 h 5321354"/>
              <a:gd name="connsiteX100-13053" fmla="*/ 10362906 w 10693106"/>
              <a:gd name="connsiteY100-13054" fmla="*/ 2942221 h 5321354"/>
              <a:gd name="connsiteX101-13055" fmla="*/ 10329040 w 10693106"/>
              <a:gd name="connsiteY101-13056" fmla="*/ 2984554 h 5321354"/>
              <a:gd name="connsiteX102-13057" fmla="*/ 10227440 w 10693106"/>
              <a:gd name="connsiteY102-13058" fmla="*/ 3086154 h 5321354"/>
              <a:gd name="connsiteX103-13059" fmla="*/ 10168173 w 10693106"/>
              <a:gd name="connsiteY103-13060" fmla="*/ 3153888 h 5321354"/>
              <a:gd name="connsiteX104-13061" fmla="*/ 10117373 w 10693106"/>
              <a:gd name="connsiteY104-13062" fmla="*/ 3204688 h 5321354"/>
              <a:gd name="connsiteX105-13063" fmla="*/ 10032706 w 10693106"/>
              <a:gd name="connsiteY105-13064" fmla="*/ 3306288 h 5321354"/>
              <a:gd name="connsiteX106-13065" fmla="*/ 9948040 w 10693106"/>
              <a:gd name="connsiteY106-13066" fmla="*/ 3365554 h 5321354"/>
              <a:gd name="connsiteX107-13067" fmla="*/ 9905706 w 10693106"/>
              <a:gd name="connsiteY107-13068" fmla="*/ 3390954 h 5321354"/>
              <a:gd name="connsiteX108-13069" fmla="*/ 9829506 w 10693106"/>
              <a:gd name="connsiteY108-13070" fmla="*/ 3407888 h 5321354"/>
              <a:gd name="connsiteX109-13071" fmla="*/ 9727906 w 10693106"/>
              <a:gd name="connsiteY109-13072" fmla="*/ 3450221 h 5321354"/>
              <a:gd name="connsiteX110-13073" fmla="*/ 9634773 w 10693106"/>
              <a:gd name="connsiteY110-13074" fmla="*/ 3475621 h 5321354"/>
              <a:gd name="connsiteX111-13075" fmla="*/ 9456973 w 10693106"/>
              <a:gd name="connsiteY111-13076" fmla="*/ 3568754 h 5321354"/>
              <a:gd name="connsiteX112-13077" fmla="*/ 9313040 w 10693106"/>
              <a:gd name="connsiteY112-13078" fmla="*/ 3695754 h 5321354"/>
              <a:gd name="connsiteX113-13079" fmla="*/ 9279173 w 10693106"/>
              <a:gd name="connsiteY113-13080" fmla="*/ 3712688 h 5321354"/>
              <a:gd name="connsiteX114-13081" fmla="*/ 9067506 w 10693106"/>
              <a:gd name="connsiteY114-13082" fmla="*/ 3890488 h 5321354"/>
              <a:gd name="connsiteX115-13083" fmla="*/ 8999773 w 10693106"/>
              <a:gd name="connsiteY115-13084" fmla="*/ 3958221 h 5321354"/>
              <a:gd name="connsiteX116-13085" fmla="*/ 8813506 w 10693106"/>
              <a:gd name="connsiteY116-13086" fmla="*/ 4093688 h 5321354"/>
              <a:gd name="connsiteX117-13087" fmla="*/ 8728840 w 10693106"/>
              <a:gd name="connsiteY117-13088" fmla="*/ 4136021 h 5321354"/>
              <a:gd name="connsiteX118-13089" fmla="*/ 8373240 w 10693106"/>
              <a:gd name="connsiteY118-13090" fmla="*/ 4169888 h 5321354"/>
              <a:gd name="connsiteX119-13091" fmla="*/ 7966840 w 10693106"/>
              <a:gd name="connsiteY119-13092" fmla="*/ 4263021 h 5321354"/>
              <a:gd name="connsiteX120-13093" fmla="*/ 7687440 w 10693106"/>
              <a:gd name="connsiteY120-13094" fmla="*/ 4423888 h 5321354"/>
              <a:gd name="connsiteX121-13095" fmla="*/ 7551973 w 10693106"/>
              <a:gd name="connsiteY121-13096" fmla="*/ 4508554 h 5321354"/>
              <a:gd name="connsiteX122-13097" fmla="*/ 7374173 w 10693106"/>
              <a:gd name="connsiteY122-13098" fmla="*/ 4686354 h 5321354"/>
              <a:gd name="connsiteX123-13099" fmla="*/ 7374173 w 10693106"/>
              <a:gd name="connsiteY123-13100" fmla="*/ 4686354 h 5321354"/>
              <a:gd name="connsiteX124-13101" fmla="*/ 7221773 w 10693106"/>
              <a:gd name="connsiteY124-13102" fmla="*/ 4804888 h 5321354"/>
              <a:gd name="connsiteX125-13103" fmla="*/ 7027040 w 10693106"/>
              <a:gd name="connsiteY125-13104" fmla="*/ 4931888 h 5321354"/>
              <a:gd name="connsiteX126-13105" fmla="*/ 6883106 w 10693106"/>
              <a:gd name="connsiteY126-13106" fmla="*/ 4999621 h 5321354"/>
              <a:gd name="connsiteX127-13107" fmla="*/ 6815373 w 10693106"/>
              <a:gd name="connsiteY127-13108" fmla="*/ 5041954 h 5321354"/>
              <a:gd name="connsiteX128-13109" fmla="*/ 6646040 w 10693106"/>
              <a:gd name="connsiteY128-13110" fmla="*/ 5135088 h 5321354"/>
              <a:gd name="connsiteX129-13111" fmla="*/ 6527506 w 10693106"/>
              <a:gd name="connsiteY129-13112" fmla="*/ 5194354 h 5321354"/>
              <a:gd name="connsiteX130-13113" fmla="*/ 6298906 w 10693106"/>
              <a:gd name="connsiteY130-13114" fmla="*/ 5270554 h 5321354"/>
              <a:gd name="connsiteX131-13115" fmla="*/ 6197306 w 10693106"/>
              <a:gd name="connsiteY131-13116" fmla="*/ 5295954 h 5321354"/>
              <a:gd name="connsiteX132-13117" fmla="*/ 6061840 w 10693106"/>
              <a:gd name="connsiteY132-13118" fmla="*/ 5304421 h 5321354"/>
              <a:gd name="connsiteX133-13119" fmla="*/ 5917906 w 10693106"/>
              <a:gd name="connsiteY133-13120" fmla="*/ 5321354 h 5321354"/>
              <a:gd name="connsiteX134-13121" fmla="*/ 5748573 w 10693106"/>
              <a:gd name="connsiteY134-13122" fmla="*/ 5312888 h 5321354"/>
              <a:gd name="connsiteX135-13123" fmla="*/ 5282906 w 10693106"/>
              <a:gd name="connsiteY135-13124" fmla="*/ 5202821 h 5321354"/>
              <a:gd name="connsiteX136-13125" fmla="*/ 5138973 w 10693106"/>
              <a:gd name="connsiteY136-13126" fmla="*/ 5101221 h 5321354"/>
              <a:gd name="connsiteX137-13127" fmla="*/ 4959480 w 10693106"/>
              <a:gd name="connsiteY137-13128" fmla="*/ 5017401 h 5321354"/>
              <a:gd name="connsiteX138-13129" fmla="*/ 4842216 w 10693106"/>
              <a:gd name="connsiteY138-13130" fmla="*/ 4983111 h 5321354"/>
              <a:gd name="connsiteX139-13131" fmla="*/ 4797343 w 10693106"/>
              <a:gd name="connsiteY139-13132" fmla="*/ 4907758 h 5321354"/>
              <a:gd name="connsiteX140-13133" fmla="*/ 4686853 w 10693106"/>
              <a:gd name="connsiteY140-13134" fmla="*/ 4817588 h 5321354"/>
              <a:gd name="connsiteX141-13135" fmla="*/ 4536146 w 10693106"/>
              <a:gd name="connsiteY141-13136" fmla="*/ 4742234 h 5321354"/>
              <a:gd name="connsiteX142-13137" fmla="*/ 4365120 w 10693106"/>
              <a:gd name="connsiteY142-13138" fmla="*/ 4645714 h 5321354"/>
              <a:gd name="connsiteX143-13139" fmla="*/ 4187743 w 10693106"/>
              <a:gd name="connsiteY143-13140" fmla="*/ 4550888 h 5321354"/>
              <a:gd name="connsiteX144-13141" fmla="*/ 4038306 w 10693106"/>
              <a:gd name="connsiteY144-13142" fmla="*/ 4395101 h 5321354"/>
              <a:gd name="connsiteX145-13143" fmla="*/ 3893103 w 10693106"/>
              <a:gd name="connsiteY145-13144" fmla="*/ 4284611 h 5321354"/>
              <a:gd name="connsiteX146-13145" fmla="*/ 3882520 w 10693106"/>
              <a:gd name="connsiteY146-13146" fmla="*/ 4210104 h 5321354"/>
              <a:gd name="connsiteX147-13147" fmla="*/ 3895643 w 10693106"/>
              <a:gd name="connsiteY147-13148" fmla="*/ 4089031 h 5321354"/>
              <a:gd name="connsiteX148-13149" fmla="*/ 3919773 w 10693106"/>
              <a:gd name="connsiteY148-13150" fmla="*/ 3949754 h 5321354"/>
              <a:gd name="connsiteX149-13151" fmla="*/ 3877440 w 10693106"/>
              <a:gd name="connsiteY149-13152" fmla="*/ 3653421 h 5321354"/>
              <a:gd name="connsiteX150-13153" fmla="*/ 3852040 w 10693106"/>
              <a:gd name="connsiteY150-13154" fmla="*/ 3560288 h 5321354"/>
              <a:gd name="connsiteX151-13155" fmla="*/ 3801240 w 10693106"/>
              <a:gd name="connsiteY151-13156" fmla="*/ 3450221 h 5321354"/>
              <a:gd name="connsiteX152-13157" fmla="*/ 3733506 w 10693106"/>
              <a:gd name="connsiteY152-13158" fmla="*/ 3348621 h 5321354"/>
              <a:gd name="connsiteX153-13159" fmla="*/ 3242440 w 10693106"/>
              <a:gd name="connsiteY153-13160" fmla="*/ 3128488 h 5321354"/>
              <a:gd name="connsiteX154-13161" fmla="*/ 3123906 w 10693106"/>
              <a:gd name="connsiteY154-13162" fmla="*/ 3026888 h 5321354"/>
              <a:gd name="connsiteX155-13163" fmla="*/ 2988440 w 10693106"/>
              <a:gd name="connsiteY155-13164" fmla="*/ 2832154 h 5321354"/>
              <a:gd name="connsiteX156-13165" fmla="*/ 2971506 w 10693106"/>
              <a:gd name="connsiteY156-13166" fmla="*/ 2772888 h 5321354"/>
              <a:gd name="connsiteX157-13167" fmla="*/ 2996906 w 10693106"/>
              <a:gd name="connsiteY157-13168" fmla="*/ 2561221 h 5321354"/>
              <a:gd name="connsiteX158-13169" fmla="*/ 3013840 w 10693106"/>
              <a:gd name="connsiteY158-13170" fmla="*/ 2459621 h 5321354"/>
              <a:gd name="connsiteX159-13171" fmla="*/ 3005373 w 10693106"/>
              <a:gd name="connsiteY159-13172" fmla="*/ 2341088 h 5321354"/>
              <a:gd name="connsiteX160-13173" fmla="*/ 2988440 w 10693106"/>
              <a:gd name="connsiteY160-13174" fmla="*/ 2290288 h 5321354"/>
              <a:gd name="connsiteX161-13175" fmla="*/ 2802173 w 10693106"/>
              <a:gd name="connsiteY161-13176" fmla="*/ 2036288 h 5321354"/>
              <a:gd name="connsiteX162-13177" fmla="*/ 2641306 w 10693106"/>
              <a:gd name="connsiteY162-13178" fmla="*/ 1892354 h 5321354"/>
              <a:gd name="connsiteX163-13179" fmla="*/ 2590506 w 10693106"/>
              <a:gd name="connsiteY163-13180" fmla="*/ 1866954 h 5321354"/>
              <a:gd name="connsiteX164-13181" fmla="*/ 2531240 w 10693106"/>
              <a:gd name="connsiteY164-13182" fmla="*/ 1858488 h 5321354"/>
              <a:gd name="connsiteX165-13183" fmla="*/ 2446573 w 10693106"/>
              <a:gd name="connsiteY165-13184" fmla="*/ 1841554 h 5321354"/>
              <a:gd name="connsiteX166-13185" fmla="*/ 2251840 w 10693106"/>
              <a:gd name="connsiteY166-13186" fmla="*/ 1866954 h 5321354"/>
              <a:gd name="connsiteX167-13187" fmla="*/ 2167173 w 10693106"/>
              <a:gd name="connsiteY167-13188" fmla="*/ 1909288 h 5321354"/>
              <a:gd name="connsiteX168-13189" fmla="*/ 1980906 w 10693106"/>
              <a:gd name="connsiteY168-13190" fmla="*/ 1968554 h 5321354"/>
              <a:gd name="connsiteX169-13191" fmla="*/ 1904706 w 10693106"/>
              <a:gd name="connsiteY169-13192" fmla="*/ 2002421 h 5321354"/>
              <a:gd name="connsiteX170-13193" fmla="*/ 1828506 w 10693106"/>
              <a:gd name="connsiteY170-13194" fmla="*/ 2019354 h 5321354"/>
              <a:gd name="connsiteX171-13195" fmla="*/ 1726906 w 10693106"/>
              <a:gd name="connsiteY171-13196" fmla="*/ 2070154 h 5321354"/>
              <a:gd name="connsiteX172-13197" fmla="*/ 1659173 w 10693106"/>
              <a:gd name="connsiteY172-13198" fmla="*/ 2104021 h 5321354"/>
              <a:gd name="connsiteX173-13199" fmla="*/ 1498306 w 10693106"/>
              <a:gd name="connsiteY173-13200" fmla="*/ 2129421 h 5321354"/>
              <a:gd name="connsiteX174-13201" fmla="*/ 914106 w 10693106"/>
              <a:gd name="connsiteY174-13202" fmla="*/ 2061688 h 5321354"/>
              <a:gd name="connsiteX175-13203" fmla="*/ 617773 w 10693106"/>
              <a:gd name="connsiteY175-13204" fmla="*/ 1951621 h 5321354"/>
              <a:gd name="connsiteX176-13205" fmla="*/ 516173 w 10693106"/>
              <a:gd name="connsiteY176-13206" fmla="*/ 1866954 h 5321354"/>
              <a:gd name="connsiteX177-13207" fmla="*/ 355306 w 10693106"/>
              <a:gd name="connsiteY177-13208" fmla="*/ 1655288 h 5321354"/>
              <a:gd name="connsiteX178-13209" fmla="*/ 296040 w 10693106"/>
              <a:gd name="connsiteY178-13210" fmla="*/ 1553688 h 5321354"/>
              <a:gd name="connsiteX179-13211" fmla="*/ 253706 w 10693106"/>
              <a:gd name="connsiteY179-13212" fmla="*/ 1375888 h 5321354"/>
              <a:gd name="connsiteX180-13213" fmla="*/ 245240 w 10693106"/>
              <a:gd name="connsiteY180-13214" fmla="*/ 1248888 h 5321354"/>
              <a:gd name="connsiteX181-13215" fmla="*/ 236773 w 10693106"/>
              <a:gd name="connsiteY181-13216" fmla="*/ 1147288 h 5321354"/>
              <a:gd name="connsiteX182-13217" fmla="*/ 245240 w 10693106"/>
              <a:gd name="connsiteY182-13218" fmla="*/ 876354 h 5321354"/>
              <a:gd name="connsiteX183-13219" fmla="*/ 236773 w 10693106"/>
              <a:gd name="connsiteY183-13220" fmla="*/ 732421 h 5321354"/>
              <a:gd name="connsiteX184-13221" fmla="*/ 109773 w 10693106"/>
              <a:gd name="connsiteY184-13222" fmla="*/ 588488 h 5321354"/>
              <a:gd name="connsiteX185-13223" fmla="*/ 58973 w 10693106"/>
              <a:gd name="connsiteY185-13224" fmla="*/ 512288 h 5321354"/>
              <a:gd name="connsiteX186-13225" fmla="*/ 16640 w 10693106"/>
              <a:gd name="connsiteY186-13226" fmla="*/ 461488 h 5321354"/>
              <a:gd name="connsiteX187-13227" fmla="*/ 8173 w 10693106"/>
              <a:gd name="connsiteY187-13228" fmla="*/ 419154 h 5321354"/>
              <a:gd name="connsiteX188-13229" fmla="*/ 16640 w 10693106"/>
              <a:gd name="connsiteY188-13230" fmla="*/ 368354 h 5321354"/>
              <a:gd name="connsiteX0-13231" fmla="*/ 16640 w 10693106"/>
              <a:gd name="connsiteY0-13232" fmla="*/ 368354 h 5321354"/>
              <a:gd name="connsiteX1-13233" fmla="*/ 58973 w 10693106"/>
              <a:gd name="connsiteY1-13234" fmla="*/ 275221 h 5321354"/>
              <a:gd name="connsiteX2-13235" fmla="*/ 109773 w 10693106"/>
              <a:gd name="connsiteY2-13236" fmla="*/ 207488 h 5321354"/>
              <a:gd name="connsiteX3-13237" fmla="*/ 202906 w 10693106"/>
              <a:gd name="connsiteY3-13238" fmla="*/ 122821 h 5321354"/>
              <a:gd name="connsiteX4-13239" fmla="*/ 236773 w 10693106"/>
              <a:gd name="connsiteY4-13240" fmla="*/ 97421 h 5321354"/>
              <a:gd name="connsiteX5-13241" fmla="*/ 346840 w 10693106"/>
              <a:gd name="connsiteY5-13242" fmla="*/ 38154 h 5321354"/>
              <a:gd name="connsiteX6-13243" fmla="*/ 397640 w 10693106"/>
              <a:gd name="connsiteY6-13244" fmla="*/ 4288 h 5321354"/>
              <a:gd name="connsiteX7-13245" fmla="*/ 467297 w 10693106"/>
              <a:gd name="connsiteY7-13246" fmla="*/ 143218 h 5321354"/>
              <a:gd name="connsiteX8-13247" fmla="*/ 492697 w 10693106"/>
              <a:gd name="connsiteY8-13248" fmla="*/ 103579 h 5321354"/>
              <a:gd name="connsiteX9-13249" fmla="*/ 822897 w 10693106"/>
              <a:gd name="connsiteY9-13250" fmla="*/ 112045 h 5321354"/>
              <a:gd name="connsiteX10-13251" fmla="*/ 1091906 w 10693106"/>
              <a:gd name="connsiteY10-13252" fmla="*/ 29688 h 5321354"/>
              <a:gd name="connsiteX11-13253" fmla="*/ 1235840 w 10693106"/>
              <a:gd name="connsiteY11-13254" fmla="*/ 88954 h 5321354"/>
              <a:gd name="connsiteX12-13255" fmla="*/ 1337440 w 10693106"/>
              <a:gd name="connsiteY12-13256" fmla="*/ 165154 h 5321354"/>
              <a:gd name="connsiteX13-13257" fmla="*/ 1422106 w 10693106"/>
              <a:gd name="connsiteY13-13258" fmla="*/ 275221 h 5321354"/>
              <a:gd name="connsiteX14-13259" fmla="*/ 1481373 w 10693106"/>
              <a:gd name="connsiteY14-13260" fmla="*/ 342954 h 5321354"/>
              <a:gd name="connsiteX15-13261" fmla="*/ 1532173 w 10693106"/>
              <a:gd name="connsiteY15-13262" fmla="*/ 376821 h 5321354"/>
              <a:gd name="connsiteX16-13263" fmla="*/ 1684573 w 10693106"/>
              <a:gd name="connsiteY16-13264" fmla="*/ 436088 h 5321354"/>
              <a:gd name="connsiteX17-13265" fmla="*/ 1760773 w 10693106"/>
              <a:gd name="connsiteY17-13266" fmla="*/ 453021 h 5321354"/>
              <a:gd name="connsiteX18-13267" fmla="*/ 1997840 w 10693106"/>
              <a:gd name="connsiteY18-13268" fmla="*/ 444554 h 5321354"/>
              <a:gd name="connsiteX19-13269" fmla="*/ 2116373 w 10693106"/>
              <a:gd name="connsiteY19-13270" fmla="*/ 427621 h 5321354"/>
              <a:gd name="connsiteX20-13271" fmla="*/ 2260306 w 10693106"/>
              <a:gd name="connsiteY20-13272" fmla="*/ 410688 h 5321354"/>
              <a:gd name="connsiteX21-13273" fmla="*/ 2404240 w 10693106"/>
              <a:gd name="connsiteY21-13274" fmla="*/ 385288 h 5321354"/>
              <a:gd name="connsiteX22-13275" fmla="*/ 2455040 w 10693106"/>
              <a:gd name="connsiteY22-13276" fmla="*/ 359888 h 5321354"/>
              <a:gd name="connsiteX23-13277" fmla="*/ 2531240 w 10693106"/>
              <a:gd name="connsiteY23-13278" fmla="*/ 334488 h 5321354"/>
              <a:gd name="connsiteX24-13279" fmla="*/ 2683640 w 10693106"/>
              <a:gd name="connsiteY24-13280" fmla="*/ 207488 h 5321354"/>
              <a:gd name="connsiteX25-13281" fmla="*/ 2742906 w 10693106"/>
              <a:gd name="connsiteY25-13282" fmla="*/ 215954 h 5321354"/>
              <a:gd name="connsiteX26-13283" fmla="*/ 2764920 w 10693106"/>
              <a:gd name="connsiteY26-13284" fmla="*/ 202408 h 5321354"/>
              <a:gd name="connsiteX27-13285" fmla="*/ 2832653 w 10693106"/>
              <a:gd name="connsiteY27-13286" fmla="*/ 197328 h 5321354"/>
              <a:gd name="connsiteX28-13287" fmla="*/ 3002294 w 10693106"/>
              <a:gd name="connsiteY28-13288" fmla="*/ 184012 h 5321354"/>
              <a:gd name="connsiteX29-13289" fmla="*/ 3142763 w 10693106"/>
              <a:gd name="connsiteY29-13290" fmla="*/ 139753 h 5321354"/>
              <a:gd name="connsiteX30-13291" fmla="*/ 3398918 w 10693106"/>
              <a:gd name="connsiteY30-13292" fmla="*/ 101654 h 5321354"/>
              <a:gd name="connsiteX31-13293" fmla="*/ 3606506 w 10693106"/>
              <a:gd name="connsiteY31-13294" fmla="*/ 89725 h 5321354"/>
              <a:gd name="connsiteX32-13295" fmla="*/ 3682706 w 10693106"/>
              <a:gd name="connsiteY32-13296" fmla="*/ 109274 h 5321354"/>
              <a:gd name="connsiteX33-13297" fmla="*/ 3741973 w 10693106"/>
              <a:gd name="connsiteY33-13298" fmla="*/ 115893 h 5321354"/>
              <a:gd name="connsiteX34-13299" fmla="*/ 3794678 w 10693106"/>
              <a:gd name="connsiteY34-13300" fmla="*/ 130653 h 5321354"/>
              <a:gd name="connsiteX35-13301" fmla="*/ 3833625 w 10693106"/>
              <a:gd name="connsiteY35-13302" fmla="*/ 140178 h 5321354"/>
              <a:gd name="connsiteX36-13303" fmla="*/ 3892487 w 10693106"/>
              <a:gd name="connsiteY36-13304" fmla="*/ 146316 h 5321354"/>
              <a:gd name="connsiteX37-13305" fmla="*/ 3933108 w 10693106"/>
              <a:gd name="connsiteY37-13306" fmla="*/ 158169 h 5321354"/>
              <a:gd name="connsiteX38-13307" fmla="*/ 3995973 w 10693106"/>
              <a:gd name="connsiteY38-13308" fmla="*/ 139754 h 5321354"/>
              <a:gd name="connsiteX39-13309" fmla="*/ 4021373 w 10693106"/>
              <a:gd name="connsiteY39-13310" fmla="*/ 173621 h 5321354"/>
              <a:gd name="connsiteX40-13311" fmla="*/ 4055240 w 10693106"/>
              <a:gd name="connsiteY40-13312" fmla="*/ 182088 h 5321354"/>
              <a:gd name="connsiteX41-13313" fmla="*/ 4275373 w 10693106"/>
              <a:gd name="connsiteY41-13314" fmla="*/ 224421 h 5321354"/>
              <a:gd name="connsiteX42-13315" fmla="*/ 4402373 w 10693106"/>
              <a:gd name="connsiteY42-13316" fmla="*/ 258288 h 5321354"/>
              <a:gd name="connsiteX43-13317" fmla="*/ 4529373 w 10693106"/>
              <a:gd name="connsiteY43-13318" fmla="*/ 300621 h 5321354"/>
              <a:gd name="connsiteX44-13319" fmla="*/ 4859573 w 10693106"/>
              <a:gd name="connsiteY44-13320" fmla="*/ 376821 h 5321354"/>
              <a:gd name="connsiteX45-13321" fmla="*/ 5045840 w 10693106"/>
              <a:gd name="connsiteY45-13322" fmla="*/ 453021 h 5321354"/>
              <a:gd name="connsiteX46-13323" fmla="*/ 5325240 w 10693106"/>
              <a:gd name="connsiteY46-13324" fmla="*/ 613888 h 5321354"/>
              <a:gd name="connsiteX47-13325" fmla="*/ 5494573 w 10693106"/>
              <a:gd name="connsiteY47-13326" fmla="*/ 766288 h 5321354"/>
              <a:gd name="connsiteX48-13327" fmla="*/ 5562306 w 10693106"/>
              <a:gd name="connsiteY48-13328" fmla="*/ 842488 h 5321354"/>
              <a:gd name="connsiteX49-13329" fmla="*/ 5621573 w 10693106"/>
              <a:gd name="connsiteY49-13330" fmla="*/ 893288 h 5321354"/>
              <a:gd name="connsiteX50-13331" fmla="*/ 5672373 w 10693106"/>
              <a:gd name="connsiteY50-13332" fmla="*/ 961021 h 5321354"/>
              <a:gd name="connsiteX51-13333" fmla="*/ 5757040 w 10693106"/>
              <a:gd name="connsiteY51-13334" fmla="*/ 1062621 h 5321354"/>
              <a:gd name="connsiteX52-13335" fmla="*/ 5833240 w 10693106"/>
              <a:gd name="connsiteY52-13336" fmla="*/ 1155754 h 5321354"/>
              <a:gd name="connsiteX53-13337" fmla="*/ 6019506 w 10693106"/>
              <a:gd name="connsiteY53-13338" fmla="*/ 1358954 h 5321354"/>
              <a:gd name="connsiteX54-13339" fmla="*/ 6087240 w 10693106"/>
              <a:gd name="connsiteY54-13340" fmla="*/ 1409754 h 5321354"/>
              <a:gd name="connsiteX55-13341" fmla="*/ 6171906 w 10693106"/>
              <a:gd name="connsiteY55-13342" fmla="*/ 1511354 h 5321354"/>
              <a:gd name="connsiteX56-13343" fmla="*/ 6451306 w 10693106"/>
              <a:gd name="connsiteY56-13344" fmla="*/ 1723021 h 5321354"/>
              <a:gd name="connsiteX57-13345" fmla="*/ 6519040 w 10693106"/>
              <a:gd name="connsiteY57-13346" fmla="*/ 1731488 h 5321354"/>
              <a:gd name="connsiteX58-13347" fmla="*/ 6603706 w 10693106"/>
              <a:gd name="connsiteY58-13348" fmla="*/ 1765354 h 5321354"/>
              <a:gd name="connsiteX59-13349" fmla="*/ 6671440 w 10693106"/>
              <a:gd name="connsiteY59-13350" fmla="*/ 1799221 h 5321354"/>
              <a:gd name="connsiteX60-13351" fmla="*/ 6866173 w 10693106"/>
              <a:gd name="connsiteY60-13352" fmla="*/ 1824621 h 5321354"/>
              <a:gd name="connsiteX61-13353" fmla="*/ 7196373 w 10693106"/>
              <a:gd name="connsiteY61-13354" fmla="*/ 1807688 h 5321354"/>
              <a:gd name="connsiteX62-13355" fmla="*/ 7509640 w 10693106"/>
              <a:gd name="connsiteY62-13356" fmla="*/ 1731488 h 5321354"/>
              <a:gd name="connsiteX63-13357" fmla="*/ 7628173 w 10693106"/>
              <a:gd name="connsiteY63-13358" fmla="*/ 1706088 h 5321354"/>
              <a:gd name="connsiteX64-13359" fmla="*/ 7704373 w 10693106"/>
              <a:gd name="connsiteY64-13360" fmla="*/ 1663754 h 5321354"/>
              <a:gd name="connsiteX65-13361" fmla="*/ 7755173 w 10693106"/>
              <a:gd name="connsiteY65-13362" fmla="*/ 1655288 h 5321354"/>
              <a:gd name="connsiteX66-13363" fmla="*/ 7797506 w 10693106"/>
              <a:gd name="connsiteY66-13364" fmla="*/ 1621421 h 5321354"/>
              <a:gd name="connsiteX67-13365" fmla="*/ 7856773 w 10693106"/>
              <a:gd name="connsiteY67-13366" fmla="*/ 1604488 h 5321354"/>
              <a:gd name="connsiteX68-13367" fmla="*/ 7958373 w 10693106"/>
              <a:gd name="connsiteY68-13368" fmla="*/ 1536754 h 5321354"/>
              <a:gd name="connsiteX69-13369" fmla="*/ 8009173 w 10693106"/>
              <a:gd name="connsiteY69-13370" fmla="*/ 1485954 h 5321354"/>
              <a:gd name="connsiteX70-13371" fmla="*/ 8339373 w 10693106"/>
              <a:gd name="connsiteY70-13372" fmla="*/ 1240421 h 5321354"/>
              <a:gd name="connsiteX71-13373" fmla="*/ 8576440 w 10693106"/>
              <a:gd name="connsiteY71-13374" fmla="*/ 986421 h 5321354"/>
              <a:gd name="connsiteX72-13375" fmla="*/ 8652640 w 10693106"/>
              <a:gd name="connsiteY72-13376" fmla="*/ 707021 h 5321354"/>
              <a:gd name="connsiteX73-13377" fmla="*/ 8847373 w 10693106"/>
              <a:gd name="connsiteY73-13378" fmla="*/ 520754 h 5321354"/>
              <a:gd name="connsiteX74-13379" fmla="*/ 8982840 w 10693106"/>
              <a:gd name="connsiteY74-13380" fmla="*/ 427621 h 5321354"/>
              <a:gd name="connsiteX75-13381" fmla="*/ 9084440 w 10693106"/>
              <a:gd name="connsiteY75-13382" fmla="*/ 393754 h 5321354"/>
              <a:gd name="connsiteX76-13383" fmla="*/ 9152173 w 10693106"/>
              <a:gd name="connsiteY76-13384" fmla="*/ 368354 h 5321354"/>
              <a:gd name="connsiteX77-13385" fmla="*/ 9380773 w 10693106"/>
              <a:gd name="connsiteY77-13386" fmla="*/ 385288 h 5321354"/>
              <a:gd name="connsiteX78-13387" fmla="*/ 9744840 w 10693106"/>
              <a:gd name="connsiteY78-13388" fmla="*/ 495354 h 5321354"/>
              <a:gd name="connsiteX79-13389" fmla="*/ 9888773 w 10693106"/>
              <a:gd name="connsiteY79-13390" fmla="*/ 537688 h 5321354"/>
              <a:gd name="connsiteX80-13391" fmla="*/ 9998840 w 10693106"/>
              <a:gd name="connsiteY80-13392" fmla="*/ 588488 h 5321354"/>
              <a:gd name="connsiteX81-13393" fmla="*/ 10083506 w 10693106"/>
              <a:gd name="connsiteY81-13394" fmla="*/ 647754 h 5321354"/>
              <a:gd name="connsiteX82-13395" fmla="*/ 10286706 w 10693106"/>
              <a:gd name="connsiteY82-13396" fmla="*/ 715488 h 5321354"/>
              <a:gd name="connsiteX83-13397" fmla="*/ 10388306 w 10693106"/>
              <a:gd name="connsiteY83-13398" fmla="*/ 918688 h 5321354"/>
              <a:gd name="connsiteX84-13399" fmla="*/ 10540706 w 10693106"/>
              <a:gd name="connsiteY84-13400" fmla="*/ 1291221 h 5321354"/>
              <a:gd name="connsiteX85-13401" fmla="*/ 10557640 w 10693106"/>
              <a:gd name="connsiteY85-13402" fmla="*/ 1375888 h 5321354"/>
              <a:gd name="connsiteX86-13403" fmla="*/ 10583040 w 10693106"/>
              <a:gd name="connsiteY86-13404" fmla="*/ 1477488 h 5321354"/>
              <a:gd name="connsiteX87-13405" fmla="*/ 10616906 w 10693106"/>
              <a:gd name="connsiteY87-13406" fmla="*/ 1680688 h 5321354"/>
              <a:gd name="connsiteX88-13407" fmla="*/ 10633840 w 10693106"/>
              <a:gd name="connsiteY88-13408" fmla="*/ 1765354 h 5321354"/>
              <a:gd name="connsiteX89-13409" fmla="*/ 10650773 w 10693106"/>
              <a:gd name="connsiteY89-13410" fmla="*/ 1799221 h 5321354"/>
              <a:gd name="connsiteX90-13411" fmla="*/ 10676173 w 10693106"/>
              <a:gd name="connsiteY90-13412" fmla="*/ 1883888 h 5321354"/>
              <a:gd name="connsiteX91-13413" fmla="*/ 10693106 w 10693106"/>
              <a:gd name="connsiteY91-13414" fmla="*/ 2036288 h 5321354"/>
              <a:gd name="connsiteX92-13415" fmla="*/ 10625373 w 10693106"/>
              <a:gd name="connsiteY92-13416" fmla="*/ 2256421 h 5321354"/>
              <a:gd name="connsiteX93-13417" fmla="*/ 10608440 w 10693106"/>
              <a:gd name="connsiteY93-13418" fmla="*/ 2281821 h 5321354"/>
              <a:gd name="connsiteX94-13419" fmla="*/ 10540706 w 10693106"/>
              <a:gd name="connsiteY94-13420" fmla="*/ 2425754 h 5321354"/>
              <a:gd name="connsiteX95-13421" fmla="*/ 10498373 w 10693106"/>
              <a:gd name="connsiteY95-13422" fmla="*/ 2510421 h 5321354"/>
              <a:gd name="connsiteX96-13423" fmla="*/ 10439106 w 10693106"/>
              <a:gd name="connsiteY96-13424" fmla="*/ 2696688 h 5321354"/>
              <a:gd name="connsiteX97-13425" fmla="*/ 10430640 w 10693106"/>
              <a:gd name="connsiteY97-13426" fmla="*/ 2739021 h 5321354"/>
              <a:gd name="connsiteX98-13427" fmla="*/ 10405240 w 10693106"/>
              <a:gd name="connsiteY98-13428" fmla="*/ 2815221 h 5321354"/>
              <a:gd name="connsiteX99-13429" fmla="*/ 10396773 w 10693106"/>
              <a:gd name="connsiteY99-13430" fmla="*/ 2849088 h 5321354"/>
              <a:gd name="connsiteX100-13431" fmla="*/ 10362906 w 10693106"/>
              <a:gd name="connsiteY100-13432" fmla="*/ 2942221 h 5321354"/>
              <a:gd name="connsiteX101-13433" fmla="*/ 10329040 w 10693106"/>
              <a:gd name="connsiteY101-13434" fmla="*/ 2984554 h 5321354"/>
              <a:gd name="connsiteX102-13435" fmla="*/ 10227440 w 10693106"/>
              <a:gd name="connsiteY102-13436" fmla="*/ 3086154 h 5321354"/>
              <a:gd name="connsiteX103-13437" fmla="*/ 10168173 w 10693106"/>
              <a:gd name="connsiteY103-13438" fmla="*/ 3153888 h 5321354"/>
              <a:gd name="connsiteX104-13439" fmla="*/ 10117373 w 10693106"/>
              <a:gd name="connsiteY104-13440" fmla="*/ 3204688 h 5321354"/>
              <a:gd name="connsiteX105-13441" fmla="*/ 10032706 w 10693106"/>
              <a:gd name="connsiteY105-13442" fmla="*/ 3306288 h 5321354"/>
              <a:gd name="connsiteX106-13443" fmla="*/ 9948040 w 10693106"/>
              <a:gd name="connsiteY106-13444" fmla="*/ 3365554 h 5321354"/>
              <a:gd name="connsiteX107-13445" fmla="*/ 9905706 w 10693106"/>
              <a:gd name="connsiteY107-13446" fmla="*/ 3390954 h 5321354"/>
              <a:gd name="connsiteX108-13447" fmla="*/ 9829506 w 10693106"/>
              <a:gd name="connsiteY108-13448" fmla="*/ 3407888 h 5321354"/>
              <a:gd name="connsiteX109-13449" fmla="*/ 9727906 w 10693106"/>
              <a:gd name="connsiteY109-13450" fmla="*/ 3450221 h 5321354"/>
              <a:gd name="connsiteX110-13451" fmla="*/ 9634773 w 10693106"/>
              <a:gd name="connsiteY110-13452" fmla="*/ 3475621 h 5321354"/>
              <a:gd name="connsiteX111-13453" fmla="*/ 9456973 w 10693106"/>
              <a:gd name="connsiteY111-13454" fmla="*/ 3568754 h 5321354"/>
              <a:gd name="connsiteX112-13455" fmla="*/ 9313040 w 10693106"/>
              <a:gd name="connsiteY112-13456" fmla="*/ 3695754 h 5321354"/>
              <a:gd name="connsiteX113-13457" fmla="*/ 9279173 w 10693106"/>
              <a:gd name="connsiteY113-13458" fmla="*/ 3712688 h 5321354"/>
              <a:gd name="connsiteX114-13459" fmla="*/ 9067506 w 10693106"/>
              <a:gd name="connsiteY114-13460" fmla="*/ 3890488 h 5321354"/>
              <a:gd name="connsiteX115-13461" fmla="*/ 8999773 w 10693106"/>
              <a:gd name="connsiteY115-13462" fmla="*/ 3958221 h 5321354"/>
              <a:gd name="connsiteX116-13463" fmla="*/ 8813506 w 10693106"/>
              <a:gd name="connsiteY116-13464" fmla="*/ 4093688 h 5321354"/>
              <a:gd name="connsiteX117-13465" fmla="*/ 8728840 w 10693106"/>
              <a:gd name="connsiteY117-13466" fmla="*/ 4136021 h 5321354"/>
              <a:gd name="connsiteX118-13467" fmla="*/ 8373240 w 10693106"/>
              <a:gd name="connsiteY118-13468" fmla="*/ 4169888 h 5321354"/>
              <a:gd name="connsiteX119-13469" fmla="*/ 7966840 w 10693106"/>
              <a:gd name="connsiteY119-13470" fmla="*/ 4263021 h 5321354"/>
              <a:gd name="connsiteX120-13471" fmla="*/ 7687440 w 10693106"/>
              <a:gd name="connsiteY120-13472" fmla="*/ 4423888 h 5321354"/>
              <a:gd name="connsiteX121-13473" fmla="*/ 7551973 w 10693106"/>
              <a:gd name="connsiteY121-13474" fmla="*/ 4508554 h 5321354"/>
              <a:gd name="connsiteX122-13475" fmla="*/ 7374173 w 10693106"/>
              <a:gd name="connsiteY122-13476" fmla="*/ 4686354 h 5321354"/>
              <a:gd name="connsiteX123-13477" fmla="*/ 7374173 w 10693106"/>
              <a:gd name="connsiteY123-13478" fmla="*/ 4686354 h 5321354"/>
              <a:gd name="connsiteX124-13479" fmla="*/ 7221773 w 10693106"/>
              <a:gd name="connsiteY124-13480" fmla="*/ 4804888 h 5321354"/>
              <a:gd name="connsiteX125-13481" fmla="*/ 7027040 w 10693106"/>
              <a:gd name="connsiteY125-13482" fmla="*/ 4931888 h 5321354"/>
              <a:gd name="connsiteX126-13483" fmla="*/ 6883106 w 10693106"/>
              <a:gd name="connsiteY126-13484" fmla="*/ 4999621 h 5321354"/>
              <a:gd name="connsiteX127-13485" fmla="*/ 6815373 w 10693106"/>
              <a:gd name="connsiteY127-13486" fmla="*/ 5041954 h 5321354"/>
              <a:gd name="connsiteX128-13487" fmla="*/ 6646040 w 10693106"/>
              <a:gd name="connsiteY128-13488" fmla="*/ 5135088 h 5321354"/>
              <a:gd name="connsiteX129-13489" fmla="*/ 6527506 w 10693106"/>
              <a:gd name="connsiteY129-13490" fmla="*/ 5194354 h 5321354"/>
              <a:gd name="connsiteX130-13491" fmla="*/ 6298906 w 10693106"/>
              <a:gd name="connsiteY130-13492" fmla="*/ 5270554 h 5321354"/>
              <a:gd name="connsiteX131-13493" fmla="*/ 6197306 w 10693106"/>
              <a:gd name="connsiteY131-13494" fmla="*/ 5295954 h 5321354"/>
              <a:gd name="connsiteX132-13495" fmla="*/ 6061840 w 10693106"/>
              <a:gd name="connsiteY132-13496" fmla="*/ 5304421 h 5321354"/>
              <a:gd name="connsiteX133-13497" fmla="*/ 5917906 w 10693106"/>
              <a:gd name="connsiteY133-13498" fmla="*/ 5321354 h 5321354"/>
              <a:gd name="connsiteX134-13499" fmla="*/ 5748573 w 10693106"/>
              <a:gd name="connsiteY134-13500" fmla="*/ 5312888 h 5321354"/>
              <a:gd name="connsiteX135-13501" fmla="*/ 5282906 w 10693106"/>
              <a:gd name="connsiteY135-13502" fmla="*/ 5202821 h 5321354"/>
              <a:gd name="connsiteX136-13503" fmla="*/ 5138973 w 10693106"/>
              <a:gd name="connsiteY136-13504" fmla="*/ 5101221 h 5321354"/>
              <a:gd name="connsiteX137-13505" fmla="*/ 4959480 w 10693106"/>
              <a:gd name="connsiteY137-13506" fmla="*/ 5017401 h 5321354"/>
              <a:gd name="connsiteX138-13507" fmla="*/ 4842216 w 10693106"/>
              <a:gd name="connsiteY138-13508" fmla="*/ 4983111 h 5321354"/>
              <a:gd name="connsiteX139-13509" fmla="*/ 4797343 w 10693106"/>
              <a:gd name="connsiteY139-13510" fmla="*/ 4907758 h 5321354"/>
              <a:gd name="connsiteX140-13511" fmla="*/ 4686853 w 10693106"/>
              <a:gd name="connsiteY140-13512" fmla="*/ 4817588 h 5321354"/>
              <a:gd name="connsiteX141-13513" fmla="*/ 4536146 w 10693106"/>
              <a:gd name="connsiteY141-13514" fmla="*/ 4742234 h 5321354"/>
              <a:gd name="connsiteX142-13515" fmla="*/ 4365120 w 10693106"/>
              <a:gd name="connsiteY142-13516" fmla="*/ 4645714 h 5321354"/>
              <a:gd name="connsiteX143-13517" fmla="*/ 4187743 w 10693106"/>
              <a:gd name="connsiteY143-13518" fmla="*/ 4550888 h 5321354"/>
              <a:gd name="connsiteX144-13519" fmla="*/ 4038306 w 10693106"/>
              <a:gd name="connsiteY144-13520" fmla="*/ 4395101 h 5321354"/>
              <a:gd name="connsiteX145-13521" fmla="*/ 3893103 w 10693106"/>
              <a:gd name="connsiteY145-13522" fmla="*/ 4284611 h 5321354"/>
              <a:gd name="connsiteX146-13523" fmla="*/ 3882520 w 10693106"/>
              <a:gd name="connsiteY146-13524" fmla="*/ 4210104 h 5321354"/>
              <a:gd name="connsiteX147-13525" fmla="*/ 3895643 w 10693106"/>
              <a:gd name="connsiteY147-13526" fmla="*/ 4089031 h 5321354"/>
              <a:gd name="connsiteX148-13527" fmla="*/ 3919773 w 10693106"/>
              <a:gd name="connsiteY148-13528" fmla="*/ 3949754 h 5321354"/>
              <a:gd name="connsiteX149-13529" fmla="*/ 3877440 w 10693106"/>
              <a:gd name="connsiteY149-13530" fmla="*/ 3653421 h 5321354"/>
              <a:gd name="connsiteX150-13531" fmla="*/ 3852040 w 10693106"/>
              <a:gd name="connsiteY150-13532" fmla="*/ 3560288 h 5321354"/>
              <a:gd name="connsiteX151-13533" fmla="*/ 3801240 w 10693106"/>
              <a:gd name="connsiteY151-13534" fmla="*/ 3450221 h 5321354"/>
              <a:gd name="connsiteX152-13535" fmla="*/ 3733506 w 10693106"/>
              <a:gd name="connsiteY152-13536" fmla="*/ 3348621 h 5321354"/>
              <a:gd name="connsiteX153-13537" fmla="*/ 3242440 w 10693106"/>
              <a:gd name="connsiteY153-13538" fmla="*/ 3128488 h 5321354"/>
              <a:gd name="connsiteX154-13539" fmla="*/ 3123906 w 10693106"/>
              <a:gd name="connsiteY154-13540" fmla="*/ 3026888 h 5321354"/>
              <a:gd name="connsiteX155-13541" fmla="*/ 2988440 w 10693106"/>
              <a:gd name="connsiteY155-13542" fmla="*/ 2832154 h 5321354"/>
              <a:gd name="connsiteX156-13543" fmla="*/ 2971506 w 10693106"/>
              <a:gd name="connsiteY156-13544" fmla="*/ 2772888 h 5321354"/>
              <a:gd name="connsiteX157-13545" fmla="*/ 2996906 w 10693106"/>
              <a:gd name="connsiteY157-13546" fmla="*/ 2561221 h 5321354"/>
              <a:gd name="connsiteX158-13547" fmla="*/ 3013840 w 10693106"/>
              <a:gd name="connsiteY158-13548" fmla="*/ 2459621 h 5321354"/>
              <a:gd name="connsiteX159-13549" fmla="*/ 3005373 w 10693106"/>
              <a:gd name="connsiteY159-13550" fmla="*/ 2341088 h 5321354"/>
              <a:gd name="connsiteX160-13551" fmla="*/ 2988440 w 10693106"/>
              <a:gd name="connsiteY160-13552" fmla="*/ 2290288 h 5321354"/>
              <a:gd name="connsiteX161-13553" fmla="*/ 2802173 w 10693106"/>
              <a:gd name="connsiteY161-13554" fmla="*/ 2036288 h 5321354"/>
              <a:gd name="connsiteX162-13555" fmla="*/ 2641306 w 10693106"/>
              <a:gd name="connsiteY162-13556" fmla="*/ 1892354 h 5321354"/>
              <a:gd name="connsiteX163-13557" fmla="*/ 2590506 w 10693106"/>
              <a:gd name="connsiteY163-13558" fmla="*/ 1866954 h 5321354"/>
              <a:gd name="connsiteX164-13559" fmla="*/ 2531240 w 10693106"/>
              <a:gd name="connsiteY164-13560" fmla="*/ 1858488 h 5321354"/>
              <a:gd name="connsiteX165-13561" fmla="*/ 2446573 w 10693106"/>
              <a:gd name="connsiteY165-13562" fmla="*/ 1841554 h 5321354"/>
              <a:gd name="connsiteX166-13563" fmla="*/ 2251840 w 10693106"/>
              <a:gd name="connsiteY166-13564" fmla="*/ 1866954 h 5321354"/>
              <a:gd name="connsiteX167-13565" fmla="*/ 2167173 w 10693106"/>
              <a:gd name="connsiteY167-13566" fmla="*/ 1909288 h 5321354"/>
              <a:gd name="connsiteX168-13567" fmla="*/ 1980906 w 10693106"/>
              <a:gd name="connsiteY168-13568" fmla="*/ 1968554 h 5321354"/>
              <a:gd name="connsiteX169-13569" fmla="*/ 1904706 w 10693106"/>
              <a:gd name="connsiteY169-13570" fmla="*/ 2002421 h 5321354"/>
              <a:gd name="connsiteX170-13571" fmla="*/ 1828506 w 10693106"/>
              <a:gd name="connsiteY170-13572" fmla="*/ 2019354 h 5321354"/>
              <a:gd name="connsiteX171-13573" fmla="*/ 1726906 w 10693106"/>
              <a:gd name="connsiteY171-13574" fmla="*/ 2070154 h 5321354"/>
              <a:gd name="connsiteX172-13575" fmla="*/ 1659173 w 10693106"/>
              <a:gd name="connsiteY172-13576" fmla="*/ 2104021 h 5321354"/>
              <a:gd name="connsiteX173-13577" fmla="*/ 1498306 w 10693106"/>
              <a:gd name="connsiteY173-13578" fmla="*/ 2129421 h 5321354"/>
              <a:gd name="connsiteX174-13579" fmla="*/ 914106 w 10693106"/>
              <a:gd name="connsiteY174-13580" fmla="*/ 2061688 h 5321354"/>
              <a:gd name="connsiteX175-13581" fmla="*/ 617773 w 10693106"/>
              <a:gd name="connsiteY175-13582" fmla="*/ 1951621 h 5321354"/>
              <a:gd name="connsiteX176-13583" fmla="*/ 516173 w 10693106"/>
              <a:gd name="connsiteY176-13584" fmla="*/ 1866954 h 5321354"/>
              <a:gd name="connsiteX177-13585" fmla="*/ 355306 w 10693106"/>
              <a:gd name="connsiteY177-13586" fmla="*/ 1655288 h 5321354"/>
              <a:gd name="connsiteX178-13587" fmla="*/ 296040 w 10693106"/>
              <a:gd name="connsiteY178-13588" fmla="*/ 1553688 h 5321354"/>
              <a:gd name="connsiteX179-13589" fmla="*/ 253706 w 10693106"/>
              <a:gd name="connsiteY179-13590" fmla="*/ 1375888 h 5321354"/>
              <a:gd name="connsiteX180-13591" fmla="*/ 245240 w 10693106"/>
              <a:gd name="connsiteY180-13592" fmla="*/ 1248888 h 5321354"/>
              <a:gd name="connsiteX181-13593" fmla="*/ 236773 w 10693106"/>
              <a:gd name="connsiteY181-13594" fmla="*/ 1147288 h 5321354"/>
              <a:gd name="connsiteX182-13595" fmla="*/ 245240 w 10693106"/>
              <a:gd name="connsiteY182-13596" fmla="*/ 876354 h 5321354"/>
              <a:gd name="connsiteX183-13597" fmla="*/ 236773 w 10693106"/>
              <a:gd name="connsiteY183-13598" fmla="*/ 732421 h 5321354"/>
              <a:gd name="connsiteX184-13599" fmla="*/ 109773 w 10693106"/>
              <a:gd name="connsiteY184-13600" fmla="*/ 588488 h 5321354"/>
              <a:gd name="connsiteX185-13601" fmla="*/ 58973 w 10693106"/>
              <a:gd name="connsiteY185-13602" fmla="*/ 512288 h 5321354"/>
              <a:gd name="connsiteX186-13603" fmla="*/ 16640 w 10693106"/>
              <a:gd name="connsiteY186-13604" fmla="*/ 461488 h 5321354"/>
              <a:gd name="connsiteX187-13605" fmla="*/ 8173 w 10693106"/>
              <a:gd name="connsiteY187-13606" fmla="*/ 419154 h 5321354"/>
              <a:gd name="connsiteX188-13607" fmla="*/ 16640 w 10693106"/>
              <a:gd name="connsiteY188-13608" fmla="*/ 368354 h 5321354"/>
              <a:gd name="connsiteX0-13609" fmla="*/ 16640 w 10693106"/>
              <a:gd name="connsiteY0-13610" fmla="*/ 368354 h 5321354"/>
              <a:gd name="connsiteX1-13611" fmla="*/ 58973 w 10693106"/>
              <a:gd name="connsiteY1-13612" fmla="*/ 275221 h 5321354"/>
              <a:gd name="connsiteX2-13613" fmla="*/ 109773 w 10693106"/>
              <a:gd name="connsiteY2-13614" fmla="*/ 207488 h 5321354"/>
              <a:gd name="connsiteX3-13615" fmla="*/ 202906 w 10693106"/>
              <a:gd name="connsiteY3-13616" fmla="*/ 122821 h 5321354"/>
              <a:gd name="connsiteX4-13617" fmla="*/ 236773 w 10693106"/>
              <a:gd name="connsiteY4-13618" fmla="*/ 97421 h 5321354"/>
              <a:gd name="connsiteX5-13619" fmla="*/ 346840 w 10693106"/>
              <a:gd name="connsiteY5-13620" fmla="*/ 38154 h 5321354"/>
              <a:gd name="connsiteX6-13621" fmla="*/ 397640 w 10693106"/>
              <a:gd name="connsiteY6-13622" fmla="*/ 4288 h 5321354"/>
              <a:gd name="connsiteX7-13623" fmla="*/ 467297 w 10693106"/>
              <a:gd name="connsiteY7-13624" fmla="*/ 143218 h 5321354"/>
              <a:gd name="connsiteX8-13625" fmla="*/ 492697 w 10693106"/>
              <a:gd name="connsiteY8-13626" fmla="*/ 103579 h 5321354"/>
              <a:gd name="connsiteX9-13627" fmla="*/ 822897 w 10693106"/>
              <a:gd name="connsiteY9-13628" fmla="*/ 112045 h 5321354"/>
              <a:gd name="connsiteX10-13629" fmla="*/ 1091906 w 10693106"/>
              <a:gd name="connsiteY10-13630" fmla="*/ 29688 h 5321354"/>
              <a:gd name="connsiteX11-13631" fmla="*/ 1235840 w 10693106"/>
              <a:gd name="connsiteY11-13632" fmla="*/ 88954 h 5321354"/>
              <a:gd name="connsiteX12-13633" fmla="*/ 1337440 w 10693106"/>
              <a:gd name="connsiteY12-13634" fmla="*/ 165154 h 5321354"/>
              <a:gd name="connsiteX13-13635" fmla="*/ 1422106 w 10693106"/>
              <a:gd name="connsiteY13-13636" fmla="*/ 275221 h 5321354"/>
              <a:gd name="connsiteX14-13637" fmla="*/ 1481373 w 10693106"/>
              <a:gd name="connsiteY14-13638" fmla="*/ 342954 h 5321354"/>
              <a:gd name="connsiteX15-13639" fmla="*/ 1532173 w 10693106"/>
              <a:gd name="connsiteY15-13640" fmla="*/ 376821 h 5321354"/>
              <a:gd name="connsiteX16-13641" fmla="*/ 1684573 w 10693106"/>
              <a:gd name="connsiteY16-13642" fmla="*/ 436088 h 5321354"/>
              <a:gd name="connsiteX17-13643" fmla="*/ 1760773 w 10693106"/>
              <a:gd name="connsiteY17-13644" fmla="*/ 453021 h 5321354"/>
              <a:gd name="connsiteX18-13645" fmla="*/ 1997840 w 10693106"/>
              <a:gd name="connsiteY18-13646" fmla="*/ 444554 h 5321354"/>
              <a:gd name="connsiteX19-13647" fmla="*/ 2116373 w 10693106"/>
              <a:gd name="connsiteY19-13648" fmla="*/ 427621 h 5321354"/>
              <a:gd name="connsiteX20-13649" fmla="*/ 2260306 w 10693106"/>
              <a:gd name="connsiteY20-13650" fmla="*/ 410688 h 5321354"/>
              <a:gd name="connsiteX21-13651" fmla="*/ 2404240 w 10693106"/>
              <a:gd name="connsiteY21-13652" fmla="*/ 385288 h 5321354"/>
              <a:gd name="connsiteX22-13653" fmla="*/ 2455040 w 10693106"/>
              <a:gd name="connsiteY22-13654" fmla="*/ 359888 h 5321354"/>
              <a:gd name="connsiteX23-13655" fmla="*/ 2531240 w 10693106"/>
              <a:gd name="connsiteY23-13656" fmla="*/ 334488 h 5321354"/>
              <a:gd name="connsiteX24-13657" fmla="*/ 2683640 w 10693106"/>
              <a:gd name="connsiteY24-13658" fmla="*/ 207488 h 5321354"/>
              <a:gd name="connsiteX25-13659" fmla="*/ 2742906 w 10693106"/>
              <a:gd name="connsiteY25-13660" fmla="*/ 215954 h 5321354"/>
              <a:gd name="connsiteX26-13661" fmla="*/ 2764920 w 10693106"/>
              <a:gd name="connsiteY26-13662" fmla="*/ 202408 h 5321354"/>
              <a:gd name="connsiteX27-13663" fmla="*/ 2832653 w 10693106"/>
              <a:gd name="connsiteY27-13664" fmla="*/ 197328 h 5321354"/>
              <a:gd name="connsiteX28-13665" fmla="*/ 3002294 w 10693106"/>
              <a:gd name="connsiteY28-13666" fmla="*/ 184012 h 5321354"/>
              <a:gd name="connsiteX29-13667" fmla="*/ 3142763 w 10693106"/>
              <a:gd name="connsiteY29-13668" fmla="*/ 139753 h 5321354"/>
              <a:gd name="connsiteX30-13669" fmla="*/ 3398918 w 10693106"/>
              <a:gd name="connsiteY30-13670" fmla="*/ 101654 h 5321354"/>
              <a:gd name="connsiteX31-13671" fmla="*/ 3606506 w 10693106"/>
              <a:gd name="connsiteY31-13672" fmla="*/ 89725 h 5321354"/>
              <a:gd name="connsiteX32-13673" fmla="*/ 3682706 w 10693106"/>
              <a:gd name="connsiteY32-13674" fmla="*/ 109274 h 5321354"/>
              <a:gd name="connsiteX33-13675" fmla="*/ 3741973 w 10693106"/>
              <a:gd name="connsiteY33-13676" fmla="*/ 115893 h 5321354"/>
              <a:gd name="connsiteX34-13677" fmla="*/ 3794678 w 10693106"/>
              <a:gd name="connsiteY34-13678" fmla="*/ 130653 h 5321354"/>
              <a:gd name="connsiteX35-13679" fmla="*/ 3833625 w 10693106"/>
              <a:gd name="connsiteY35-13680" fmla="*/ 140178 h 5321354"/>
              <a:gd name="connsiteX36-13681" fmla="*/ 3892487 w 10693106"/>
              <a:gd name="connsiteY36-13682" fmla="*/ 146316 h 5321354"/>
              <a:gd name="connsiteX37-13683" fmla="*/ 3933108 w 10693106"/>
              <a:gd name="connsiteY37-13684" fmla="*/ 158169 h 5321354"/>
              <a:gd name="connsiteX38-13685" fmla="*/ 3976923 w 10693106"/>
              <a:gd name="connsiteY38-13686" fmla="*/ 164519 h 5321354"/>
              <a:gd name="connsiteX39-13687" fmla="*/ 4021373 w 10693106"/>
              <a:gd name="connsiteY39-13688" fmla="*/ 173621 h 5321354"/>
              <a:gd name="connsiteX40-13689" fmla="*/ 4055240 w 10693106"/>
              <a:gd name="connsiteY40-13690" fmla="*/ 182088 h 5321354"/>
              <a:gd name="connsiteX41-13691" fmla="*/ 4275373 w 10693106"/>
              <a:gd name="connsiteY41-13692" fmla="*/ 224421 h 5321354"/>
              <a:gd name="connsiteX42-13693" fmla="*/ 4402373 w 10693106"/>
              <a:gd name="connsiteY42-13694" fmla="*/ 258288 h 5321354"/>
              <a:gd name="connsiteX43-13695" fmla="*/ 4529373 w 10693106"/>
              <a:gd name="connsiteY43-13696" fmla="*/ 300621 h 5321354"/>
              <a:gd name="connsiteX44-13697" fmla="*/ 4859573 w 10693106"/>
              <a:gd name="connsiteY44-13698" fmla="*/ 376821 h 5321354"/>
              <a:gd name="connsiteX45-13699" fmla="*/ 5045840 w 10693106"/>
              <a:gd name="connsiteY45-13700" fmla="*/ 453021 h 5321354"/>
              <a:gd name="connsiteX46-13701" fmla="*/ 5325240 w 10693106"/>
              <a:gd name="connsiteY46-13702" fmla="*/ 613888 h 5321354"/>
              <a:gd name="connsiteX47-13703" fmla="*/ 5494573 w 10693106"/>
              <a:gd name="connsiteY47-13704" fmla="*/ 766288 h 5321354"/>
              <a:gd name="connsiteX48-13705" fmla="*/ 5562306 w 10693106"/>
              <a:gd name="connsiteY48-13706" fmla="*/ 842488 h 5321354"/>
              <a:gd name="connsiteX49-13707" fmla="*/ 5621573 w 10693106"/>
              <a:gd name="connsiteY49-13708" fmla="*/ 893288 h 5321354"/>
              <a:gd name="connsiteX50-13709" fmla="*/ 5672373 w 10693106"/>
              <a:gd name="connsiteY50-13710" fmla="*/ 961021 h 5321354"/>
              <a:gd name="connsiteX51-13711" fmla="*/ 5757040 w 10693106"/>
              <a:gd name="connsiteY51-13712" fmla="*/ 1062621 h 5321354"/>
              <a:gd name="connsiteX52-13713" fmla="*/ 5833240 w 10693106"/>
              <a:gd name="connsiteY52-13714" fmla="*/ 1155754 h 5321354"/>
              <a:gd name="connsiteX53-13715" fmla="*/ 6019506 w 10693106"/>
              <a:gd name="connsiteY53-13716" fmla="*/ 1358954 h 5321354"/>
              <a:gd name="connsiteX54-13717" fmla="*/ 6087240 w 10693106"/>
              <a:gd name="connsiteY54-13718" fmla="*/ 1409754 h 5321354"/>
              <a:gd name="connsiteX55-13719" fmla="*/ 6171906 w 10693106"/>
              <a:gd name="connsiteY55-13720" fmla="*/ 1511354 h 5321354"/>
              <a:gd name="connsiteX56-13721" fmla="*/ 6451306 w 10693106"/>
              <a:gd name="connsiteY56-13722" fmla="*/ 1723021 h 5321354"/>
              <a:gd name="connsiteX57-13723" fmla="*/ 6519040 w 10693106"/>
              <a:gd name="connsiteY57-13724" fmla="*/ 1731488 h 5321354"/>
              <a:gd name="connsiteX58-13725" fmla="*/ 6603706 w 10693106"/>
              <a:gd name="connsiteY58-13726" fmla="*/ 1765354 h 5321354"/>
              <a:gd name="connsiteX59-13727" fmla="*/ 6671440 w 10693106"/>
              <a:gd name="connsiteY59-13728" fmla="*/ 1799221 h 5321354"/>
              <a:gd name="connsiteX60-13729" fmla="*/ 6866173 w 10693106"/>
              <a:gd name="connsiteY60-13730" fmla="*/ 1824621 h 5321354"/>
              <a:gd name="connsiteX61-13731" fmla="*/ 7196373 w 10693106"/>
              <a:gd name="connsiteY61-13732" fmla="*/ 1807688 h 5321354"/>
              <a:gd name="connsiteX62-13733" fmla="*/ 7509640 w 10693106"/>
              <a:gd name="connsiteY62-13734" fmla="*/ 1731488 h 5321354"/>
              <a:gd name="connsiteX63-13735" fmla="*/ 7628173 w 10693106"/>
              <a:gd name="connsiteY63-13736" fmla="*/ 1706088 h 5321354"/>
              <a:gd name="connsiteX64-13737" fmla="*/ 7704373 w 10693106"/>
              <a:gd name="connsiteY64-13738" fmla="*/ 1663754 h 5321354"/>
              <a:gd name="connsiteX65-13739" fmla="*/ 7755173 w 10693106"/>
              <a:gd name="connsiteY65-13740" fmla="*/ 1655288 h 5321354"/>
              <a:gd name="connsiteX66-13741" fmla="*/ 7797506 w 10693106"/>
              <a:gd name="connsiteY66-13742" fmla="*/ 1621421 h 5321354"/>
              <a:gd name="connsiteX67-13743" fmla="*/ 7856773 w 10693106"/>
              <a:gd name="connsiteY67-13744" fmla="*/ 1604488 h 5321354"/>
              <a:gd name="connsiteX68-13745" fmla="*/ 7958373 w 10693106"/>
              <a:gd name="connsiteY68-13746" fmla="*/ 1536754 h 5321354"/>
              <a:gd name="connsiteX69-13747" fmla="*/ 8009173 w 10693106"/>
              <a:gd name="connsiteY69-13748" fmla="*/ 1485954 h 5321354"/>
              <a:gd name="connsiteX70-13749" fmla="*/ 8339373 w 10693106"/>
              <a:gd name="connsiteY70-13750" fmla="*/ 1240421 h 5321354"/>
              <a:gd name="connsiteX71-13751" fmla="*/ 8576440 w 10693106"/>
              <a:gd name="connsiteY71-13752" fmla="*/ 986421 h 5321354"/>
              <a:gd name="connsiteX72-13753" fmla="*/ 8652640 w 10693106"/>
              <a:gd name="connsiteY72-13754" fmla="*/ 707021 h 5321354"/>
              <a:gd name="connsiteX73-13755" fmla="*/ 8847373 w 10693106"/>
              <a:gd name="connsiteY73-13756" fmla="*/ 520754 h 5321354"/>
              <a:gd name="connsiteX74-13757" fmla="*/ 8982840 w 10693106"/>
              <a:gd name="connsiteY74-13758" fmla="*/ 427621 h 5321354"/>
              <a:gd name="connsiteX75-13759" fmla="*/ 9084440 w 10693106"/>
              <a:gd name="connsiteY75-13760" fmla="*/ 393754 h 5321354"/>
              <a:gd name="connsiteX76-13761" fmla="*/ 9152173 w 10693106"/>
              <a:gd name="connsiteY76-13762" fmla="*/ 368354 h 5321354"/>
              <a:gd name="connsiteX77-13763" fmla="*/ 9380773 w 10693106"/>
              <a:gd name="connsiteY77-13764" fmla="*/ 385288 h 5321354"/>
              <a:gd name="connsiteX78-13765" fmla="*/ 9744840 w 10693106"/>
              <a:gd name="connsiteY78-13766" fmla="*/ 495354 h 5321354"/>
              <a:gd name="connsiteX79-13767" fmla="*/ 9888773 w 10693106"/>
              <a:gd name="connsiteY79-13768" fmla="*/ 537688 h 5321354"/>
              <a:gd name="connsiteX80-13769" fmla="*/ 9998840 w 10693106"/>
              <a:gd name="connsiteY80-13770" fmla="*/ 588488 h 5321354"/>
              <a:gd name="connsiteX81-13771" fmla="*/ 10083506 w 10693106"/>
              <a:gd name="connsiteY81-13772" fmla="*/ 647754 h 5321354"/>
              <a:gd name="connsiteX82-13773" fmla="*/ 10286706 w 10693106"/>
              <a:gd name="connsiteY82-13774" fmla="*/ 715488 h 5321354"/>
              <a:gd name="connsiteX83-13775" fmla="*/ 10388306 w 10693106"/>
              <a:gd name="connsiteY83-13776" fmla="*/ 918688 h 5321354"/>
              <a:gd name="connsiteX84-13777" fmla="*/ 10540706 w 10693106"/>
              <a:gd name="connsiteY84-13778" fmla="*/ 1291221 h 5321354"/>
              <a:gd name="connsiteX85-13779" fmla="*/ 10557640 w 10693106"/>
              <a:gd name="connsiteY85-13780" fmla="*/ 1375888 h 5321354"/>
              <a:gd name="connsiteX86-13781" fmla="*/ 10583040 w 10693106"/>
              <a:gd name="connsiteY86-13782" fmla="*/ 1477488 h 5321354"/>
              <a:gd name="connsiteX87-13783" fmla="*/ 10616906 w 10693106"/>
              <a:gd name="connsiteY87-13784" fmla="*/ 1680688 h 5321354"/>
              <a:gd name="connsiteX88-13785" fmla="*/ 10633840 w 10693106"/>
              <a:gd name="connsiteY88-13786" fmla="*/ 1765354 h 5321354"/>
              <a:gd name="connsiteX89-13787" fmla="*/ 10650773 w 10693106"/>
              <a:gd name="connsiteY89-13788" fmla="*/ 1799221 h 5321354"/>
              <a:gd name="connsiteX90-13789" fmla="*/ 10676173 w 10693106"/>
              <a:gd name="connsiteY90-13790" fmla="*/ 1883888 h 5321354"/>
              <a:gd name="connsiteX91-13791" fmla="*/ 10693106 w 10693106"/>
              <a:gd name="connsiteY91-13792" fmla="*/ 2036288 h 5321354"/>
              <a:gd name="connsiteX92-13793" fmla="*/ 10625373 w 10693106"/>
              <a:gd name="connsiteY92-13794" fmla="*/ 2256421 h 5321354"/>
              <a:gd name="connsiteX93-13795" fmla="*/ 10608440 w 10693106"/>
              <a:gd name="connsiteY93-13796" fmla="*/ 2281821 h 5321354"/>
              <a:gd name="connsiteX94-13797" fmla="*/ 10540706 w 10693106"/>
              <a:gd name="connsiteY94-13798" fmla="*/ 2425754 h 5321354"/>
              <a:gd name="connsiteX95-13799" fmla="*/ 10498373 w 10693106"/>
              <a:gd name="connsiteY95-13800" fmla="*/ 2510421 h 5321354"/>
              <a:gd name="connsiteX96-13801" fmla="*/ 10439106 w 10693106"/>
              <a:gd name="connsiteY96-13802" fmla="*/ 2696688 h 5321354"/>
              <a:gd name="connsiteX97-13803" fmla="*/ 10430640 w 10693106"/>
              <a:gd name="connsiteY97-13804" fmla="*/ 2739021 h 5321354"/>
              <a:gd name="connsiteX98-13805" fmla="*/ 10405240 w 10693106"/>
              <a:gd name="connsiteY98-13806" fmla="*/ 2815221 h 5321354"/>
              <a:gd name="connsiteX99-13807" fmla="*/ 10396773 w 10693106"/>
              <a:gd name="connsiteY99-13808" fmla="*/ 2849088 h 5321354"/>
              <a:gd name="connsiteX100-13809" fmla="*/ 10362906 w 10693106"/>
              <a:gd name="connsiteY100-13810" fmla="*/ 2942221 h 5321354"/>
              <a:gd name="connsiteX101-13811" fmla="*/ 10329040 w 10693106"/>
              <a:gd name="connsiteY101-13812" fmla="*/ 2984554 h 5321354"/>
              <a:gd name="connsiteX102-13813" fmla="*/ 10227440 w 10693106"/>
              <a:gd name="connsiteY102-13814" fmla="*/ 3086154 h 5321354"/>
              <a:gd name="connsiteX103-13815" fmla="*/ 10168173 w 10693106"/>
              <a:gd name="connsiteY103-13816" fmla="*/ 3153888 h 5321354"/>
              <a:gd name="connsiteX104-13817" fmla="*/ 10117373 w 10693106"/>
              <a:gd name="connsiteY104-13818" fmla="*/ 3204688 h 5321354"/>
              <a:gd name="connsiteX105-13819" fmla="*/ 10032706 w 10693106"/>
              <a:gd name="connsiteY105-13820" fmla="*/ 3306288 h 5321354"/>
              <a:gd name="connsiteX106-13821" fmla="*/ 9948040 w 10693106"/>
              <a:gd name="connsiteY106-13822" fmla="*/ 3365554 h 5321354"/>
              <a:gd name="connsiteX107-13823" fmla="*/ 9905706 w 10693106"/>
              <a:gd name="connsiteY107-13824" fmla="*/ 3390954 h 5321354"/>
              <a:gd name="connsiteX108-13825" fmla="*/ 9829506 w 10693106"/>
              <a:gd name="connsiteY108-13826" fmla="*/ 3407888 h 5321354"/>
              <a:gd name="connsiteX109-13827" fmla="*/ 9727906 w 10693106"/>
              <a:gd name="connsiteY109-13828" fmla="*/ 3450221 h 5321354"/>
              <a:gd name="connsiteX110-13829" fmla="*/ 9634773 w 10693106"/>
              <a:gd name="connsiteY110-13830" fmla="*/ 3475621 h 5321354"/>
              <a:gd name="connsiteX111-13831" fmla="*/ 9456973 w 10693106"/>
              <a:gd name="connsiteY111-13832" fmla="*/ 3568754 h 5321354"/>
              <a:gd name="connsiteX112-13833" fmla="*/ 9313040 w 10693106"/>
              <a:gd name="connsiteY112-13834" fmla="*/ 3695754 h 5321354"/>
              <a:gd name="connsiteX113-13835" fmla="*/ 9279173 w 10693106"/>
              <a:gd name="connsiteY113-13836" fmla="*/ 3712688 h 5321354"/>
              <a:gd name="connsiteX114-13837" fmla="*/ 9067506 w 10693106"/>
              <a:gd name="connsiteY114-13838" fmla="*/ 3890488 h 5321354"/>
              <a:gd name="connsiteX115-13839" fmla="*/ 8999773 w 10693106"/>
              <a:gd name="connsiteY115-13840" fmla="*/ 3958221 h 5321354"/>
              <a:gd name="connsiteX116-13841" fmla="*/ 8813506 w 10693106"/>
              <a:gd name="connsiteY116-13842" fmla="*/ 4093688 h 5321354"/>
              <a:gd name="connsiteX117-13843" fmla="*/ 8728840 w 10693106"/>
              <a:gd name="connsiteY117-13844" fmla="*/ 4136021 h 5321354"/>
              <a:gd name="connsiteX118-13845" fmla="*/ 8373240 w 10693106"/>
              <a:gd name="connsiteY118-13846" fmla="*/ 4169888 h 5321354"/>
              <a:gd name="connsiteX119-13847" fmla="*/ 7966840 w 10693106"/>
              <a:gd name="connsiteY119-13848" fmla="*/ 4263021 h 5321354"/>
              <a:gd name="connsiteX120-13849" fmla="*/ 7687440 w 10693106"/>
              <a:gd name="connsiteY120-13850" fmla="*/ 4423888 h 5321354"/>
              <a:gd name="connsiteX121-13851" fmla="*/ 7551973 w 10693106"/>
              <a:gd name="connsiteY121-13852" fmla="*/ 4508554 h 5321354"/>
              <a:gd name="connsiteX122-13853" fmla="*/ 7374173 w 10693106"/>
              <a:gd name="connsiteY122-13854" fmla="*/ 4686354 h 5321354"/>
              <a:gd name="connsiteX123-13855" fmla="*/ 7374173 w 10693106"/>
              <a:gd name="connsiteY123-13856" fmla="*/ 4686354 h 5321354"/>
              <a:gd name="connsiteX124-13857" fmla="*/ 7221773 w 10693106"/>
              <a:gd name="connsiteY124-13858" fmla="*/ 4804888 h 5321354"/>
              <a:gd name="connsiteX125-13859" fmla="*/ 7027040 w 10693106"/>
              <a:gd name="connsiteY125-13860" fmla="*/ 4931888 h 5321354"/>
              <a:gd name="connsiteX126-13861" fmla="*/ 6883106 w 10693106"/>
              <a:gd name="connsiteY126-13862" fmla="*/ 4999621 h 5321354"/>
              <a:gd name="connsiteX127-13863" fmla="*/ 6815373 w 10693106"/>
              <a:gd name="connsiteY127-13864" fmla="*/ 5041954 h 5321354"/>
              <a:gd name="connsiteX128-13865" fmla="*/ 6646040 w 10693106"/>
              <a:gd name="connsiteY128-13866" fmla="*/ 5135088 h 5321354"/>
              <a:gd name="connsiteX129-13867" fmla="*/ 6527506 w 10693106"/>
              <a:gd name="connsiteY129-13868" fmla="*/ 5194354 h 5321354"/>
              <a:gd name="connsiteX130-13869" fmla="*/ 6298906 w 10693106"/>
              <a:gd name="connsiteY130-13870" fmla="*/ 5270554 h 5321354"/>
              <a:gd name="connsiteX131-13871" fmla="*/ 6197306 w 10693106"/>
              <a:gd name="connsiteY131-13872" fmla="*/ 5295954 h 5321354"/>
              <a:gd name="connsiteX132-13873" fmla="*/ 6061840 w 10693106"/>
              <a:gd name="connsiteY132-13874" fmla="*/ 5304421 h 5321354"/>
              <a:gd name="connsiteX133-13875" fmla="*/ 5917906 w 10693106"/>
              <a:gd name="connsiteY133-13876" fmla="*/ 5321354 h 5321354"/>
              <a:gd name="connsiteX134-13877" fmla="*/ 5748573 w 10693106"/>
              <a:gd name="connsiteY134-13878" fmla="*/ 5312888 h 5321354"/>
              <a:gd name="connsiteX135-13879" fmla="*/ 5282906 w 10693106"/>
              <a:gd name="connsiteY135-13880" fmla="*/ 5202821 h 5321354"/>
              <a:gd name="connsiteX136-13881" fmla="*/ 5138973 w 10693106"/>
              <a:gd name="connsiteY136-13882" fmla="*/ 5101221 h 5321354"/>
              <a:gd name="connsiteX137-13883" fmla="*/ 4959480 w 10693106"/>
              <a:gd name="connsiteY137-13884" fmla="*/ 5017401 h 5321354"/>
              <a:gd name="connsiteX138-13885" fmla="*/ 4842216 w 10693106"/>
              <a:gd name="connsiteY138-13886" fmla="*/ 4983111 h 5321354"/>
              <a:gd name="connsiteX139-13887" fmla="*/ 4797343 w 10693106"/>
              <a:gd name="connsiteY139-13888" fmla="*/ 4907758 h 5321354"/>
              <a:gd name="connsiteX140-13889" fmla="*/ 4686853 w 10693106"/>
              <a:gd name="connsiteY140-13890" fmla="*/ 4817588 h 5321354"/>
              <a:gd name="connsiteX141-13891" fmla="*/ 4536146 w 10693106"/>
              <a:gd name="connsiteY141-13892" fmla="*/ 4742234 h 5321354"/>
              <a:gd name="connsiteX142-13893" fmla="*/ 4365120 w 10693106"/>
              <a:gd name="connsiteY142-13894" fmla="*/ 4645714 h 5321354"/>
              <a:gd name="connsiteX143-13895" fmla="*/ 4187743 w 10693106"/>
              <a:gd name="connsiteY143-13896" fmla="*/ 4550888 h 5321354"/>
              <a:gd name="connsiteX144-13897" fmla="*/ 4038306 w 10693106"/>
              <a:gd name="connsiteY144-13898" fmla="*/ 4395101 h 5321354"/>
              <a:gd name="connsiteX145-13899" fmla="*/ 3893103 w 10693106"/>
              <a:gd name="connsiteY145-13900" fmla="*/ 4284611 h 5321354"/>
              <a:gd name="connsiteX146-13901" fmla="*/ 3882520 w 10693106"/>
              <a:gd name="connsiteY146-13902" fmla="*/ 4210104 h 5321354"/>
              <a:gd name="connsiteX147-13903" fmla="*/ 3895643 w 10693106"/>
              <a:gd name="connsiteY147-13904" fmla="*/ 4089031 h 5321354"/>
              <a:gd name="connsiteX148-13905" fmla="*/ 3919773 w 10693106"/>
              <a:gd name="connsiteY148-13906" fmla="*/ 3949754 h 5321354"/>
              <a:gd name="connsiteX149-13907" fmla="*/ 3877440 w 10693106"/>
              <a:gd name="connsiteY149-13908" fmla="*/ 3653421 h 5321354"/>
              <a:gd name="connsiteX150-13909" fmla="*/ 3852040 w 10693106"/>
              <a:gd name="connsiteY150-13910" fmla="*/ 3560288 h 5321354"/>
              <a:gd name="connsiteX151-13911" fmla="*/ 3801240 w 10693106"/>
              <a:gd name="connsiteY151-13912" fmla="*/ 3450221 h 5321354"/>
              <a:gd name="connsiteX152-13913" fmla="*/ 3733506 w 10693106"/>
              <a:gd name="connsiteY152-13914" fmla="*/ 3348621 h 5321354"/>
              <a:gd name="connsiteX153-13915" fmla="*/ 3242440 w 10693106"/>
              <a:gd name="connsiteY153-13916" fmla="*/ 3128488 h 5321354"/>
              <a:gd name="connsiteX154-13917" fmla="*/ 3123906 w 10693106"/>
              <a:gd name="connsiteY154-13918" fmla="*/ 3026888 h 5321354"/>
              <a:gd name="connsiteX155-13919" fmla="*/ 2988440 w 10693106"/>
              <a:gd name="connsiteY155-13920" fmla="*/ 2832154 h 5321354"/>
              <a:gd name="connsiteX156-13921" fmla="*/ 2971506 w 10693106"/>
              <a:gd name="connsiteY156-13922" fmla="*/ 2772888 h 5321354"/>
              <a:gd name="connsiteX157-13923" fmla="*/ 2996906 w 10693106"/>
              <a:gd name="connsiteY157-13924" fmla="*/ 2561221 h 5321354"/>
              <a:gd name="connsiteX158-13925" fmla="*/ 3013840 w 10693106"/>
              <a:gd name="connsiteY158-13926" fmla="*/ 2459621 h 5321354"/>
              <a:gd name="connsiteX159-13927" fmla="*/ 3005373 w 10693106"/>
              <a:gd name="connsiteY159-13928" fmla="*/ 2341088 h 5321354"/>
              <a:gd name="connsiteX160-13929" fmla="*/ 2988440 w 10693106"/>
              <a:gd name="connsiteY160-13930" fmla="*/ 2290288 h 5321354"/>
              <a:gd name="connsiteX161-13931" fmla="*/ 2802173 w 10693106"/>
              <a:gd name="connsiteY161-13932" fmla="*/ 2036288 h 5321354"/>
              <a:gd name="connsiteX162-13933" fmla="*/ 2641306 w 10693106"/>
              <a:gd name="connsiteY162-13934" fmla="*/ 1892354 h 5321354"/>
              <a:gd name="connsiteX163-13935" fmla="*/ 2590506 w 10693106"/>
              <a:gd name="connsiteY163-13936" fmla="*/ 1866954 h 5321354"/>
              <a:gd name="connsiteX164-13937" fmla="*/ 2531240 w 10693106"/>
              <a:gd name="connsiteY164-13938" fmla="*/ 1858488 h 5321354"/>
              <a:gd name="connsiteX165-13939" fmla="*/ 2446573 w 10693106"/>
              <a:gd name="connsiteY165-13940" fmla="*/ 1841554 h 5321354"/>
              <a:gd name="connsiteX166-13941" fmla="*/ 2251840 w 10693106"/>
              <a:gd name="connsiteY166-13942" fmla="*/ 1866954 h 5321354"/>
              <a:gd name="connsiteX167-13943" fmla="*/ 2167173 w 10693106"/>
              <a:gd name="connsiteY167-13944" fmla="*/ 1909288 h 5321354"/>
              <a:gd name="connsiteX168-13945" fmla="*/ 1980906 w 10693106"/>
              <a:gd name="connsiteY168-13946" fmla="*/ 1968554 h 5321354"/>
              <a:gd name="connsiteX169-13947" fmla="*/ 1904706 w 10693106"/>
              <a:gd name="connsiteY169-13948" fmla="*/ 2002421 h 5321354"/>
              <a:gd name="connsiteX170-13949" fmla="*/ 1828506 w 10693106"/>
              <a:gd name="connsiteY170-13950" fmla="*/ 2019354 h 5321354"/>
              <a:gd name="connsiteX171-13951" fmla="*/ 1726906 w 10693106"/>
              <a:gd name="connsiteY171-13952" fmla="*/ 2070154 h 5321354"/>
              <a:gd name="connsiteX172-13953" fmla="*/ 1659173 w 10693106"/>
              <a:gd name="connsiteY172-13954" fmla="*/ 2104021 h 5321354"/>
              <a:gd name="connsiteX173-13955" fmla="*/ 1498306 w 10693106"/>
              <a:gd name="connsiteY173-13956" fmla="*/ 2129421 h 5321354"/>
              <a:gd name="connsiteX174-13957" fmla="*/ 914106 w 10693106"/>
              <a:gd name="connsiteY174-13958" fmla="*/ 2061688 h 5321354"/>
              <a:gd name="connsiteX175-13959" fmla="*/ 617773 w 10693106"/>
              <a:gd name="connsiteY175-13960" fmla="*/ 1951621 h 5321354"/>
              <a:gd name="connsiteX176-13961" fmla="*/ 516173 w 10693106"/>
              <a:gd name="connsiteY176-13962" fmla="*/ 1866954 h 5321354"/>
              <a:gd name="connsiteX177-13963" fmla="*/ 355306 w 10693106"/>
              <a:gd name="connsiteY177-13964" fmla="*/ 1655288 h 5321354"/>
              <a:gd name="connsiteX178-13965" fmla="*/ 296040 w 10693106"/>
              <a:gd name="connsiteY178-13966" fmla="*/ 1553688 h 5321354"/>
              <a:gd name="connsiteX179-13967" fmla="*/ 253706 w 10693106"/>
              <a:gd name="connsiteY179-13968" fmla="*/ 1375888 h 5321354"/>
              <a:gd name="connsiteX180-13969" fmla="*/ 245240 w 10693106"/>
              <a:gd name="connsiteY180-13970" fmla="*/ 1248888 h 5321354"/>
              <a:gd name="connsiteX181-13971" fmla="*/ 236773 w 10693106"/>
              <a:gd name="connsiteY181-13972" fmla="*/ 1147288 h 5321354"/>
              <a:gd name="connsiteX182-13973" fmla="*/ 245240 w 10693106"/>
              <a:gd name="connsiteY182-13974" fmla="*/ 876354 h 5321354"/>
              <a:gd name="connsiteX183-13975" fmla="*/ 236773 w 10693106"/>
              <a:gd name="connsiteY183-13976" fmla="*/ 732421 h 5321354"/>
              <a:gd name="connsiteX184-13977" fmla="*/ 109773 w 10693106"/>
              <a:gd name="connsiteY184-13978" fmla="*/ 588488 h 5321354"/>
              <a:gd name="connsiteX185-13979" fmla="*/ 58973 w 10693106"/>
              <a:gd name="connsiteY185-13980" fmla="*/ 512288 h 5321354"/>
              <a:gd name="connsiteX186-13981" fmla="*/ 16640 w 10693106"/>
              <a:gd name="connsiteY186-13982" fmla="*/ 461488 h 5321354"/>
              <a:gd name="connsiteX187-13983" fmla="*/ 8173 w 10693106"/>
              <a:gd name="connsiteY187-13984" fmla="*/ 419154 h 5321354"/>
              <a:gd name="connsiteX188-13985" fmla="*/ 16640 w 10693106"/>
              <a:gd name="connsiteY188-13986" fmla="*/ 368354 h 5321354"/>
              <a:gd name="connsiteX0-13987" fmla="*/ 16640 w 10693106"/>
              <a:gd name="connsiteY0-13988" fmla="*/ 368354 h 5321354"/>
              <a:gd name="connsiteX1-13989" fmla="*/ 58973 w 10693106"/>
              <a:gd name="connsiteY1-13990" fmla="*/ 275221 h 5321354"/>
              <a:gd name="connsiteX2-13991" fmla="*/ 109773 w 10693106"/>
              <a:gd name="connsiteY2-13992" fmla="*/ 207488 h 5321354"/>
              <a:gd name="connsiteX3-13993" fmla="*/ 202906 w 10693106"/>
              <a:gd name="connsiteY3-13994" fmla="*/ 122821 h 5321354"/>
              <a:gd name="connsiteX4-13995" fmla="*/ 236773 w 10693106"/>
              <a:gd name="connsiteY4-13996" fmla="*/ 97421 h 5321354"/>
              <a:gd name="connsiteX5-13997" fmla="*/ 346840 w 10693106"/>
              <a:gd name="connsiteY5-13998" fmla="*/ 38154 h 5321354"/>
              <a:gd name="connsiteX6-13999" fmla="*/ 397640 w 10693106"/>
              <a:gd name="connsiteY6-14000" fmla="*/ 4288 h 5321354"/>
              <a:gd name="connsiteX7-14001" fmla="*/ 467297 w 10693106"/>
              <a:gd name="connsiteY7-14002" fmla="*/ 143218 h 5321354"/>
              <a:gd name="connsiteX8-14003" fmla="*/ 492697 w 10693106"/>
              <a:gd name="connsiteY8-14004" fmla="*/ 103579 h 5321354"/>
              <a:gd name="connsiteX9-14005" fmla="*/ 822897 w 10693106"/>
              <a:gd name="connsiteY9-14006" fmla="*/ 112045 h 5321354"/>
              <a:gd name="connsiteX10-14007" fmla="*/ 1091906 w 10693106"/>
              <a:gd name="connsiteY10-14008" fmla="*/ 29688 h 5321354"/>
              <a:gd name="connsiteX11-14009" fmla="*/ 1235840 w 10693106"/>
              <a:gd name="connsiteY11-14010" fmla="*/ 88954 h 5321354"/>
              <a:gd name="connsiteX12-14011" fmla="*/ 1337440 w 10693106"/>
              <a:gd name="connsiteY12-14012" fmla="*/ 165154 h 5321354"/>
              <a:gd name="connsiteX13-14013" fmla="*/ 1422106 w 10693106"/>
              <a:gd name="connsiteY13-14014" fmla="*/ 275221 h 5321354"/>
              <a:gd name="connsiteX14-14015" fmla="*/ 1481373 w 10693106"/>
              <a:gd name="connsiteY14-14016" fmla="*/ 342954 h 5321354"/>
              <a:gd name="connsiteX15-14017" fmla="*/ 1532173 w 10693106"/>
              <a:gd name="connsiteY15-14018" fmla="*/ 376821 h 5321354"/>
              <a:gd name="connsiteX16-14019" fmla="*/ 1684573 w 10693106"/>
              <a:gd name="connsiteY16-14020" fmla="*/ 436088 h 5321354"/>
              <a:gd name="connsiteX17-14021" fmla="*/ 1760773 w 10693106"/>
              <a:gd name="connsiteY17-14022" fmla="*/ 453021 h 5321354"/>
              <a:gd name="connsiteX18-14023" fmla="*/ 1997840 w 10693106"/>
              <a:gd name="connsiteY18-14024" fmla="*/ 444554 h 5321354"/>
              <a:gd name="connsiteX19-14025" fmla="*/ 2116373 w 10693106"/>
              <a:gd name="connsiteY19-14026" fmla="*/ 427621 h 5321354"/>
              <a:gd name="connsiteX20-14027" fmla="*/ 2260306 w 10693106"/>
              <a:gd name="connsiteY20-14028" fmla="*/ 410688 h 5321354"/>
              <a:gd name="connsiteX21-14029" fmla="*/ 2404240 w 10693106"/>
              <a:gd name="connsiteY21-14030" fmla="*/ 385288 h 5321354"/>
              <a:gd name="connsiteX22-14031" fmla="*/ 2455040 w 10693106"/>
              <a:gd name="connsiteY22-14032" fmla="*/ 359888 h 5321354"/>
              <a:gd name="connsiteX23-14033" fmla="*/ 2531240 w 10693106"/>
              <a:gd name="connsiteY23-14034" fmla="*/ 334488 h 5321354"/>
              <a:gd name="connsiteX24-14035" fmla="*/ 2649350 w 10693106"/>
              <a:gd name="connsiteY24-14036" fmla="*/ 255113 h 5321354"/>
              <a:gd name="connsiteX25-14037" fmla="*/ 2742906 w 10693106"/>
              <a:gd name="connsiteY25-14038" fmla="*/ 215954 h 5321354"/>
              <a:gd name="connsiteX26-14039" fmla="*/ 2764920 w 10693106"/>
              <a:gd name="connsiteY26-14040" fmla="*/ 202408 h 5321354"/>
              <a:gd name="connsiteX27-14041" fmla="*/ 2832653 w 10693106"/>
              <a:gd name="connsiteY27-14042" fmla="*/ 197328 h 5321354"/>
              <a:gd name="connsiteX28-14043" fmla="*/ 3002294 w 10693106"/>
              <a:gd name="connsiteY28-14044" fmla="*/ 184012 h 5321354"/>
              <a:gd name="connsiteX29-14045" fmla="*/ 3142763 w 10693106"/>
              <a:gd name="connsiteY29-14046" fmla="*/ 139753 h 5321354"/>
              <a:gd name="connsiteX30-14047" fmla="*/ 3398918 w 10693106"/>
              <a:gd name="connsiteY30-14048" fmla="*/ 101654 h 5321354"/>
              <a:gd name="connsiteX31-14049" fmla="*/ 3606506 w 10693106"/>
              <a:gd name="connsiteY31-14050" fmla="*/ 89725 h 5321354"/>
              <a:gd name="connsiteX32-14051" fmla="*/ 3682706 w 10693106"/>
              <a:gd name="connsiteY32-14052" fmla="*/ 109274 h 5321354"/>
              <a:gd name="connsiteX33-14053" fmla="*/ 3741973 w 10693106"/>
              <a:gd name="connsiteY33-14054" fmla="*/ 115893 h 5321354"/>
              <a:gd name="connsiteX34-14055" fmla="*/ 3794678 w 10693106"/>
              <a:gd name="connsiteY34-14056" fmla="*/ 130653 h 5321354"/>
              <a:gd name="connsiteX35-14057" fmla="*/ 3833625 w 10693106"/>
              <a:gd name="connsiteY35-14058" fmla="*/ 140178 h 5321354"/>
              <a:gd name="connsiteX36-14059" fmla="*/ 3892487 w 10693106"/>
              <a:gd name="connsiteY36-14060" fmla="*/ 146316 h 5321354"/>
              <a:gd name="connsiteX37-14061" fmla="*/ 3933108 w 10693106"/>
              <a:gd name="connsiteY37-14062" fmla="*/ 158169 h 5321354"/>
              <a:gd name="connsiteX38-14063" fmla="*/ 3976923 w 10693106"/>
              <a:gd name="connsiteY38-14064" fmla="*/ 164519 h 5321354"/>
              <a:gd name="connsiteX39-14065" fmla="*/ 4021373 w 10693106"/>
              <a:gd name="connsiteY39-14066" fmla="*/ 173621 h 5321354"/>
              <a:gd name="connsiteX40-14067" fmla="*/ 4055240 w 10693106"/>
              <a:gd name="connsiteY40-14068" fmla="*/ 182088 h 5321354"/>
              <a:gd name="connsiteX41-14069" fmla="*/ 4275373 w 10693106"/>
              <a:gd name="connsiteY41-14070" fmla="*/ 224421 h 5321354"/>
              <a:gd name="connsiteX42-14071" fmla="*/ 4402373 w 10693106"/>
              <a:gd name="connsiteY42-14072" fmla="*/ 258288 h 5321354"/>
              <a:gd name="connsiteX43-14073" fmla="*/ 4529373 w 10693106"/>
              <a:gd name="connsiteY43-14074" fmla="*/ 300621 h 5321354"/>
              <a:gd name="connsiteX44-14075" fmla="*/ 4859573 w 10693106"/>
              <a:gd name="connsiteY44-14076" fmla="*/ 376821 h 5321354"/>
              <a:gd name="connsiteX45-14077" fmla="*/ 5045840 w 10693106"/>
              <a:gd name="connsiteY45-14078" fmla="*/ 453021 h 5321354"/>
              <a:gd name="connsiteX46-14079" fmla="*/ 5325240 w 10693106"/>
              <a:gd name="connsiteY46-14080" fmla="*/ 613888 h 5321354"/>
              <a:gd name="connsiteX47-14081" fmla="*/ 5494573 w 10693106"/>
              <a:gd name="connsiteY47-14082" fmla="*/ 766288 h 5321354"/>
              <a:gd name="connsiteX48-14083" fmla="*/ 5562306 w 10693106"/>
              <a:gd name="connsiteY48-14084" fmla="*/ 842488 h 5321354"/>
              <a:gd name="connsiteX49-14085" fmla="*/ 5621573 w 10693106"/>
              <a:gd name="connsiteY49-14086" fmla="*/ 893288 h 5321354"/>
              <a:gd name="connsiteX50-14087" fmla="*/ 5672373 w 10693106"/>
              <a:gd name="connsiteY50-14088" fmla="*/ 961021 h 5321354"/>
              <a:gd name="connsiteX51-14089" fmla="*/ 5757040 w 10693106"/>
              <a:gd name="connsiteY51-14090" fmla="*/ 1062621 h 5321354"/>
              <a:gd name="connsiteX52-14091" fmla="*/ 5833240 w 10693106"/>
              <a:gd name="connsiteY52-14092" fmla="*/ 1155754 h 5321354"/>
              <a:gd name="connsiteX53-14093" fmla="*/ 6019506 w 10693106"/>
              <a:gd name="connsiteY53-14094" fmla="*/ 1358954 h 5321354"/>
              <a:gd name="connsiteX54-14095" fmla="*/ 6087240 w 10693106"/>
              <a:gd name="connsiteY54-14096" fmla="*/ 1409754 h 5321354"/>
              <a:gd name="connsiteX55-14097" fmla="*/ 6171906 w 10693106"/>
              <a:gd name="connsiteY55-14098" fmla="*/ 1511354 h 5321354"/>
              <a:gd name="connsiteX56-14099" fmla="*/ 6451306 w 10693106"/>
              <a:gd name="connsiteY56-14100" fmla="*/ 1723021 h 5321354"/>
              <a:gd name="connsiteX57-14101" fmla="*/ 6519040 w 10693106"/>
              <a:gd name="connsiteY57-14102" fmla="*/ 1731488 h 5321354"/>
              <a:gd name="connsiteX58-14103" fmla="*/ 6603706 w 10693106"/>
              <a:gd name="connsiteY58-14104" fmla="*/ 1765354 h 5321354"/>
              <a:gd name="connsiteX59-14105" fmla="*/ 6671440 w 10693106"/>
              <a:gd name="connsiteY59-14106" fmla="*/ 1799221 h 5321354"/>
              <a:gd name="connsiteX60-14107" fmla="*/ 6866173 w 10693106"/>
              <a:gd name="connsiteY60-14108" fmla="*/ 1824621 h 5321354"/>
              <a:gd name="connsiteX61-14109" fmla="*/ 7196373 w 10693106"/>
              <a:gd name="connsiteY61-14110" fmla="*/ 1807688 h 5321354"/>
              <a:gd name="connsiteX62-14111" fmla="*/ 7509640 w 10693106"/>
              <a:gd name="connsiteY62-14112" fmla="*/ 1731488 h 5321354"/>
              <a:gd name="connsiteX63-14113" fmla="*/ 7628173 w 10693106"/>
              <a:gd name="connsiteY63-14114" fmla="*/ 1706088 h 5321354"/>
              <a:gd name="connsiteX64-14115" fmla="*/ 7704373 w 10693106"/>
              <a:gd name="connsiteY64-14116" fmla="*/ 1663754 h 5321354"/>
              <a:gd name="connsiteX65-14117" fmla="*/ 7755173 w 10693106"/>
              <a:gd name="connsiteY65-14118" fmla="*/ 1655288 h 5321354"/>
              <a:gd name="connsiteX66-14119" fmla="*/ 7797506 w 10693106"/>
              <a:gd name="connsiteY66-14120" fmla="*/ 1621421 h 5321354"/>
              <a:gd name="connsiteX67-14121" fmla="*/ 7856773 w 10693106"/>
              <a:gd name="connsiteY67-14122" fmla="*/ 1604488 h 5321354"/>
              <a:gd name="connsiteX68-14123" fmla="*/ 7958373 w 10693106"/>
              <a:gd name="connsiteY68-14124" fmla="*/ 1536754 h 5321354"/>
              <a:gd name="connsiteX69-14125" fmla="*/ 8009173 w 10693106"/>
              <a:gd name="connsiteY69-14126" fmla="*/ 1485954 h 5321354"/>
              <a:gd name="connsiteX70-14127" fmla="*/ 8339373 w 10693106"/>
              <a:gd name="connsiteY70-14128" fmla="*/ 1240421 h 5321354"/>
              <a:gd name="connsiteX71-14129" fmla="*/ 8576440 w 10693106"/>
              <a:gd name="connsiteY71-14130" fmla="*/ 986421 h 5321354"/>
              <a:gd name="connsiteX72-14131" fmla="*/ 8652640 w 10693106"/>
              <a:gd name="connsiteY72-14132" fmla="*/ 707021 h 5321354"/>
              <a:gd name="connsiteX73-14133" fmla="*/ 8847373 w 10693106"/>
              <a:gd name="connsiteY73-14134" fmla="*/ 520754 h 5321354"/>
              <a:gd name="connsiteX74-14135" fmla="*/ 8982840 w 10693106"/>
              <a:gd name="connsiteY74-14136" fmla="*/ 427621 h 5321354"/>
              <a:gd name="connsiteX75-14137" fmla="*/ 9084440 w 10693106"/>
              <a:gd name="connsiteY75-14138" fmla="*/ 393754 h 5321354"/>
              <a:gd name="connsiteX76-14139" fmla="*/ 9152173 w 10693106"/>
              <a:gd name="connsiteY76-14140" fmla="*/ 368354 h 5321354"/>
              <a:gd name="connsiteX77-14141" fmla="*/ 9380773 w 10693106"/>
              <a:gd name="connsiteY77-14142" fmla="*/ 385288 h 5321354"/>
              <a:gd name="connsiteX78-14143" fmla="*/ 9744840 w 10693106"/>
              <a:gd name="connsiteY78-14144" fmla="*/ 495354 h 5321354"/>
              <a:gd name="connsiteX79-14145" fmla="*/ 9888773 w 10693106"/>
              <a:gd name="connsiteY79-14146" fmla="*/ 537688 h 5321354"/>
              <a:gd name="connsiteX80-14147" fmla="*/ 9998840 w 10693106"/>
              <a:gd name="connsiteY80-14148" fmla="*/ 588488 h 5321354"/>
              <a:gd name="connsiteX81-14149" fmla="*/ 10083506 w 10693106"/>
              <a:gd name="connsiteY81-14150" fmla="*/ 647754 h 5321354"/>
              <a:gd name="connsiteX82-14151" fmla="*/ 10286706 w 10693106"/>
              <a:gd name="connsiteY82-14152" fmla="*/ 715488 h 5321354"/>
              <a:gd name="connsiteX83-14153" fmla="*/ 10388306 w 10693106"/>
              <a:gd name="connsiteY83-14154" fmla="*/ 918688 h 5321354"/>
              <a:gd name="connsiteX84-14155" fmla="*/ 10540706 w 10693106"/>
              <a:gd name="connsiteY84-14156" fmla="*/ 1291221 h 5321354"/>
              <a:gd name="connsiteX85-14157" fmla="*/ 10557640 w 10693106"/>
              <a:gd name="connsiteY85-14158" fmla="*/ 1375888 h 5321354"/>
              <a:gd name="connsiteX86-14159" fmla="*/ 10583040 w 10693106"/>
              <a:gd name="connsiteY86-14160" fmla="*/ 1477488 h 5321354"/>
              <a:gd name="connsiteX87-14161" fmla="*/ 10616906 w 10693106"/>
              <a:gd name="connsiteY87-14162" fmla="*/ 1680688 h 5321354"/>
              <a:gd name="connsiteX88-14163" fmla="*/ 10633840 w 10693106"/>
              <a:gd name="connsiteY88-14164" fmla="*/ 1765354 h 5321354"/>
              <a:gd name="connsiteX89-14165" fmla="*/ 10650773 w 10693106"/>
              <a:gd name="connsiteY89-14166" fmla="*/ 1799221 h 5321354"/>
              <a:gd name="connsiteX90-14167" fmla="*/ 10676173 w 10693106"/>
              <a:gd name="connsiteY90-14168" fmla="*/ 1883888 h 5321354"/>
              <a:gd name="connsiteX91-14169" fmla="*/ 10693106 w 10693106"/>
              <a:gd name="connsiteY91-14170" fmla="*/ 2036288 h 5321354"/>
              <a:gd name="connsiteX92-14171" fmla="*/ 10625373 w 10693106"/>
              <a:gd name="connsiteY92-14172" fmla="*/ 2256421 h 5321354"/>
              <a:gd name="connsiteX93-14173" fmla="*/ 10608440 w 10693106"/>
              <a:gd name="connsiteY93-14174" fmla="*/ 2281821 h 5321354"/>
              <a:gd name="connsiteX94-14175" fmla="*/ 10540706 w 10693106"/>
              <a:gd name="connsiteY94-14176" fmla="*/ 2425754 h 5321354"/>
              <a:gd name="connsiteX95-14177" fmla="*/ 10498373 w 10693106"/>
              <a:gd name="connsiteY95-14178" fmla="*/ 2510421 h 5321354"/>
              <a:gd name="connsiteX96-14179" fmla="*/ 10439106 w 10693106"/>
              <a:gd name="connsiteY96-14180" fmla="*/ 2696688 h 5321354"/>
              <a:gd name="connsiteX97-14181" fmla="*/ 10430640 w 10693106"/>
              <a:gd name="connsiteY97-14182" fmla="*/ 2739021 h 5321354"/>
              <a:gd name="connsiteX98-14183" fmla="*/ 10405240 w 10693106"/>
              <a:gd name="connsiteY98-14184" fmla="*/ 2815221 h 5321354"/>
              <a:gd name="connsiteX99-14185" fmla="*/ 10396773 w 10693106"/>
              <a:gd name="connsiteY99-14186" fmla="*/ 2849088 h 5321354"/>
              <a:gd name="connsiteX100-14187" fmla="*/ 10362906 w 10693106"/>
              <a:gd name="connsiteY100-14188" fmla="*/ 2942221 h 5321354"/>
              <a:gd name="connsiteX101-14189" fmla="*/ 10329040 w 10693106"/>
              <a:gd name="connsiteY101-14190" fmla="*/ 2984554 h 5321354"/>
              <a:gd name="connsiteX102-14191" fmla="*/ 10227440 w 10693106"/>
              <a:gd name="connsiteY102-14192" fmla="*/ 3086154 h 5321354"/>
              <a:gd name="connsiteX103-14193" fmla="*/ 10168173 w 10693106"/>
              <a:gd name="connsiteY103-14194" fmla="*/ 3153888 h 5321354"/>
              <a:gd name="connsiteX104-14195" fmla="*/ 10117373 w 10693106"/>
              <a:gd name="connsiteY104-14196" fmla="*/ 3204688 h 5321354"/>
              <a:gd name="connsiteX105-14197" fmla="*/ 10032706 w 10693106"/>
              <a:gd name="connsiteY105-14198" fmla="*/ 3306288 h 5321354"/>
              <a:gd name="connsiteX106-14199" fmla="*/ 9948040 w 10693106"/>
              <a:gd name="connsiteY106-14200" fmla="*/ 3365554 h 5321354"/>
              <a:gd name="connsiteX107-14201" fmla="*/ 9905706 w 10693106"/>
              <a:gd name="connsiteY107-14202" fmla="*/ 3390954 h 5321354"/>
              <a:gd name="connsiteX108-14203" fmla="*/ 9829506 w 10693106"/>
              <a:gd name="connsiteY108-14204" fmla="*/ 3407888 h 5321354"/>
              <a:gd name="connsiteX109-14205" fmla="*/ 9727906 w 10693106"/>
              <a:gd name="connsiteY109-14206" fmla="*/ 3450221 h 5321354"/>
              <a:gd name="connsiteX110-14207" fmla="*/ 9634773 w 10693106"/>
              <a:gd name="connsiteY110-14208" fmla="*/ 3475621 h 5321354"/>
              <a:gd name="connsiteX111-14209" fmla="*/ 9456973 w 10693106"/>
              <a:gd name="connsiteY111-14210" fmla="*/ 3568754 h 5321354"/>
              <a:gd name="connsiteX112-14211" fmla="*/ 9313040 w 10693106"/>
              <a:gd name="connsiteY112-14212" fmla="*/ 3695754 h 5321354"/>
              <a:gd name="connsiteX113-14213" fmla="*/ 9279173 w 10693106"/>
              <a:gd name="connsiteY113-14214" fmla="*/ 3712688 h 5321354"/>
              <a:gd name="connsiteX114-14215" fmla="*/ 9067506 w 10693106"/>
              <a:gd name="connsiteY114-14216" fmla="*/ 3890488 h 5321354"/>
              <a:gd name="connsiteX115-14217" fmla="*/ 8999773 w 10693106"/>
              <a:gd name="connsiteY115-14218" fmla="*/ 3958221 h 5321354"/>
              <a:gd name="connsiteX116-14219" fmla="*/ 8813506 w 10693106"/>
              <a:gd name="connsiteY116-14220" fmla="*/ 4093688 h 5321354"/>
              <a:gd name="connsiteX117-14221" fmla="*/ 8728840 w 10693106"/>
              <a:gd name="connsiteY117-14222" fmla="*/ 4136021 h 5321354"/>
              <a:gd name="connsiteX118-14223" fmla="*/ 8373240 w 10693106"/>
              <a:gd name="connsiteY118-14224" fmla="*/ 4169888 h 5321354"/>
              <a:gd name="connsiteX119-14225" fmla="*/ 7966840 w 10693106"/>
              <a:gd name="connsiteY119-14226" fmla="*/ 4263021 h 5321354"/>
              <a:gd name="connsiteX120-14227" fmla="*/ 7687440 w 10693106"/>
              <a:gd name="connsiteY120-14228" fmla="*/ 4423888 h 5321354"/>
              <a:gd name="connsiteX121-14229" fmla="*/ 7551973 w 10693106"/>
              <a:gd name="connsiteY121-14230" fmla="*/ 4508554 h 5321354"/>
              <a:gd name="connsiteX122-14231" fmla="*/ 7374173 w 10693106"/>
              <a:gd name="connsiteY122-14232" fmla="*/ 4686354 h 5321354"/>
              <a:gd name="connsiteX123-14233" fmla="*/ 7374173 w 10693106"/>
              <a:gd name="connsiteY123-14234" fmla="*/ 4686354 h 5321354"/>
              <a:gd name="connsiteX124-14235" fmla="*/ 7221773 w 10693106"/>
              <a:gd name="connsiteY124-14236" fmla="*/ 4804888 h 5321354"/>
              <a:gd name="connsiteX125-14237" fmla="*/ 7027040 w 10693106"/>
              <a:gd name="connsiteY125-14238" fmla="*/ 4931888 h 5321354"/>
              <a:gd name="connsiteX126-14239" fmla="*/ 6883106 w 10693106"/>
              <a:gd name="connsiteY126-14240" fmla="*/ 4999621 h 5321354"/>
              <a:gd name="connsiteX127-14241" fmla="*/ 6815373 w 10693106"/>
              <a:gd name="connsiteY127-14242" fmla="*/ 5041954 h 5321354"/>
              <a:gd name="connsiteX128-14243" fmla="*/ 6646040 w 10693106"/>
              <a:gd name="connsiteY128-14244" fmla="*/ 5135088 h 5321354"/>
              <a:gd name="connsiteX129-14245" fmla="*/ 6527506 w 10693106"/>
              <a:gd name="connsiteY129-14246" fmla="*/ 5194354 h 5321354"/>
              <a:gd name="connsiteX130-14247" fmla="*/ 6298906 w 10693106"/>
              <a:gd name="connsiteY130-14248" fmla="*/ 5270554 h 5321354"/>
              <a:gd name="connsiteX131-14249" fmla="*/ 6197306 w 10693106"/>
              <a:gd name="connsiteY131-14250" fmla="*/ 5295954 h 5321354"/>
              <a:gd name="connsiteX132-14251" fmla="*/ 6061840 w 10693106"/>
              <a:gd name="connsiteY132-14252" fmla="*/ 5304421 h 5321354"/>
              <a:gd name="connsiteX133-14253" fmla="*/ 5917906 w 10693106"/>
              <a:gd name="connsiteY133-14254" fmla="*/ 5321354 h 5321354"/>
              <a:gd name="connsiteX134-14255" fmla="*/ 5748573 w 10693106"/>
              <a:gd name="connsiteY134-14256" fmla="*/ 5312888 h 5321354"/>
              <a:gd name="connsiteX135-14257" fmla="*/ 5282906 w 10693106"/>
              <a:gd name="connsiteY135-14258" fmla="*/ 5202821 h 5321354"/>
              <a:gd name="connsiteX136-14259" fmla="*/ 5138973 w 10693106"/>
              <a:gd name="connsiteY136-14260" fmla="*/ 5101221 h 5321354"/>
              <a:gd name="connsiteX137-14261" fmla="*/ 4959480 w 10693106"/>
              <a:gd name="connsiteY137-14262" fmla="*/ 5017401 h 5321354"/>
              <a:gd name="connsiteX138-14263" fmla="*/ 4842216 w 10693106"/>
              <a:gd name="connsiteY138-14264" fmla="*/ 4983111 h 5321354"/>
              <a:gd name="connsiteX139-14265" fmla="*/ 4797343 w 10693106"/>
              <a:gd name="connsiteY139-14266" fmla="*/ 4907758 h 5321354"/>
              <a:gd name="connsiteX140-14267" fmla="*/ 4686853 w 10693106"/>
              <a:gd name="connsiteY140-14268" fmla="*/ 4817588 h 5321354"/>
              <a:gd name="connsiteX141-14269" fmla="*/ 4536146 w 10693106"/>
              <a:gd name="connsiteY141-14270" fmla="*/ 4742234 h 5321354"/>
              <a:gd name="connsiteX142-14271" fmla="*/ 4365120 w 10693106"/>
              <a:gd name="connsiteY142-14272" fmla="*/ 4645714 h 5321354"/>
              <a:gd name="connsiteX143-14273" fmla="*/ 4187743 w 10693106"/>
              <a:gd name="connsiteY143-14274" fmla="*/ 4550888 h 5321354"/>
              <a:gd name="connsiteX144-14275" fmla="*/ 4038306 w 10693106"/>
              <a:gd name="connsiteY144-14276" fmla="*/ 4395101 h 5321354"/>
              <a:gd name="connsiteX145-14277" fmla="*/ 3893103 w 10693106"/>
              <a:gd name="connsiteY145-14278" fmla="*/ 4284611 h 5321354"/>
              <a:gd name="connsiteX146-14279" fmla="*/ 3882520 w 10693106"/>
              <a:gd name="connsiteY146-14280" fmla="*/ 4210104 h 5321354"/>
              <a:gd name="connsiteX147-14281" fmla="*/ 3895643 w 10693106"/>
              <a:gd name="connsiteY147-14282" fmla="*/ 4089031 h 5321354"/>
              <a:gd name="connsiteX148-14283" fmla="*/ 3919773 w 10693106"/>
              <a:gd name="connsiteY148-14284" fmla="*/ 3949754 h 5321354"/>
              <a:gd name="connsiteX149-14285" fmla="*/ 3877440 w 10693106"/>
              <a:gd name="connsiteY149-14286" fmla="*/ 3653421 h 5321354"/>
              <a:gd name="connsiteX150-14287" fmla="*/ 3852040 w 10693106"/>
              <a:gd name="connsiteY150-14288" fmla="*/ 3560288 h 5321354"/>
              <a:gd name="connsiteX151-14289" fmla="*/ 3801240 w 10693106"/>
              <a:gd name="connsiteY151-14290" fmla="*/ 3450221 h 5321354"/>
              <a:gd name="connsiteX152-14291" fmla="*/ 3733506 w 10693106"/>
              <a:gd name="connsiteY152-14292" fmla="*/ 3348621 h 5321354"/>
              <a:gd name="connsiteX153-14293" fmla="*/ 3242440 w 10693106"/>
              <a:gd name="connsiteY153-14294" fmla="*/ 3128488 h 5321354"/>
              <a:gd name="connsiteX154-14295" fmla="*/ 3123906 w 10693106"/>
              <a:gd name="connsiteY154-14296" fmla="*/ 3026888 h 5321354"/>
              <a:gd name="connsiteX155-14297" fmla="*/ 2988440 w 10693106"/>
              <a:gd name="connsiteY155-14298" fmla="*/ 2832154 h 5321354"/>
              <a:gd name="connsiteX156-14299" fmla="*/ 2971506 w 10693106"/>
              <a:gd name="connsiteY156-14300" fmla="*/ 2772888 h 5321354"/>
              <a:gd name="connsiteX157-14301" fmla="*/ 2996906 w 10693106"/>
              <a:gd name="connsiteY157-14302" fmla="*/ 2561221 h 5321354"/>
              <a:gd name="connsiteX158-14303" fmla="*/ 3013840 w 10693106"/>
              <a:gd name="connsiteY158-14304" fmla="*/ 2459621 h 5321354"/>
              <a:gd name="connsiteX159-14305" fmla="*/ 3005373 w 10693106"/>
              <a:gd name="connsiteY159-14306" fmla="*/ 2341088 h 5321354"/>
              <a:gd name="connsiteX160-14307" fmla="*/ 2988440 w 10693106"/>
              <a:gd name="connsiteY160-14308" fmla="*/ 2290288 h 5321354"/>
              <a:gd name="connsiteX161-14309" fmla="*/ 2802173 w 10693106"/>
              <a:gd name="connsiteY161-14310" fmla="*/ 2036288 h 5321354"/>
              <a:gd name="connsiteX162-14311" fmla="*/ 2641306 w 10693106"/>
              <a:gd name="connsiteY162-14312" fmla="*/ 1892354 h 5321354"/>
              <a:gd name="connsiteX163-14313" fmla="*/ 2590506 w 10693106"/>
              <a:gd name="connsiteY163-14314" fmla="*/ 1866954 h 5321354"/>
              <a:gd name="connsiteX164-14315" fmla="*/ 2531240 w 10693106"/>
              <a:gd name="connsiteY164-14316" fmla="*/ 1858488 h 5321354"/>
              <a:gd name="connsiteX165-14317" fmla="*/ 2446573 w 10693106"/>
              <a:gd name="connsiteY165-14318" fmla="*/ 1841554 h 5321354"/>
              <a:gd name="connsiteX166-14319" fmla="*/ 2251840 w 10693106"/>
              <a:gd name="connsiteY166-14320" fmla="*/ 1866954 h 5321354"/>
              <a:gd name="connsiteX167-14321" fmla="*/ 2167173 w 10693106"/>
              <a:gd name="connsiteY167-14322" fmla="*/ 1909288 h 5321354"/>
              <a:gd name="connsiteX168-14323" fmla="*/ 1980906 w 10693106"/>
              <a:gd name="connsiteY168-14324" fmla="*/ 1968554 h 5321354"/>
              <a:gd name="connsiteX169-14325" fmla="*/ 1904706 w 10693106"/>
              <a:gd name="connsiteY169-14326" fmla="*/ 2002421 h 5321354"/>
              <a:gd name="connsiteX170-14327" fmla="*/ 1828506 w 10693106"/>
              <a:gd name="connsiteY170-14328" fmla="*/ 2019354 h 5321354"/>
              <a:gd name="connsiteX171-14329" fmla="*/ 1726906 w 10693106"/>
              <a:gd name="connsiteY171-14330" fmla="*/ 2070154 h 5321354"/>
              <a:gd name="connsiteX172-14331" fmla="*/ 1659173 w 10693106"/>
              <a:gd name="connsiteY172-14332" fmla="*/ 2104021 h 5321354"/>
              <a:gd name="connsiteX173-14333" fmla="*/ 1498306 w 10693106"/>
              <a:gd name="connsiteY173-14334" fmla="*/ 2129421 h 5321354"/>
              <a:gd name="connsiteX174-14335" fmla="*/ 914106 w 10693106"/>
              <a:gd name="connsiteY174-14336" fmla="*/ 2061688 h 5321354"/>
              <a:gd name="connsiteX175-14337" fmla="*/ 617773 w 10693106"/>
              <a:gd name="connsiteY175-14338" fmla="*/ 1951621 h 5321354"/>
              <a:gd name="connsiteX176-14339" fmla="*/ 516173 w 10693106"/>
              <a:gd name="connsiteY176-14340" fmla="*/ 1866954 h 5321354"/>
              <a:gd name="connsiteX177-14341" fmla="*/ 355306 w 10693106"/>
              <a:gd name="connsiteY177-14342" fmla="*/ 1655288 h 5321354"/>
              <a:gd name="connsiteX178-14343" fmla="*/ 296040 w 10693106"/>
              <a:gd name="connsiteY178-14344" fmla="*/ 1553688 h 5321354"/>
              <a:gd name="connsiteX179-14345" fmla="*/ 253706 w 10693106"/>
              <a:gd name="connsiteY179-14346" fmla="*/ 1375888 h 5321354"/>
              <a:gd name="connsiteX180-14347" fmla="*/ 245240 w 10693106"/>
              <a:gd name="connsiteY180-14348" fmla="*/ 1248888 h 5321354"/>
              <a:gd name="connsiteX181-14349" fmla="*/ 236773 w 10693106"/>
              <a:gd name="connsiteY181-14350" fmla="*/ 1147288 h 5321354"/>
              <a:gd name="connsiteX182-14351" fmla="*/ 245240 w 10693106"/>
              <a:gd name="connsiteY182-14352" fmla="*/ 876354 h 5321354"/>
              <a:gd name="connsiteX183-14353" fmla="*/ 236773 w 10693106"/>
              <a:gd name="connsiteY183-14354" fmla="*/ 732421 h 5321354"/>
              <a:gd name="connsiteX184-14355" fmla="*/ 109773 w 10693106"/>
              <a:gd name="connsiteY184-14356" fmla="*/ 588488 h 5321354"/>
              <a:gd name="connsiteX185-14357" fmla="*/ 58973 w 10693106"/>
              <a:gd name="connsiteY185-14358" fmla="*/ 512288 h 5321354"/>
              <a:gd name="connsiteX186-14359" fmla="*/ 16640 w 10693106"/>
              <a:gd name="connsiteY186-14360" fmla="*/ 461488 h 5321354"/>
              <a:gd name="connsiteX187-14361" fmla="*/ 8173 w 10693106"/>
              <a:gd name="connsiteY187-14362" fmla="*/ 419154 h 5321354"/>
              <a:gd name="connsiteX188-14363" fmla="*/ 16640 w 10693106"/>
              <a:gd name="connsiteY188-14364" fmla="*/ 368354 h 5321354"/>
              <a:gd name="connsiteX0-14365" fmla="*/ 16640 w 10693106"/>
              <a:gd name="connsiteY0-14366" fmla="*/ 364071 h 5317071"/>
              <a:gd name="connsiteX1-14367" fmla="*/ 58973 w 10693106"/>
              <a:gd name="connsiteY1-14368" fmla="*/ 270938 h 5317071"/>
              <a:gd name="connsiteX2-14369" fmla="*/ 109773 w 10693106"/>
              <a:gd name="connsiteY2-14370" fmla="*/ 203205 h 5317071"/>
              <a:gd name="connsiteX3-14371" fmla="*/ 202906 w 10693106"/>
              <a:gd name="connsiteY3-14372" fmla="*/ 118538 h 5317071"/>
              <a:gd name="connsiteX4-14373" fmla="*/ 236773 w 10693106"/>
              <a:gd name="connsiteY4-14374" fmla="*/ 93138 h 5317071"/>
              <a:gd name="connsiteX5-14375" fmla="*/ 346840 w 10693106"/>
              <a:gd name="connsiteY5-14376" fmla="*/ 33871 h 5317071"/>
              <a:gd name="connsiteX6-14377" fmla="*/ 397640 w 10693106"/>
              <a:gd name="connsiteY6-14378" fmla="*/ 5 h 5317071"/>
              <a:gd name="connsiteX7-14379" fmla="*/ 463487 w 10693106"/>
              <a:gd name="connsiteY7-14380" fmla="*/ 36065 h 5317071"/>
              <a:gd name="connsiteX8-14381" fmla="*/ 492697 w 10693106"/>
              <a:gd name="connsiteY8-14382" fmla="*/ 99296 h 5317071"/>
              <a:gd name="connsiteX9-14383" fmla="*/ 822897 w 10693106"/>
              <a:gd name="connsiteY9-14384" fmla="*/ 107762 h 5317071"/>
              <a:gd name="connsiteX10-14385" fmla="*/ 1091906 w 10693106"/>
              <a:gd name="connsiteY10-14386" fmla="*/ 25405 h 5317071"/>
              <a:gd name="connsiteX11-14387" fmla="*/ 1235840 w 10693106"/>
              <a:gd name="connsiteY11-14388" fmla="*/ 84671 h 5317071"/>
              <a:gd name="connsiteX12-14389" fmla="*/ 1337440 w 10693106"/>
              <a:gd name="connsiteY12-14390" fmla="*/ 160871 h 5317071"/>
              <a:gd name="connsiteX13-14391" fmla="*/ 1422106 w 10693106"/>
              <a:gd name="connsiteY13-14392" fmla="*/ 270938 h 5317071"/>
              <a:gd name="connsiteX14-14393" fmla="*/ 1481373 w 10693106"/>
              <a:gd name="connsiteY14-14394" fmla="*/ 338671 h 5317071"/>
              <a:gd name="connsiteX15-14395" fmla="*/ 1532173 w 10693106"/>
              <a:gd name="connsiteY15-14396" fmla="*/ 372538 h 5317071"/>
              <a:gd name="connsiteX16-14397" fmla="*/ 1684573 w 10693106"/>
              <a:gd name="connsiteY16-14398" fmla="*/ 431805 h 5317071"/>
              <a:gd name="connsiteX17-14399" fmla="*/ 1760773 w 10693106"/>
              <a:gd name="connsiteY17-14400" fmla="*/ 448738 h 5317071"/>
              <a:gd name="connsiteX18-14401" fmla="*/ 1997840 w 10693106"/>
              <a:gd name="connsiteY18-14402" fmla="*/ 440271 h 5317071"/>
              <a:gd name="connsiteX19-14403" fmla="*/ 2116373 w 10693106"/>
              <a:gd name="connsiteY19-14404" fmla="*/ 423338 h 5317071"/>
              <a:gd name="connsiteX20-14405" fmla="*/ 2260306 w 10693106"/>
              <a:gd name="connsiteY20-14406" fmla="*/ 406405 h 5317071"/>
              <a:gd name="connsiteX21-14407" fmla="*/ 2404240 w 10693106"/>
              <a:gd name="connsiteY21-14408" fmla="*/ 381005 h 5317071"/>
              <a:gd name="connsiteX22-14409" fmla="*/ 2455040 w 10693106"/>
              <a:gd name="connsiteY22-14410" fmla="*/ 355605 h 5317071"/>
              <a:gd name="connsiteX23-14411" fmla="*/ 2531240 w 10693106"/>
              <a:gd name="connsiteY23-14412" fmla="*/ 330205 h 5317071"/>
              <a:gd name="connsiteX24-14413" fmla="*/ 2649350 w 10693106"/>
              <a:gd name="connsiteY24-14414" fmla="*/ 250830 h 5317071"/>
              <a:gd name="connsiteX25-14415" fmla="*/ 2742906 w 10693106"/>
              <a:gd name="connsiteY25-14416" fmla="*/ 211671 h 5317071"/>
              <a:gd name="connsiteX26-14417" fmla="*/ 2764920 w 10693106"/>
              <a:gd name="connsiteY26-14418" fmla="*/ 198125 h 5317071"/>
              <a:gd name="connsiteX27-14419" fmla="*/ 2832653 w 10693106"/>
              <a:gd name="connsiteY27-14420" fmla="*/ 193045 h 5317071"/>
              <a:gd name="connsiteX28-14421" fmla="*/ 3002294 w 10693106"/>
              <a:gd name="connsiteY28-14422" fmla="*/ 179729 h 5317071"/>
              <a:gd name="connsiteX29-14423" fmla="*/ 3142763 w 10693106"/>
              <a:gd name="connsiteY29-14424" fmla="*/ 135470 h 5317071"/>
              <a:gd name="connsiteX30-14425" fmla="*/ 3398918 w 10693106"/>
              <a:gd name="connsiteY30-14426" fmla="*/ 97371 h 5317071"/>
              <a:gd name="connsiteX31-14427" fmla="*/ 3606506 w 10693106"/>
              <a:gd name="connsiteY31-14428" fmla="*/ 85442 h 5317071"/>
              <a:gd name="connsiteX32-14429" fmla="*/ 3682706 w 10693106"/>
              <a:gd name="connsiteY32-14430" fmla="*/ 104991 h 5317071"/>
              <a:gd name="connsiteX33-14431" fmla="*/ 3741973 w 10693106"/>
              <a:gd name="connsiteY33-14432" fmla="*/ 111610 h 5317071"/>
              <a:gd name="connsiteX34-14433" fmla="*/ 3794678 w 10693106"/>
              <a:gd name="connsiteY34-14434" fmla="*/ 126370 h 5317071"/>
              <a:gd name="connsiteX35-14435" fmla="*/ 3833625 w 10693106"/>
              <a:gd name="connsiteY35-14436" fmla="*/ 135895 h 5317071"/>
              <a:gd name="connsiteX36-14437" fmla="*/ 3892487 w 10693106"/>
              <a:gd name="connsiteY36-14438" fmla="*/ 142033 h 5317071"/>
              <a:gd name="connsiteX37-14439" fmla="*/ 3933108 w 10693106"/>
              <a:gd name="connsiteY37-14440" fmla="*/ 153886 h 5317071"/>
              <a:gd name="connsiteX38-14441" fmla="*/ 3976923 w 10693106"/>
              <a:gd name="connsiteY38-14442" fmla="*/ 160236 h 5317071"/>
              <a:gd name="connsiteX39-14443" fmla="*/ 4021373 w 10693106"/>
              <a:gd name="connsiteY39-14444" fmla="*/ 169338 h 5317071"/>
              <a:gd name="connsiteX40-14445" fmla="*/ 4055240 w 10693106"/>
              <a:gd name="connsiteY40-14446" fmla="*/ 177805 h 5317071"/>
              <a:gd name="connsiteX41-14447" fmla="*/ 4275373 w 10693106"/>
              <a:gd name="connsiteY41-14448" fmla="*/ 220138 h 5317071"/>
              <a:gd name="connsiteX42-14449" fmla="*/ 4402373 w 10693106"/>
              <a:gd name="connsiteY42-14450" fmla="*/ 254005 h 5317071"/>
              <a:gd name="connsiteX43-14451" fmla="*/ 4529373 w 10693106"/>
              <a:gd name="connsiteY43-14452" fmla="*/ 296338 h 5317071"/>
              <a:gd name="connsiteX44-14453" fmla="*/ 4859573 w 10693106"/>
              <a:gd name="connsiteY44-14454" fmla="*/ 372538 h 5317071"/>
              <a:gd name="connsiteX45-14455" fmla="*/ 5045840 w 10693106"/>
              <a:gd name="connsiteY45-14456" fmla="*/ 448738 h 5317071"/>
              <a:gd name="connsiteX46-14457" fmla="*/ 5325240 w 10693106"/>
              <a:gd name="connsiteY46-14458" fmla="*/ 609605 h 5317071"/>
              <a:gd name="connsiteX47-14459" fmla="*/ 5494573 w 10693106"/>
              <a:gd name="connsiteY47-14460" fmla="*/ 762005 h 5317071"/>
              <a:gd name="connsiteX48-14461" fmla="*/ 5562306 w 10693106"/>
              <a:gd name="connsiteY48-14462" fmla="*/ 838205 h 5317071"/>
              <a:gd name="connsiteX49-14463" fmla="*/ 5621573 w 10693106"/>
              <a:gd name="connsiteY49-14464" fmla="*/ 889005 h 5317071"/>
              <a:gd name="connsiteX50-14465" fmla="*/ 5672373 w 10693106"/>
              <a:gd name="connsiteY50-14466" fmla="*/ 956738 h 5317071"/>
              <a:gd name="connsiteX51-14467" fmla="*/ 5757040 w 10693106"/>
              <a:gd name="connsiteY51-14468" fmla="*/ 1058338 h 5317071"/>
              <a:gd name="connsiteX52-14469" fmla="*/ 5833240 w 10693106"/>
              <a:gd name="connsiteY52-14470" fmla="*/ 1151471 h 5317071"/>
              <a:gd name="connsiteX53-14471" fmla="*/ 6019506 w 10693106"/>
              <a:gd name="connsiteY53-14472" fmla="*/ 1354671 h 5317071"/>
              <a:gd name="connsiteX54-14473" fmla="*/ 6087240 w 10693106"/>
              <a:gd name="connsiteY54-14474" fmla="*/ 1405471 h 5317071"/>
              <a:gd name="connsiteX55-14475" fmla="*/ 6171906 w 10693106"/>
              <a:gd name="connsiteY55-14476" fmla="*/ 1507071 h 5317071"/>
              <a:gd name="connsiteX56-14477" fmla="*/ 6451306 w 10693106"/>
              <a:gd name="connsiteY56-14478" fmla="*/ 1718738 h 5317071"/>
              <a:gd name="connsiteX57-14479" fmla="*/ 6519040 w 10693106"/>
              <a:gd name="connsiteY57-14480" fmla="*/ 1727205 h 5317071"/>
              <a:gd name="connsiteX58-14481" fmla="*/ 6603706 w 10693106"/>
              <a:gd name="connsiteY58-14482" fmla="*/ 1761071 h 5317071"/>
              <a:gd name="connsiteX59-14483" fmla="*/ 6671440 w 10693106"/>
              <a:gd name="connsiteY59-14484" fmla="*/ 1794938 h 5317071"/>
              <a:gd name="connsiteX60-14485" fmla="*/ 6866173 w 10693106"/>
              <a:gd name="connsiteY60-14486" fmla="*/ 1820338 h 5317071"/>
              <a:gd name="connsiteX61-14487" fmla="*/ 7196373 w 10693106"/>
              <a:gd name="connsiteY61-14488" fmla="*/ 1803405 h 5317071"/>
              <a:gd name="connsiteX62-14489" fmla="*/ 7509640 w 10693106"/>
              <a:gd name="connsiteY62-14490" fmla="*/ 1727205 h 5317071"/>
              <a:gd name="connsiteX63-14491" fmla="*/ 7628173 w 10693106"/>
              <a:gd name="connsiteY63-14492" fmla="*/ 1701805 h 5317071"/>
              <a:gd name="connsiteX64-14493" fmla="*/ 7704373 w 10693106"/>
              <a:gd name="connsiteY64-14494" fmla="*/ 1659471 h 5317071"/>
              <a:gd name="connsiteX65-14495" fmla="*/ 7755173 w 10693106"/>
              <a:gd name="connsiteY65-14496" fmla="*/ 1651005 h 5317071"/>
              <a:gd name="connsiteX66-14497" fmla="*/ 7797506 w 10693106"/>
              <a:gd name="connsiteY66-14498" fmla="*/ 1617138 h 5317071"/>
              <a:gd name="connsiteX67-14499" fmla="*/ 7856773 w 10693106"/>
              <a:gd name="connsiteY67-14500" fmla="*/ 1600205 h 5317071"/>
              <a:gd name="connsiteX68-14501" fmla="*/ 7958373 w 10693106"/>
              <a:gd name="connsiteY68-14502" fmla="*/ 1532471 h 5317071"/>
              <a:gd name="connsiteX69-14503" fmla="*/ 8009173 w 10693106"/>
              <a:gd name="connsiteY69-14504" fmla="*/ 1481671 h 5317071"/>
              <a:gd name="connsiteX70-14505" fmla="*/ 8339373 w 10693106"/>
              <a:gd name="connsiteY70-14506" fmla="*/ 1236138 h 5317071"/>
              <a:gd name="connsiteX71-14507" fmla="*/ 8576440 w 10693106"/>
              <a:gd name="connsiteY71-14508" fmla="*/ 982138 h 5317071"/>
              <a:gd name="connsiteX72-14509" fmla="*/ 8652640 w 10693106"/>
              <a:gd name="connsiteY72-14510" fmla="*/ 702738 h 5317071"/>
              <a:gd name="connsiteX73-14511" fmla="*/ 8847373 w 10693106"/>
              <a:gd name="connsiteY73-14512" fmla="*/ 516471 h 5317071"/>
              <a:gd name="connsiteX74-14513" fmla="*/ 8982840 w 10693106"/>
              <a:gd name="connsiteY74-14514" fmla="*/ 423338 h 5317071"/>
              <a:gd name="connsiteX75-14515" fmla="*/ 9084440 w 10693106"/>
              <a:gd name="connsiteY75-14516" fmla="*/ 389471 h 5317071"/>
              <a:gd name="connsiteX76-14517" fmla="*/ 9152173 w 10693106"/>
              <a:gd name="connsiteY76-14518" fmla="*/ 364071 h 5317071"/>
              <a:gd name="connsiteX77-14519" fmla="*/ 9380773 w 10693106"/>
              <a:gd name="connsiteY77-14520" fmla="*/ 381005 h 5317071"/>
              <a:gd name="connsiteX78-14521" fmla="*/ 9744840 w 10693106"/>
              <a:gd name="connsiteY78-14522" fmla="*/ 491071 h 5317071"/>
              <a:gd name="connsiteX79-14523" fmla="*/ 9888773 w 10693106"/>
              <a:gd name="connsiteY79-14524" fmla="*/ 533405 h 5317071"/>
              <a:gd name="connsiteX80-14525" fmla="*/ 9998840 w 10693106"/>
              <a:gd name="connsiteY80-14526" fmla="*/ 584205 h 5317071"/>
              <a:gd name="connsiteX81-14527" fmla="*/ 10083506 w 10693106"/>
              <a:gd name="connsiteY81-14528" fmla="*/ 643471 h 5317071"/>
              <a:gd name="connsiteX82-14529" fmla="*/ 10286706 w 10693106"/>
              <a:gd name="connsiteY82-14530" fmla="*/ 711205 h 5317071"/>
              <a:gd name="connsiteX83-14531" fmla="*/ 10388306 w 10693106"/>
              <a:gd name="connsiteY83-14532" fmla="*/ 914405 h 5317071"/>
              <a:gd name="connsiteX84-14533" fmla="*/ 10540706 w 10693106"/>
              <a:gd name="connsiteY84-14534" fmla="*/ 1286938 h 5317071"/>
              <a:gd name="connsiteX85-14535" fmla="*/ 10557640 w 10693106"/>
              <a:gd name="connsiteY85-14536" fmla="*/ 1371605 h 5317071"/>
              <a:gd name="connsiteX86-14537" fmla="*/ 10583040 w 10693106"/>
              <a:gd name="connsiteY86-14538" fmla="*/ 1473205 h 5317071"/>
              <a:gd name="connsiteX87-14539" fmla="*/ 10616906 w 10693106"/>
              <a:gd name="connsiteY87-14540" fmla="*/ 1676405 h 5317071"/>
              <a:gd name="connsiteX88-14541" fmla="*/ 10633840 w 10693106"/>
              <a:gd name="connsiteY88-14542" fmla="*/ 1761071 h 5317071"/>
              <a:gd name="connsiteX89-14543" fmla="*/ 10650773 w 10693106"/>
              <a:gd name="connsiteY89-14544" fmla="*/ 1794938 h 5317071"/>
              <a:gd name="connsiteX90-14545" fmla="*/ 10676173 w 10693106"/>
              <a:gd name="connsiteY90-14546" fmla="*/ 1879605 h 5317071"/>
              <a:gd name="connsiteX91-14547" fmla="*/ 10693106 w 10693106"/>
              <a:gd name="connsiteY91-14548" fmla="*/ 2032005 h 5317071"/>
              <a:gd name="connsiteX92-14549" fmla="*/ 10625373 w 10693106"/>
              <a:gd name="connsiteY92-14550" fmla="*/ 2252138 h 5317071"/>
              <a:gd name="connsiteX93-14551" fmla="*/ 10608440 w 10693106"/>
              <a:gd name="connsiteY93-14552" fmla="*/ 2277538 h 5317071"/>
              <a:gd name="connsiteX94-14553" fmla="*/ 10540706 w 10693106"/>
              <a:gd name="connsiteY94-14554" fmla="*/ 2421471 h 5317071"/>
              <a:gd name="connsiteX95-14555" fmla="*/ 10498373 w 10693106"/>
              <a:gd name="connsiteY95-14556" fmla="*/ 2506138 h 5317071"/>
              <a:gd name="connsiteX96-14557" fmla="*/ 10439106 w 10693106"/>
              <a:gd name="connsiteY96-14558" fmla="*/ 2692405 h 5317071"/>
              <a:gd name="connsiteX97-14559" fmla="*/ 10430640 w 10693106"/>
              <a:gd name="connsiteY97-14560" fmla="*/ 2734738 h 5317071"/>
              <a:gd name="connsiteX98-14561" fmla="*/ 10405240 w 10693106"/>
              <a:gd name="connsiteY98-14562" fmla="*/ 2810938 h 5317071"/>
              <a:gd name="connsiteX99-14563" fmla="*/ 10396773 w 10693106"/>
              <a:gd name="connsiteY99-14564" fmla="*/ 2844805 h 5317071"/>
              <a:gd name="connsiteX100-14565" fmla="*/ 10362906 w 10693106"/>
              <a:gd name="connsiteY100-14566" fmla="*/ 2937938 h 5317071"/>
              <a:gd name="connsiteX101-14567" fmla="*/ 10329040 w 10693106"/>
              <a:gd name="connsiteY101-14568" fmla="*/ 2980271 h 5317071"/>
              <a:gd name="connsiteX102-14569" fmla="*/ 10227440 w 10693106"/>
              <a:gd name="connsiteY102-14570" fmla="*/ 3081871 h 5317071"/>
              <a:gd name="connsiteX103-14571" fmla="*/ 10168173 w 10693106"/>
              <a:gd name="connsiteY103-14572" fmla="*/ 3149605 h 5317071"/>
              <a:gd name="connsiteX104-14573" fmla="*/ 10117373 w 10693106"/>
              <a:gd name="connsiteY104-14574" fmla="*/ 3200405 h 5317071"/>
              <a:gd name="connsiteX105-14575" fmla="*/ 10032706 w 10693106"/>
              <a:gd name="connsiteY105-14576" fmla="*/ 3302005 h 5317071"/>
              <a:gd name="connsiteX106-14577" fmla="*/ 9948040 w 10693106"/>
              <a:gd name="connsiteY106-14578" fmla="*/ 3361271 h 5317071"/>
              <a:gd name="connsiteX107-14579" fmla="*/ 9905706 w 10693106"/>
              <a:gd name="connsiteY107-14580" fmla="*/ 3386671 h 5317071"/>
              <a:gd name="connsiteX108-14581" fmla="*/ 9829506 w 10693106"/>
              <a:gd name="connsiteY108-14582" fmla="*/ 3403605 h 5317071"/>
              <a:gd name="connsiteX109-14583" fmla="*/ 9727906 w 10693106"/>
              <a:gd name="connsiteY109-14584" fmla="*/ 3445938 h 5317071"/>
              <a:gd name="connsiteX110-14585" fmla="*/ 9634773 w 10693106"/>
              <a:gd name="connsiteY110-14586" fmla="*/ 3471338 h 5317071"/>
              <a:gd name="connsiteX111-14587" fmla="*/ 9456973 w 10693106"/>
              <a:gd name="connsiteY111-14588" fmla="*/ 3564471 h 5317071"/>
              <a:gd name="connsiteX112-14589" fmla="*/ 9313040 w 10693106"/>
              <a:gd name="connsiteY112-14590" fmla="*/ 3691471 h 5317071"/>
              <a:gd name="connsiteX113-14591" fmla="*/ 9279173 w 10693106"/>
              <a:gd name="connsiteY113-14592" fmla="*/ 3708405 h 5317071"/>
              <a:gd name="connsiteX114-14593" fmla="*/ 9067506 w 10693106"/>
              <a:gd name="connsiteY114-14594" fmla="*/ 3886205 h 5317071"/>
              <a:gd name="connsiteX115-14595" fmla="*/ 8999773 w 10693106"/>
              <a:gd name="connsiteY115-14596" fmla="*/ 3953938 h 5317071"/>
              <a:gd name="connsiteX116-14597" fmla="*/ 8813506 w 10693106"/>
              <a:gd name="connsiteY116-14598" fmla="*/ 4089405 h 5317071"/>
              <a:gd name="connsiteX117-14599" fmla="*/ 8728840 w 10693106"/>
              <a:gd name="connsiteY117-14600" fmla="*/ 4131738 h 5317071"/>
              <a:gd name="connsiteX118-14601" fmla="*/ 8373240 w 10693106"/>
              <a:gd name="connsiteY118-14602" fmla="*/ 4165605 h 5317071"/>
              <a:gd name="connsiteX119-14603" fmla="*/ 7966840 w 10693106"/>
              <a:gd name="connsiteY119-14604" fmla="*/ 4258738 h 5317071"/>
              <a:gd name="connsiteX120-14605" fmla="*/ 7687440 w 10693106"/>
              <a:gd name="connsiteY120-14606" fmla="*/ 4419605 h 5317071"/>
              <a:gd name="connsiteX121-14607" fmla="*/ 7551973 w 10693106"/>
              <a:gd name="connsiteY121-14608" fmla="*/ 4504271 h 5317071"/>
              <a:gd name="connsiteX122-14609" fmla="*/ 7374173 w 10693106"/>
              <a:gd name="connsiteY122-14610" fmla="*/ 4682071 h 5317071"/>
              <a:gd name="connsiteX123-14611" fmla="*/ 7374173 w 10693106"/>
              <a:gd name="connsiteY123-14612" fmla="*/ 4682071 h 5317071"/>
              <a:gd name="connsiteX124-14613" fmla="*/ 7221773 w 10693106"/>
              <a:gd name="connsiteY124-14614" fmla="*/ 4800605 h 5317071"/>
              <a:gd name="connsiteX125-14615" fmla="*/ 7027040 w 10693106"/>
              <a:gd name="connsiteY125-14616" fmla="*/ 4927605 h 5317071"/>
              <a:gd name="connsiteX126-14617" fmla="*/ 6883106 w 10693106"/>
              <a:gd name="connsiteY126-14618" fmla="*/ 4995338 h 5317071"/>
              <a:gd name="connsiteX127-14619" fmla="*/ 6815373 w 10693106"/>
              <a:gd name="connsiteY127-14620" fmla="*/ 5037671 h 5317071"/>
              <a:gd name="connsiteX128-14621" fmla="*/ 6646040 w 10693106"/>
              <a:gd name="connsiteY128-14622" fmla="*/ 5130805 h 5317071"/>
              <a:gd name="connsiteX129-14623" fmla="*/ 6527506 w 10693106"/>
              <a:gd name="connsiteY129-14624" fmla="*/ 5190071 h 5317071"/>
              <a:gd name="connsiteX130-14625" fmla="*/ 6298906 w 10693106"/>
              <a:gd name="connsiteY130-14626" fmla="*/ 5266271 h 5317071"/>
              <a:gd name="connsiteX131-14627" fmla="*/ 6197306 w 10693106"/>
              <a:gd name="connsiteY131-14628" fmla="*/ 5291671 h 5317071"/>
              <a:gd name="connsiteX132-14629" fmla="*/ 6061840 w 10693106"/>
              <a:gd name="connsiteY132-14630" fmla="*/ 5300138 h 5317071"/>
              <a:gd name="connsiteX133-14631" fmla="*/ 5917906 w 10693106"/>
              <a:gd name="connsiteY133-14632" fmla="*/ 5317071 h 5317071"/>
              <a:gd name="connsiteX134-14633" fmla="*/ 5748573 w 10693106"/>
              <a:gd name="connsiteY134-14634" fmla="*/ 5308605 h 5317071"/>
              <a:gd name="connsiteX135-14635" fmla="*/ 5282906 w 10693106"/>
              <a:gd name="connsiteY135-14636" fmla="*/ 5198538 h 5317071"/>
              <a:gd name="connsiteX136-14637" fmla="*/ 5138973 w 10693106"/>
              <a:gd name="connsiteY136-14638" fmla="*/ 5096938 h 5317071"/>
              <a:gd name="connsiteX137-14639" fmla="*/ 4959480 w 10693106"/>
              <a:gd name="connsiteY137-14640" fmla="*/ 5013118 h 5317071"/>
              <a:gd name="connsiteX138-14641" fmla="*/ 4842216 w 10693106"/>
              <a:gd name="connsiteY138-14642" fmla="*/ 4978828 h 5317071"/>
              <a:gd name="connsiteX139-14643" fmla="*/ 4797343 w 10693106"/>
              <a:gd name="connsiteY139-14644" fmla="*/ 4903475 h 5317071"/>
              <a:gd name="connsiteX140-14645" fmla="*/ 4686853 w 10693106"/>
              <a:gd name="connsiteY140-14646" fmla="*/ 4813305 h 5317071"/>
              <a:gd name="connsiteX141-14647" fmla="*/ 4536146 w 10693106"/>
              <a:gd name="connsiteY141-14648" fmla="*/ 4737951 h 5317071"/>
              <a:gd name="connsiteX142-14649" fmla="*/ 4365120 w 10693106"/>
              <a:gd name="connsiteY142-14650" fmla="*/ 4641431 h 5317071"/>
              <a:gd name="connsiteX143-14651" fmla="*/ 4187743 w 10693106"/>
              <a:gd name="connsiteY143-14652" fmla="*/ 4546605 h 5317071"/>
              <a:gd name="connsiteX144-14653" fmla="*/ 4038306 w 10693106"/>
              <a:gd name="connsiteY144-14654" fmla="*/ 4390818 h 5317071"/>
              <a:gd name="connsiteX145-14655" fmla="*/ 3893103 w 10693106"/>
              <a:gd name="connsiteY145-14656" fmla="*/ 4280328 h 5317071"/>
              <a:gd name="connsiteX146-14657" fmla="*/ 3882520 w 10693106"/>
              <a:gd name="connsiteY146-14658" fmla="*/ 4205821 h 5317071"/>
              <a:gd name="connsiteX147-14659" fmla="*/ 3895643 w 10693106"/>
              <a:gd name="connsiteY147-14660" fmla="*/ 4084748 h 5317071"/>
              <a:gd name="connsiteX148-14661" fmla="*/ 3919773 w 10693106"/>
              <a:gd name="connsiteY148-14662" fmla="*/ 3945471 h 5317071"/>
              <a:gd name="connsiteX149-14663" fmla="*/ 3877440 w 10693106"/>
              <a:gd name="connsiteY149-14664" fmla="*/ 3649138 h 5317071"/>
              <a:gd name="connsiteX150-14665" fmla="*/ 3852040 w 10693106"/>
              <a:gd name="connsiteY150-14666" fmla="*/ 3556005 h 5317071"/>
              <a:gd name="connsiteX151-14667" fmla="*/ 3801240 w 10693106"/>
              <a:gd name="connsiteY151-14668" fmla="*/ 3445938 h 5317071"/>
              <a:gd name="connsiteX152-14669" fmla="*/ 3733506 w 10693106"/>
              <a:gd name="connsiteY152-14670" fmla="*/ 3344338 h 5317071"/>
              <a:gd name="connsiteX153-14671" fmla="*/ 3242440 w 10693106"/>
              <a:gd name="connsiteY153-14672" fmla="*/ 3124205 h 5317071"/>
              <a:gd name="connsiteX154-14673" fmla="*/ 3123906 w 10693106"/>
              <a:gd name="connsiteY154-14674" fmla="*/ 3022605 h 5317071"/>
              <a:gd name="connsiteX155-14675" fmla="*/ 2988440 w 10693106"/>
              <a:gd name="connsiteY155-14676" fmla="*/ 2827871 h 5317071"/>
              <a:gd name="connsiteX156-14677" fmla="*/ 2971506 w 10693106"/>
              <a:gd name="connsiteY156-14678" fmla="*/ 2768605 h 5317071"/>
              <a:gd name="connsiteX157-14679" fmla="*/ 2996906 w 10693106"/>
              <a:gd name="connsiteY157-14680" fmla="*/ 2556938 h 5317071"/>
              <a:gd name="connsiteX158-14681" fmla="*/ 3013840 w 10693106"/>
              <a:gd name="connsiteY158-14682" fmla="*/ 2455338 h 5317071"/>
              <a:gd name="connsiteX159-14683" fmla="*/ 3005373 w 10693106"/>
              <a:gd name="connsiteY159-14684" fmla="*/ 2336805 h 5317071"/>
              <a:gd name="connsiteX160-14685" fmla="*/ 2988440 w 10693106"/>
              <a:gd name="connsiteY160-14686" fmla="*/ 2286005 h 5317071"/>
              <a:gd name="connsiteX161-14687" fmla="*/ 2802173 w 10693106"/>
              <a:gd name="connsiteY161-14688" fmla="*/ 2032005 h 5317071"/>
              <a:gd name="connsiteX162-14689" fmla="*/ 2641306 w 10693106"/>
              <a:gd name="connsiteY162-14690" fmla="*/ 1888071 h 5317071"/>
              <a:gd name="connsiteX163-14691" fmla="*/ 2590506 w 10693106"/>
              <a:gd name="connsiteY163-14692" fmla="*/ 1862671 h 5317071"/>
              <a:gd name="connsiteX164-14693" fmla="*/ 2531240 w 10693106"/>
              <a:gd name="connsiteY164-14694" fmla="*/ 1854205 h 5317071"/>
              <a:gd name="connsiteX165-14695" fmla="*/ 2446573 w 10693106"/>
              <a:gd name="connsiteY165-14696" fmla="*/ 1837271 h 5317071"/>
              <a:gd name="connsiteX166-14697" fmla="*/ 2251840 w 10693106"/>
              <a:gd name="connsiteY166-14698" fmla="*/ 1862671 h 5317071"/>
              <a:gd name="connsiteX167-14699" fmla="*/ 2167173 w 10693106"/>
              <a:gd name="connsiteY167-14700" fmla="*/ 1905005 h 5317071"/>
              <a:gd name="connsiteX168-14701" fmla="*/ 1980906 w 10693106"/>
              <a:gd name="connsiteY168-14702" fmla="*/ 1964271 h 5317071"/>
              <a:gd name="connsiteX169-14703" fmla="*/ 1904706 w 10693106"/>
              <a:gd name="connsiteY169-14704" fmla="*/ 1998138 h 5317071"/>
              <a:gd name="connsiteX170-14705" fmla="*/ 1828506 w 10693106"/>
              <a:gd name="connsiteY170-14706" fmla="*/ 2015071 h 5317071"/>
              <a:gd name="connsiteX171-14707" fmla="*/ 1726906 w 10693106"/>
              <a:gd name="connsiteY171-14708" fmla="*/ 2065871 h 5317071"/>
              <a:gd name="connsiteX172-14709" fmla="*/ 1659173 w 10693106"/>
              <a:gd name="connsiteY172-14710" fmla="*/ 2099738 h 5317071"/>
              <a:gd name="connsiteX173-14711" fmla="*/ 1498306 w 10693106"/>
              <a:gd name="connsiteY173-14712" fmla="*/ 2125138 h 5317071"/>
              <a:gd name="connsiteX174-14713" fmla="*/ 914106 w 10693106"/>
              <a:gd name="connsiteY174-14714" fmla="*/ 2057405 h 5317071"/>
              <a:gd name="connsiteX175-14715" fmla="*/ 617773 w 10693106"/>
              <a:gd name="connsiteY175-14716" fmla="*/ 1947338 h 5317071"/>
              <a:gd name="connsiteX176-14717" fmla="*/ 516173 w 10693106"/>
              <a:gd name="connsiteY176-14718" fmla="*/ 1862671 h 5317071"/>
              <a:gd name="connsiteX177-14719" fmla="*/ 355306 w 10693106"/>
              <a:gd name="connsiteY177-14720" fmla="*/ 1651005 h 5317071"/>
              <a:gd name="connsiteX178-14721" fmla="*/ 296040 w 10693106"/>
              <a:gd name="connsiteY178-14722" fmla="*/ 1549405 h 5317071"/>
              <a:gd name="connsiteX179-14723" fmla="*/ 253706 w 10693106"/>
              <a:gd name="connsiteY179-14724" fmla="*/ 1371605 h 5317071"/>
              <a:gd name="connsiteX180-14725" fmla="*/ 245240 w 10693106"/>
              <a:gd name="connsiteY180-14726" fmla="*/ 1244605 h 5317071"/>
              <a:gd name="connsiteX181-14727" fmla="*/ 236773 w 10693106"/>
              <a:gd name="connsiteY181-14728" fmla="*/ 1143005 h 5317071"/>
              <a:gd name="connsiteX182-14729" fmla="*/ 245240 w 10693106"/>
              <a:gd name="connsiteY182-14730" fmla="*/ 872071 h 5317071"/>
              <a:gd name="connsiteX183-14731" fmla="*/ 236773 w 10693106"/>
              <a:gd name="connsiteY183-14732" fmla="*/ 728138 h 5317071"/>
              <a:gd name="connsiteX184-14733" fmla="*/ 109773 w 10693106"/>
              <a:gd name="connsiteY184-14734" fmla="*/ 584205 h 5317071"/>
              <a:gd name="connsiteX185-14735" fmla="*/ 58973 w 10693106"/>
              <a:gd name="connsiteY185-14736" fmla="*/ 508005 h 5317071"/>
              <a:gd name="connsiteX186-14737" fmla="*/ 16640 w 10693106"/>
              <a:gd name="connsiteY186-14738" fmla="*/ 457205 h 5317071"/>
              <a:gd name="connsiteX187-14739" fmla="*/ 8173 w 10693106"/>
              <a:gd name="connsiteY187-14740" fmla="*/ 414871 h 5317071"/>
              <a:gd name="connsiteX188-14741" fmla="*/ 16640 w 10693106"/>
              <a:gd name="connsiteY188-14742" fmla="*/ 364071 h 5317071"/>
              <a:gd name="connsiteX0-14743" fmla="*/ 16640 w 10693106"/>
              <a:gd name="connsiteY0-14744" fmla="*/ 339022 h 5292022"/>
              <a:gd name="connsiteX1-14745" fmla="*/ 58973 w 10693106"/>
              <a:gd name="connsiteY1-14746" fmla="*/ 245889 h 5292022"/>
              <a:gd name="connsiteX2-14747" fmla="*/ 109773 w 10693106"/>
              <a:gd name="connsiteY2-14748" fmla="*/ 178156 h 5292022"/>
              <a:gd name="connsiteX3-14749" fmla="*/ 202906 w 10693106"/>
              <a:gd name="connsiteY3-14750" fmla="*/ 93489 h 5292022"/>
              <a:gd name="connsiteX4-14751" fmla="*/ 236773 w 10693106"/>
              <a:gd name="connsiteY4-14752" fmla="*/ 68089 h 5292022"/>
              <a:gd name="connsiteX5-14753" fmla="*/ 346840 w 10693106"/>
              <a:gd name="connsiteY5-14754" fmla="*/ 8822 h 5292022"/>
              <a:gd name="connsiteX6-14755" fmla="*/ 382400 w 10693106"/>
              <a:gd name="connsiteY6-14756" fmla="*/ 51156 h 5292022"/>
              <a:gd name="connsiteX7-14757" fmla="*/ 463487 w 10693106"/>
              <a:gd name="connsiteY7-14758" fmla="*/ 11016 h 5292022"/>
              <a:gd name="connsiteX8-14759" fmla="*/ 492697 w 10693106"/>
              <a:gd name="connsiteY8-14760" fmla="*/ 74247 h 5292022"/>
              <a:gd name="connsiteX9-14761" fmla="*/ 822897 w 10693106"/>
              <a:gd name="connsiteY9-14762" fmla="*/ 82713 h 5292022"/>
              <a:gd name="connsiteX10-14763" fmla="*/ 1091906 w 10693106"/>
              <a:gd name="connsiteY10-14764" fmla="*/ 356 h 5292022"/>
              <a:gd name="connsiteX11-14765" fmla="*/ 1235840 w 10693106"/>
              <a:gd name="connsiteY11-14766" fmla="*/ 59622 h 5292022"/>
              <a:gd name="connsiteX12-14767" fmla="*/ 1337440 w 10693106"/>
              <a:gd name="connsiteY12-14768" fmla="*/ 135822 h 5292022"/>
              <a:gd name="connsiteX13-14769" fmla="*/ 1422106 w 10693106"/>
              <a:gd name="connsiteY13-14770" fmla="*/ 245889 h 5292022"/>
              <a:gd name="connsiteX14-14771" fmla="*/ 1481373 w 10693106"/>
              <a:gd name="connsiteY14-14772" fmla="*/ 313622 h 5292022"/>
              <a:gd name="connsiteX15-14773" fmla="*/ 1532173 w 10693106"/>
              <a:gd name="connsiteY15-14774" fmla="*/ 347489 h 5292022"/>
              <a:gd name="connsiteX16-14775" fmla="*/ 1684573 w 10693106"/>
              <a:gd name="connsiteY16-14776" fmla="*/ 406756 h 5292022"/>
              <a:gd name="connsiteX17-14777" fmla="*/ 1760773 w 10693106"/>
              <a:gd name="connsiteY17-14778" fmla="*/ 423689 h 5292022"/>
              <a:gd name="connsiteX18-14779" fmla="*/ 1997840 w 10693106"/>
              <a:gd name="connsiteY18-14780" fmla="*/ 415222 h 5292022"/>
              <a:gd name="connsiteX19-14781" fmla="*/ 2116373 w 10693106"/>
              <a:gd name="connsiteY19-14782" fmla="*/ 398289 h 5292022"/>
              <a:gd name="connsiteX20-14783" fmla="*/ 2260306 w 10693106"/>
              <a:gd name="connsiteY20-14784" fmla="*/ 381356 h 5292022"/>
              <a:gd name="connsiteX21-14785" fmla="*/ 2404240 w 10693106"/>
              <a:gd name="connsiteY21-14786" fmla="*/ 355956 h 5292022"/>
              <a:gd name="connsiteX22-14787" fmla="*/ 2455040 w 10693106"/>
              <a:gd name="connsiteY22-14788" fmla="*/ 330556 h 5292022"/>
              <a:gd name="connsiteX23-14789" fmla="*/ 2531240 w 10693106"/>
              <a:gd name="connsiteY23-14790" fmla="*/ 305156 h 5292022"/>
              <a:gd name="connsiteX24-14791" fmla="*/ 2649350 w 10693106"/>
              <a:gd name="connsiteY24-14792" fmla="*/ 225781 h 5292022"/>
              <a:gd name="connsiteX25-14793" fmla="*/ 2742906 w 10693106"/>
              <a:gd name="connsiteY25-14794" fmla="*/ 186622 h 5292022"/>
              <a:gd name="connsiteX26-14795" fmla="*/ 2764920 w 10693106"/>
              <a:gd name="connsiteY26-14796" fmla="*/ 173076 h 5292022"/>
              <a:gd name="connsiteX27-14797" fmla="*/ 2832653 w 10693106"/>
              <a:gd name="connsiteY27-14798" fmla="*/ 167996 h 5292022"/>
              <a:gd name="connsiteX28-14799" fmla="*/ 3002294 w 10693106"/>
              <a:gd name="connsiteY28-14800" fmla="*/ 154680 h 5292022"/>
              <a:gd name="connsiteX29-14801" fmla="*/ 3142763 w 10693106"/>
              <a:gd name="connsiteY29-14802" fmla="*/ 110421 h 5292022"/>
              <a:gd name="connsiteX30-14803" fmla="*/ 3398918 w 10693106"/>
              <a:gd name="connsiteY30-14804" fmla="*/ 72322 h 5292022"/>
              <a:gd name="connsiteX31-14805" fmla="*/ 3606506 w 10693106"/>
              <a:gd name="connsiteY31-14806" fmla="*/ 60393 h 5292022"/>
              <a:gd name="connsiteX32-14807" fmla="*/ 3682706 w 10693106"/>
              <a:gd name="connsiteY32-14808" fmla="*/ 79942 h 5292022"/>
              <a:gd name="connsiteX33-14809" fmla="*/ 3741973 w 10693106"/>
              <a:gd name="connsiteY33-14810" fmla="*/ 86561 h 5292022"/>
              <a:gd name="connsiteX34-14811" fmla="*/ 3794678 w 10693106"/>
              <a:gd name="connsiteY34-14812" fmla="*/ 101321 h 5292022"/>
              <a:gd name="connsiteX35-14813" fmla="*/ 3833625 w 10693106"/>
              <a:gd name="connsiteY35-14814" fmla="*/ 110846 h 5292022"/>
              <a:gd name="connsiteX36-14815" fmla="*/ 3892487 w 10693106"/>
              <a:gd name="connsiteY36-14816" fmla="*/ 116984 h 5292022"/>
              <a:gd name="connsiteX37-14817" fmla="*/ 3933108 w 10693106"/>
              <a:gd name="connsiteY37-14818" fmla="*/ 128837 h 5292022"/>
              <a:gd name="connsiteX38-14819" fmla="*/ 3976923 w 10693106"/>
              <a:gd name="connsiteY38-14820" fmla="*/ 135187 h 5292022"/>
              <a:gd name="connsiteX39-14821" fmla="*/ 4021373 w 10693106"/>
              <a:gd name="connsiteY39-14822" fmla="*/ 144289 h 5292022"/>
              <a:gd name="connsiteX40-14823" fmla="*/ 4055240 w 10693106"/>
              <a:gd name="connsiteY40-14824" fmla="*/ 152756 h 5292022"/>
              <a:gd name="connsiteX41-14825" fmla="*/ 4275373 w 10693106"/>
              <a:gd name="connsiteY41-14826" fmla="*/ 195089 h 5292022"/>
              <a:gd name="connsiteX42-14827" fmla="*/ 4402373 w 10693106"/>
              <a:gd name="connsiteY42-14828" fmla="*/ 228956 h 5292022"/>
              <a:gd name="connsiteX43-14829" fmla="*/ 4529373 w 10693106"/>
              <a:gd name="connsiteY43-14830" fmla="*/ 271289 h 5292022"/>
              <a:gd name="connsiteX44-14831" fmla="*/ 4859573 w 10693106"/>
              <a:gd name="connsiteY44-14832" fmla="*/ 347489 h 5292022"/>
              <a:gd name="connsiteX45-14833" fmla="*/ 5045840 w 10693106"/>
              <a:gd name="connsiteY45-14834" fmla="*/ 423689 h 5292022"/>
              <a:gd name="connsiteX46-14835" fmla="*/ 5325240 w 10693106"/>
              <a:gd name="connsiteY46-14836" fmla="*/ 584556 h 5292022"/>
              <a:gd name="connsiteX47-14837" fmla="*/ 5494573 w 10693106"/>
              <a:gd name="connsiteY47-14838" fmla="*/ 736956 h 5292022"/>
              <a:gd name="connsiteX48-14839" fmla="*/ 5562306 w 10693106"/>
              <a:gd name="connsiteY48-14840" fmla="*/ 813156 h 5292022"/>
              <a:gd name="connsiteX49-14841" fmla="*/ 5621573 w 10693106"/>
              <a:gd name="connsiteY49-14842" fmla="*/ 863956 h 5292022"/>
              <a:gd name="connsiteX50-14843" fmla="*/ 5672373 w 10693106"/>
              <a:gd name="connsiteY50-14844" fmla="*/ 931689 h 5292022"/>
              <a:gd name="connsiteX51-14845" fmla="*/ 5757040 w 10693106"/>
              <a:gd name="connsiteY51-14846" fmla="*/ 1033289 h 5292022"/>
              <a:gd name="connsiteX52-14847" fmla="*/ 5833240 w 10693106"/>
              <a:gd name="connsiteY52-14848" fmla="*/ 1126422 h 5292022"/>
              <a:gd name="connsiteX53-14849" fmla="*/ 6019506 w 10693106"/>
              <a:gd name="connsiteY53-14850" fmla="*/ 1329622 h 5292022"/>
              <a:gd name="connsiteX54-14851" fmla="*/ 6087240 w 10693106"/>
              <a:gd name="connsiteY54-14852" fmla="*/ 1380422 h 5292022"/>
              <a:gd name="connsiteX55-14853" fmla="*/ 6171906 w 10693106"/>
              <a:gd name="connsiteY55-14854" fmla="*/ 1482022 h 5292022"/>
              <a:gd name="connsiteX56-14855" fmla="*/ 6451306 w 10693106"/>
              <a:gd name="connsiteY56-14856" fmla="*/ 1693689 h 5292022"/>
              <a:gd name="connsiteX57-14857" fmla="*/ 6519040 w 10693106"/>
              <a:gd name="connsiteY57-14858" fmla="*/ 1702156 h 5292022"/>
              <a:gd name="connsiteX58-14859" fmla="*/ 6603706 w 10693106"/>
              <a:gd name="connsiteY58-14860" fmla="*/ 1736022 h 5292022"/>
              <a:gd name="connsiteX59-14861" fmla="*/ 6671440 w 10693106"/>
              <a:gd name="connsiteY59-14862" fmla="*/ 1769889 h 5292022"/>
              <a:gd name="connsiteX60-14863" fmla="*/ 6866173 w 10693106"/>
              <a:gd name="connsiteY60-14864" fmla="*/ 1795289 h 5292022"/>
              <a:gd name="connsiteX61-14865" fmla="*/ 7196373 w 10693106"/>
              <a:gd name="connsiteY61-14866" fmla="*/ 1778356 h 5292022"/>
              <a:gd name="connsiteX62-14867" fmla="*/ 7509640 w 10693106"/>
              <a:gd name="connsiteY62-14868" fmla="*/ 1702156 h 5292022"/>
              <a:gd name="connsiteX63-14869" fmla="*/ 7628173 w 10693106"/>
              <a:gd name="connsiteY63-14870" fmla="*/ 1676756 h 5292022"/>
              <a:gd name="connsiteX64-14871" fmla="*/ 7704373 w 10693106"/>
              <a:gd name="connsiteY64-14872" fmla="*/ 1634422 h 5292022"/>
              <a:gd name="connsiteX65-14873" fmla="*/ 7755173 w 10693106"/>
              <a:gd name="connsiteY65-14874" fmla="*/ 1625956 h 5292022"/>
              <a:gd name="connsiteX66-14875" fmla="*/ 7797506 w 10693106"/>
              <a:gd name="connsiteY66-14876" fmla="*/ 1592089 h 5292022"/>
              <a:gd name="connsiteX67-14877" fmla="*/ 7856773 w 10693106"/>
              <a:gd name="connsiteY67-14878" fmla="*/ 1575156 h 5292022"/>
              <a:gd name="connsiteX68-14879" fmla="*/ 7958373 w 10693106"/>
              <a:gd name="connsiteY68-14880" fmla="*/ 1507422 h 5292022"/>
              <a:gd name="connsiteX69-14881" fmla="*/ 8009173 w 10693106"/>
              <a:gd name="connsiteY69-14882" fmla="*/ 1456622 h 5292022"/>
              <a:gd name="connsiteX70-14883" fmla="*/ 8339373 w 10693106"/>
              <a:gd name="connsiteY70-14884" fmla="*/ 1211089 h 5292022"/>
              <a:gd name="connsiteX71-14885" fmla="*/ 8576440 w 10693106"/>
              <a:gd name="connsiteY71-14886" fmla="*/ 957089 h 5292022"/>
              <a:gd name="connsiteX72-14887" fmla="*/ 8652640 w 10693106"/>
              <a:gd name="connsiteY72-14888" fmla="*/ 677689 h 5292022"/>
              <a:gd name="connsiteX73-14889" fmla="*/ 8847373 w 10693106"/>
              <a:gd name="connsiteY73-14890" fmla="*/ 491422 h 5292022"/>
              <a:gd name="connsiteX74-14891" fmla="*/ 8982840 w 10693106"/>
              <a:gd name="connsiteY74-14892" fmla="*/ 398289 h 5292022"/>
              <a:gd name="connsiteX75-14893" fmla="*/ 9084440 w 10693106"/>
              <a:gd name="connsiteY75-14894" fmla="*/ 364422 h 5292022"/>
              <a:gd name="connsiteX76-14895" fmla="*/ 9152173 w 10693106"/>
              <a:gd name="connsiteY76-14896" fmla="*/ 339022 h 5292022"/>
              <a:gd name="connsiteX77-14897" fmla="*/ 9380773 w 10693106"/>
              <a:gd name="connsiteY77-14898" fmla="*/ 355956 h 5292022"/>
              <a:gd name="connsiteX78-14899" fmla="*/ 9744840 w 10693106"/>
              <a:gd name="connsiteY78-14900" fmla="*/ 466022 h 5292022"/>
              <a:gd name="connsiteX79-14901" fmla="*/ 9888773 w 10693106"/>
              <a:gd name="connsiteY79-14902" fmla="*/ 508356 h 5292022"/>
              <a:gd name="connsiteX80-14903" fmla="*/ 9998840 w 10693106"/>
              <a:gd name="connsiteY80-14904" fmla="*/ 559156 h 5292022"/>
              <a:gd name="connsiteX81-14905" fmla="*/ 10083506 w 10693106"/>
              <a:gd name="connsiteY81-14906" fmla="*/ 618422 h 5292022"/>
              <a:gd name="connsiteX82-14907" fmla="*/ 10286706 w 10693106"/>
              <a:gd name="connsiteY82-14908" fmla="*/ 686156 h 5292022"/>
              <a:gd name="connsiteX83-14909" fmla="*/ 10388306 w 10693106"/>
              <a:gd name="connsiteY83-14910" fmla="*/ 889356 h 5292022"/>
              <a:gd name="connsiteX84-14911" fmla="*/ 10540706 w 10693106"/>
              <a:gd name="connsiteY84-14912" fmla="*/ 1261889 h 5292022"/>
              <a:gd name="connsiteX85-14913" fmla="*/ 10557640 w 10693106"/>
              <a:gd name="connsiteY85-14914" fmla="*/ 1346556 h 5292022"/>
              <a:gd name="connsiteX86-14915" fmla="*/ 10583040 w 10693106"/>
              <a:gd name="connsiteY86-14916" fmla="*/ 1448156 h 5292022"/>
              <a:gd name="connsiteX87-14917" fmla="*/ 10616906 w 10693106"/>
              <a:gd name="connsiteY87-14918" fmla="*/ 1651356 h 5292022"/>
              <a:gd name="connsiteX88-14919" fmla="*/ 10633840 w 10693106"/>
              <a:gd name="connsiteY88-14920" fmla="*/ 1736022 h 5292022"/>
              <a:gd name="connsiteX89-14921" fmla="*/ 10650773 w 10693106"/>
              <a:gd name="connsiteY89-14922" fmla="*/ 1769889 h 5292022"/>
              <a:gd name="connsiteX90-14923" fmla="*/ 10676173 w 10693106"/>
              <a:gd name="connsiteY90-14924" fmla="*/ 1854556 h 5292022"/>
              <a:gd name="connsiteX91-14925" fmla="*/ 10693106 w 10693106"/>
              <a:gd name="connsiteY91-14926" fmla="*/ 2006956 h 5292022"/>
              <a:gd name="connsiteX92-14927" fmla="*/ 10625373 w 10693106"/>
              <a:gd name="connsiteY92-14928" fmla="*/ 2227089 h 5292022"/>
              <a:gd name="connsiteX93-14929" fmla="*/ 10608440 w 10693106"/>
              <a:gd name="connsiteY93-14930" fmla="*/ 2252489 h 5292022"/>
              <a:gd name="connsiteX94-14931" fmla="*/ 10540706 w 10693106"/>
              <a:gd name="connsiteY94-14932" fmla="*/ 2396422 h 5292022"/>
              <a:gd name="connsiteX95-14933" fmla="*/ 10498373 w 10693106"/>
              <a:gd name="connsiteY95-14934" fmla="*/ 2481089 h 5292022"/>
              <a:gd name="connsiteX96-14935" fmla="*/ 10439106 w 10693106"/>
              <a:gd name="connsiteY96-14936" fmla="*/ 2667356 h 5292022"/>
              <a:gd name="connsiteX97-14937" fmla="*/ 10430640 w 10693106"/>
              <a:gd name="connsiteY97-14938" fmla="*/ 2709689 h 5292022"/>
              <a:gd name="connsiteX98-14939" fmla="*/ 10405240 w 10693106"/>
              <a:gd name="connsiteY98-14940" fmla="*/ 2785889 h 5292022"/>
              <a:gd name="connsiteX99-14941" fmla="*/ 10396773 w 10693106"/>
              <a:gd name="connsiteY99-14942" fmla="*/ 2819756 h 5292022"/>
              <a:gd name="connsiteX100-14943" fmla="*/ 10362906 w 10693106"/>
              <a:gd name="connsiteY100-14944" fmla="*/ 2912889 h 5292022"/>
              <a:gd name="connsiteX101-14945" fmla="*/ 10329040 w 10693106"/>
              <a:gd name="connsiteY101-14946" fmla="*/ 2955222 h 5292022"/>
              <a:gd name="connsiteX102-14947" fmla="*/ 10227440 w 10693106"/>
              <a:gd name="connsiteY102-14948" fmla="*/ 3056822 h 5292022"/>
              <a:gd name="connsiteX103-14949" fmla="*/ 10168173 w 10693106"/>
              <a:gd name="connsiteY103-14950" fmla="*/ 3124556 h 5292022"/>
              <a:gd name="connsiteX104-14951" fmla="*/ 10117373 w 10693106"/>
              <a:gd name="connsiteY104-14952" fmla="*/ 3175356 h 5292022"/>
              <a:gd name="connsiteX105-14953" fmla="*/ 10032706 w 10693106"/>
              <a:gd name="connsiteY105-14954" fmla="*/ 3276956 h 5292022"/>
              <a:gd name="connsiteX106-14955" fmla="*/ 9948040 w 10693106"/>
              <a:gd name="connsiteY106-14956" fmla="*/ 3336222 h 5292022"/>
              <a:gd name="connsiteX107-14957" fmla="*/ 9905706 w 10693106"/>
              <a:gd name="connsiteY107-14958" fmla="*/ 3361622 h 5292022"/>
              <a:gd name="connsiteX108-14959" fmla="*/ 9829506 w 10693106"/>
              <a:gd name="connsiteY108-14960" fmla="*/ 3378556 h 5292022"/>
              <a:gd name="connsiteX109-14961" fmla="*/ 9727906 w 10693106"/>
              <a:gd name="connsiteY109-14962" fmla="*/ 3420889 h 5292022"/>
              <a:gd name="connsiteX110-14963" fmla="*/ 9634773 w 10693106"/>
              <a:gd name="connsiteY110-14964" fmla="*/ 3446289 h 5292022"/>
              <a:gd name="connsiteX111-14965" fmla="*/ 9456973 w 10693106"/>
              <a:gd name="connsiteY111-14966" fmla="*/ 3539422 h 5292022"/>
              <a:gd name="connsiteX112-14967" fmla="*/ 9313040 w 10693106"/>
              <a:gd name="connsiteY112-14968" fmla="*/ 3666422 h 5292022"/>
              <a:gd name="connsiteX113-14969" fmla="*/ 9279173 w 10693106"/>
              <a:gd name="connsiteY113-14970" fmla="*/ 3683356 h 5292022"/>
              <a:gd name="connsiteX114-14971" fmla="*/ 9067506 w 10693106"/>
              <a:gd name="connsiteY114-14972" fmla="*/ 3861156 h 5292022"/>
              <a:gd name="connsiteX115-14973" fmla="*/ 8999773 w 10693106"/>
              <a:gd name="connsiteY115-14974" fmla="*/ 3928889 h 5292022"/>
              <a:gd name="connsiteX116-14975" fmla="*/ 8813506 w 10693106"/>
              <a:gd name="connsiteY116-14976" fmla="*/ 4064356 h 5292022"/>
              <a:gd name="connsiteX117-14977" fmla="*/ 8728840 w 10693106"/>
              <a:gd name="connsiteY117-14978" fmla="*/ 4106689 h 5292022"/>
              <a:gd name="connsiteX118-14979" fmla="*/ 8373240 w 10693106"/>
              <a:gd name="connsiteY118-14980" fmla="*/ 4140556 h 5292022"/>
              <a:gd name="connsiteX119-14981" fmla="*/ 7966840 w 10693106"/>
              <a:gd name="connsiteY119-14982" fmla="*/ 4233689 h 5292022"/>
              <a:gd name="connsiteX120-14983" fmla="*/ 7687440 w 10693106"/>
              <a:gd name="connsiteY120-14984" fmla="*/ 4394556 h 5292022"/>
              <a:gd name="connsiteX121-14985" fmla="*/ 7551973 w 10693106"/>
              <a:gd name="connsiteY121-14986" fmla="*/ 4479222 h 5292022"/>
              <a:gd name="connsiteX122-14987" fmla="*/ 7374173 w 10693106"/>
              <a:gd name="connsiteY122-14988" fmla="*/ 4657022 h 5292022"/>
              <a:gd name="connsiteX123-14989" fmla="*/ 7374173 w 10693106"/>
              <a:gd name="connsiteY123-14990" fmla="*/ 4657022 h 5292022"/>
              <a:gd name="connsiteX124-14991" fmla="*/ 7221773 w 10693106"/>
              <a:gd name="connsiteY124-14992" fmla="*/ 4775556 h 5292022"/>
              <a:gd name="connsiteX125-14993" fmla="*/ 7027040 w 10693106"/>
              <a:gd name="connsiteY125-14994" fmla="*/ 4902556 h 5292022"/>
              <a:gd name="connsiteX126-14995" fmla="*/ 6883106 w 10693106"/>
              <a:gd name="connsiteY126-14996" fmla="*/ 4970289 h 5292022"/>
              <a:gd name="connsiteX127-14997" fmla="*/ 6815373 w 10693106"/>
              <a:gd name="connsiteY127-14998" fmla="*/ 5012622 h 5292022"/>
              <a:gd name="connsiteX128-14999" fmla="*/ 6646040 w 10693106"/>
              <a:gd name="connsiteY128-15000" fmla="*/ 5105756 h 5292022"/>
              <a:gd name="connsiteX129-15001" fmla="*/ 6527506 w 10693106"/>
              <a:gd name="connsiteY129-15002" fmla="*/ 5165022 h 5292022"/>
              <a:gd name="connsiteX130-15003" fmla="*/ 6298906 w 10693106"/>
              <a:gd name="connsiteY130-15004" fmla="*/ 5241222 h 5292022"/>
              <a:gd name="connsiteX131-15005" fmla="*/ 6197306 w 10693106"/>
              <a:gd name="connsiteY131-15006" fmla="*/ 5266622 h 5292022"/>
              <a:gd name="connsiteX132-15007" fmla="*/ 6061840 w 10693106"/>
              <a:gd name="connsiteY132-15008" fmla="*/ 5275089 h 5292022"/>
              <a:gd name="connsiteX133-15009" fmla="*/ 5917906 w 10693106"/>
              <a:gd name="connsiteY133-15010" fmla="*/ 5292022 h 5292022"/>
              <a:gd name="connsiteX134-15011" fmla="*/ 5748573 w 10693106"/>
              <a:gd name="connsiteY134-15012" fmla="*/ 5283556 h 5292022"/>
              <a:gd name="connsiteX135-15013" fmla="*/ 5282906 w 10693106"/>
              <a:gd name="connsiteY135-15014" fmla="*/ 5173489 h 5292022"/>
              <a:gd name="connsiteX136-15015" fmla="*/ 5138973 w 10693106"/>
              <a:gd name="connsiteY136-15016" fmla="*/ 5071889 h 5292022"/>
              <a:gd name="connsiteX137-15017" fmla="*/ 4959480 w 10693106"/>
              <a:gd name="connsiteY137-15018" fmla="*/ 4988069 h 5292022"/>
              <a:gd name="connsiteX138-15019" fmla="*/ 4842216 w 10693106"/>
              <a:gd name="connsiteY138-15020" fmla="*/ 4953779 h 5292022"/>
              <a:gd name="connsiteX139-15021" fmla="*/ 4797343 w 10693106"/>
              <a:gd name="connsiteY139-15022" fmla="*/ 4878426 h 5292022"/>
              <a:gd name="connsiteX140-15023" fmla="*/ 4686853 w 10693106"/>
              <a:gd name="connsiteY140-15024" fmla="*/ 4788256 h 5292022"/>
              <a:gd name="connsiteX141-15025" fmla="*/ 4536146 w 10693106"/>
              <a:gd name="connsiteY141-15026" fmla="*/ 4712902 h 5292022"/>
              <a:gd name="connsiteX142-15027" fmla="*/ 4365120 w 10693106"/>
              <a:gd name="connsiteY142-15028" fmla="*/ 4616382 h 5292022"/>
              <a:gd name="connsiteX143-15029" fmla="*/ 4187743 w 10693106"/>
              <a:gd name="connsiteY143-15030" fmla="*/ 4521556 h 5292022"/>
              <a:gd name="connsiteX144-15031" fmla="*/ 4038306 w 10693106"/>
              <a:gd name="connsiteY144-15032" fmla="*/ 4365769 h 5292022"/>
              <a:gd name="connsiteX145-15033" fmla="*/ 3893103 w 10693106"/>
              <a:gd name="connsiteY145-15034" fmla="*/ 4255279 h 5292022"/>
              <a:gd name="connsiteX146-15035" fmla="*/ 3882520 w 10693106"/>
              <a:gd name="connsiteY146-15036" fmla="*/ 4180772 h 5292022"/>
              <a:gd name="connsiteX147-15037" fmla="*/ 3895643 w 10693106"/>
              <a:gd name="connsiteY147-15038" fmla="*/ 4059699 h 5292022"/>
              <a:gd name="connsiteX148-15039" fmla="*/ 3919773 w 10693106"/>
              <a:gd name="connsiteY148-15040" fmla="*/ 3920422 h 5292022"/>
              <a:gd name="connsiteX149-15041" fmla="*/ 3877440 w 10693106"/>
              <a:gd name="connsiteY149-15042" fmla="*/ 3624089 h 5292022"/>
              <a:gd name="connsiteX150-15043" fmla="*/ 3852040 w 10693106"/>
              <a:gd name="connsiteY150-15044" fmla="*/ 3530956 h 5292022"/>
              <a:gd name="connsiteX151-15045" fmla="*/ 3801240 w 10693106"/>
              <a:gd name="connsiteY151-15046" fmla="*/ 3420889 h 5292022"/>
              <a:gd name="connsiteX152-15047" fmla="*/ 3733506 w 10693106"/>
              <a:gd name="connsiteY152-15048" fmla="*/ 3319289 h 5292022"/>
              <a:gd name="connsiteX153-15049" fmla="*/ 3242440 w 10693106"/>
              <a:gd name="connsiteY153-15050" fmla="*/ 3099156 h 5292022"/>
              <a:gd name="connsiteX154-15051" fmla="*/ 3123906 w 10693106"/>
              <a:gd name="connsiteY154-15052" fmla="*/ 2997556 h 5292022"/>
              <a:gd name="connsiteX155-15053" fmla="*/ 2988440 w 10693106"/>
              <a:gd name="connsiteY155-15054" fmla="*/ 2802822 h 5292022"/>
              <a:gd name="connsiteX156-15055" fmla="*/ 2971506 w 10693106"/>
              <a:gd name="connsiteY156-15056" fmla="*/ 2743556 h 5292022"/>
              <a:gd name="connsiteX157-15057" fmla="*/ 2996906 w 10693106"/>
              <a:gd name="connsiteY157-15058" fmla="*/ 2531889 h 5292022"/>
              <a:gd name="connsiteX158-15059" fmla="*/ 3013840 w 10693106"/>
              <a:gd name="connsiteY158-15060" fmla="*/ 2430289 h 5292022"/>
              <a:gd name="connsiteX159-15061" fmla="*/ 3005373 w 10693106"/>
              <a:gd name="connsiteY159-15062" fmla="*/ 2311756 h 5292022"/>
              <a:gd name="connsiteX160-15063" fmla="*/ 2988440 w 10693106"/>
              <a:gd name="connsiteY160-15064" fmla="*/ 2260956 h 5292022"/>
              <a:gd name="connsiteX161-15065" fmla="*/ 2802173 w 10693106"/>
              <a:gd name="connsiteY161-15066" fmla="*/ 2006956 h 5292022"/>
              <a:gd name="connsiteX162-15067" fmla="*/ 2641306 w 10693106"/>
              <a:gd name="connsiteY162-15068" fmla="*/ 1863022 h 5292022"/>
              <a:gd name="connsiteX163-15069" fmla="*/ 2590506 w 10693106"/>
              <a:gd name="connsiteY163-15070" fmla="*/ 1837622 h 5292022"/>
              <a:gd name="connsiteX164-15071" fmla="*/ 2531240 w 10693106"/>
              <a:gd name="connsiteY164-15072" fmla="*/ 1829156 h 5292022"/>
              <a:gd name="connsiteX165-15073" fmla="*/ 2446573 w 10693106"/>
              <a:gd name="connsiteY165-15074" fmla="*/ 1812222 h 5292022"/>
              <a:gd name="connsiteX166-15075" fmla="*/ 2251840 w 10693106"/>
              <a:gd name="connsiteY166-15076" fmla="*/ 1837622 h 5292022"/>
              <a:gd name="connsiteX167-15077" fmla="*/ 2167173 w 10693106"/>
              <a:gd name="connsiteY167-15078" fmla="*/ 1879956 h 5292022"/>
              <a:gd name="connsiteX168-15079" fmla="*/ 1980906 w 10693106"/>
              <a:gd name="connsiteY168-15080" fmla="*/ 1939222 h 5292022"/>
              <a:gd name="connsiteX169-15081" fmla="*/ 1904706 w 10693106"/>
              <a:gd name="connsiteY169-15082" fmla="*/ 1973089 h 5292022"/>
              <a:gd name="connsiteX170-15083" fmla="*/ 1828506 w 10693106"/>
              <a:gd name="connsiteY170-15084" fmla="*/ 1990022 h 5292022"/>
              <a:gd name="connsiteX171-15085" fmla="*/ 1726906 w 10693106"/>
              <a:gd name="connsiteY171-15086" fmla="*/ 2040822 h 5292022"/>
              <a:gd name="connsiteX172-15087" fmla="*/ 1659173 w 10693106"/>
              <a:gd name="connsiteY172-15088" fmla="*/ 2074689 h 5292022"/>
              <a:gd name="connsiteX173-15089" fmla="*/ 1498306 w 10693106"/>
              <a:gd name="connsiteY173-15090" fmla="*/ 2100089 h 5292022"/>
              <a:gd name="connsiteX174-15091" fmla="*/ 914106 w 10693106"/>
              <a:gd name="connsiteY174-15092" fmla="*/ 2032356 h 5292022"/>
              <a:gd name="connsiteX175-15093" fmla="*/ 617773 w 10693106"/>
              <a:gd name="connsiteY175-15094" fmla="*/ 1922289 h 5292022"/>
              <a:gd name="connsiteX176-15095" fmla="*/ 516173 w 10693106"/>
              <a:gd name="connsiteY176-15096" fmla="*/ 1837622 h 5292022"/>
              <a:gd name="connsiteX177-15097" fmla="*/ 355306 w 10693106"/>
              <a:gd name="connsiteY177-15098" fmla="*/ 1625956 h 5292022"/>
              <a:gd name="connsiteX178-15099" fmla="*/ 296040 w 10693106"/>
              <a:gd name="connsiteY178-15100" fmla="*/ 1524356 h 5292022"/>
              <a:gd name="connsiteX179-15101" fmla="*/ 253706 w 10693106"/>
              <a:gd name="connsiteY179-15102" fmla="*/ 1346556 h 5292022"/>
              <a:gd name="connsiteX180-15103" fmla="*/ 245240 w 10693106"/>
              <a:gd name="connsiteY180-15104" fmla="*/ 1219556 h 5292022"/>
              <a:gd name="connsiteX181-15105" fmla="*/ 236773 w 10693106"/>
              <a:gd name="connsiteY181-15106" fmla="*/ 1117956 h 5292022"/>
              <a:gd name="connsiteX182-15107" fmla="*/ 245240 w 10693106"/>
              <a:gd name="connsiteY182-15108" fmla="*/ 847022 h 5292022"/>
              <a:gd name="connsiteX183-15109" fmla="*/ 236773 w 10693106"/>
              <a:gd name="connsiteY183-15110" fmla="*/ 703089 h 5292022"/>
              <a:gd name="connsiteX184-15111" fmla="*/ 109773 w 10693106"/>
              <a:gd name="connsiteY184-15112" fmla="*/ 559156 h 5292022"/>
              <a:gd name="connsiteX185-15113" fmla="*/ 58973 w 10693106"/>
              <a:gd name="connsiteY185-15114" fmla="*/ 482956 h 5292022"/>
              <a:gd name="connsiteX186-15115" fmla="*/ 16640 w 10693106"/>
              <a:gd name="connsiteY186-15116" fmla="*/ 432156 h 5292022"/>
              <a:gd name="connsiteX187-15117" fmla="*/ 8173 w 10693106"/>
              <a:gd name="connsiteY187-15118" fmla="*/ 389822 h 5292022"/>
              <a:gd name="connsiteX188-15119" fmla="*/ 16640 w 10693106"/>
              <a:gd name="connsiteY188-15120" fmla="*/ 339022 h 5292022"/>
              <a:gd name="connsiteX0-15121" fmla="*/ 16640 w 10693106"/>
              <a:gd name="connsiteY0-15122" fmla="*/ 339022 h 5292022"/>
              <a:gd name="connsiteX1-15123" fmla="*/ 58973 w 10693106"/>
              <a:gd name="connsiteY1-15124" fmla="*/ 245889 h 5292022"/>
              <a:gd name="connsiteX2-15125" fmla="*/ 109773 w 10693106"/>
              <a:gd name="connsiteY2-15126" fmla="*/ 178156 h 5292022"/>
              <a:gd name="connsiteX3-15127" fmla="*/ 202906 w 10693106"/>
              <a:gd name="connsiteY3-15128" fmla="*/ 93489 h 5292022"/>
              <a:gd name="connsiteX4-15129" fmla="*/ 236773 w 10693106"/>
              <a:gd name="connsiteY4-15130" fmla="*/ 68089 h 5292022"/>
              <a:gd name="connsiteX5-15131" fmla="*/ 346840 w 10693106"/>
              <a:gd name="connsiteY5-15132" fmla="*/ 8822 h 5292022"/>
              <a:gd name="connsiteX6-15133" fmla="*/ 382400 w 10693106"/>
              <a:gd name="connsiteY6-15134" fmla="*/ 51156 h 5292022"/>
              <a:gd name="connsiteX7-15135" fmla="*/ 434912 w 10693106"/>
              <a:gd name="connsiteY7-15136" fmla="*/ 70071 h 5292022"/>
              <a:gd name="connsiteX8-15137" fmla="*/ 492697 w 10693106"/>
              <a:gd name="connsiteY8-15138" fmla="*/ 74247 h 5292022"/>
              <a:gd name="connsiteX9-15139" fmla="*/ 822897 w 10693106"/>
              <a:gd name="connsiteY9-15140" fmla="*/ 82713 h 5292022"/>
              <a:gd name="connsiteX10-15141" fmla="*/ 1091906 w 10693106"/>
              <a:gd name="connsiteY10-15142" fmla="*/ 356 h 5292022"/>
              <a:gd name="connsiteX11-15143" fmla="*/ 1235840 w 10693106"/>
              <a:gd name="connsiteY11-15144" fmla="*/ 59622 h 5292022"/>
              <a:gd name="connsiteX12-15145" fmla="*/ 1337440 w 10693106"/>
              <a:gd name="connsiteY12-15146" fmla="*/ 135822 h 5292022"/>
              <a:gd name="connsiteX13-15147" fmla="*/ 1422106 w 10693106"/>
              <a:gd name="connsiteY13-15148" fmla="*/ 245889 h 5292022"/>
              <a:gd name="connsiteX14-15149" fmla="*/ 1481373 w 10693106"/>
              <a:gd name="connsiteY14-15150" fmla="*/ 313622 h 5292022"/>
              <a:gd name="connsiteX15-15151" fmla="*/ 1532173 w 10693106"/>
              <a:gd name="connsiteY15-15152" fmla="*/ 347489 h 5292022"/>
              <a:gd name="connsiteX16-15153" fmla="*/ 1684573 w 10693106"/>
              <a:gd name="connsiteY16-15154" fmla="*/ 406756 h 5292022"/>
              <a:gd name="connsiteX17-15155" fmla="*/ 1760773 w 10693106"/>
              <a:gd name="connsiteY17-15156" fmla="*/ 423689 h 5292022"/>
              <a:gd name="connsiteX18-15157" fmla="*/ 1997840 w 10693106"/>
              <a:gd name="connsiteY18-15158" fmla="*/ 415222 h 5292022"/>
              <a:gd name="connsiteX19-15159" fmla="*/ 2116373 w 10693106"/>
              <a:gd name="connsiteY19-15160" fmla="*/ 398289 h 5292022"/>
              <a:gd name="connsiteX20-15161" fmla="*/ 2260306 w 10693106"/>
              <a:gd name="connsiteY20-15162" fmla="*/ 381356 h 5292022"/>
              <a:gd name="connsiteX21-15163" fmla="*/ 2404240 w 10693106"/>
              <a:gd name="connsiteY21-15164" fmla="*/ 355956 h 5292022"/>
              <a:gd name="connsiteX22-15165" fmla="*/ 2455040 w 10693106"/>
              <a:gd name="connsiteY22-15166" fmla="*/ 330556 h 5292022"/>
              <a:gd name="connsiteX23-15167" fmla="*/ 2531240 w 10693106"/>
              <a:gd name="connsiteY23-15168" fmla="*/ 305156 h 5292022"/>
              <a:gd name="connsiteX24-15169" fmla="*/ 2649350 w 10693106"/>
              <a:gd name="connsiteY24-15170" fmla="*/ 225781 h 5292022"/>
              <a:gd name="connsiteX25-15171" fmla="*/ 2742906 w 10693106"/>
              <a:gd name="connsiteY25-15172" fmla="*/ 186622 h 5292022"/>
              <a:gd name="connsiteX26-15173" fmla="*/ 2764920 w 10693106"/>
              <a:gd name="connsiteY26-15174" fmla="*/ 173076 h 5292022"/>
              <a:gd name="connsiteX27-15175" fmla="*/ 2832653 w 10693106"/>
              <a:gd name="connsiteY27-15176" fmla="*/ 167996 h 5292022"/>
              <a:gd name="connsiteX28-15177" fmla="*/ 3002294 w 10693106"/>
              <a:gd name="connsiteY28-15178" fmla="*/ 154680 h 5292022"/>
              <a:gd name="connsiteX29-15179" fmla="*/ 3142763 w 10693106"/>
              <a:gd name="connsiteY29-15180" fmla="*/ 110421 h 5292022"/>
              <a:gd name="connsiteX30-15181" fmla="*/ 3398918 w 10693106"/>
              <a:gd name="connsiteY30-15182" fmla="*/ 72322 h 5292022"/>
              <a:gd name="connsiteX31-15183" fmla="*/ 3606506 w 10693106"/>
              <a:gd name="connsiteY31-15184" fmla="*/ 60393 h 5292022"/>
              <a:gd name="connsiteX32-15185" fmla="*/ 3682706 w 10693106"/>
              <a:gd name="connsiteY32-15186" fmla="*/ 79942 h 5292022"/>
              <a:gd name="connsiteX33-15187" fmla="*/ 3741973 w 10693106"/>
              <a:gd name="connsiteY33-15188" fmla="*/ 86561 h 5292022"/>
              <a:gd name="connsiteX34-15189" fmla="*/ 3794678 w 10693106"/>
              <a:gd name="connsiteY34-15190" fmla="*/ 101321 h 5292022"/>
              <a:gd name="connsiteX35-15191" fmla="*/ 3833625 w 10693106"/>
              <a:gd name="connsiteY35-15192" fmla="*/ 110846 h 5292022"/>
              <a:gd name="connsiteX36-15193" fmla="*/ 3892487 w 10693106"/>
              <a:gd name="connsiteY36-15194" fmla="*/ 116984 h 5292022"/>
              <a:gd name="connsiteX37-15195" fmla="*/ 3933108 w 10693106"/>
              <a:gd name="connsiteY37-15196" fmla="*/ 128837 h 5292022"/>
              <a:gd name="connsiteX38-15197" fmla="*/ 3976923 w 10693106"/>
              <a:gd name="connsiteY38-15198" fmla="*/ 135187 h 5292022"/>
              <a:gd name="connsiteX39-15199" fmla="*/ 4021373 w 10693106"/>
              <a:gd name="connsiteY39-15200" fmla="*/ 144289 h 5292022"/>
              <a:gd name="connsiteX40-15201" fmla="*/ 4055240 w 10693106"/>
              <a:gd name="connsiteY40-15202" fmla="*/ 152756 h 5292022"/>
              <a:gd name="connsiteX41-15203" fmla="*/ 4275373 w 10693106"/>
              <a:gd name="connsiteY41-15204" fmla="*/ 195089 h 5292022"/>
              <a:gd name="connsiteX42-15205" fmla="*/ 4402373 w 10693106"/>
              <a:gd name="connsiteY42-15206" fmla="*/ 228956 h 5292022"/>
              <a:gd name="connsiteX43-15207" fmla="*/ 4529373 w 10693106"/>
              <a:gd name="connsiteY43-15208" fmla="*/ 271289 h 5292022"/>
              <a:gd name="connsiteX44-15209" fmla="*/ 4859573 w 10693106"/>
              <a:gd name="connsiteY44-15210" fmla="*/ 347489 h 5292022"/>
              <a:gd name="connsiteX45-15211" fmla="*/ 5045840 w 10693106"/>
              <a:gd name="connsiteY45-15212" fmla="*/ 423689 h 5292022"/>
              <a:gd name="connsiteX46-15213" fmla="*/ 5325240 w 10693106"/>
              <a:gd name="connsiteY46-15214" fmla="*/ 584556 h 5292022"/>
              <a:gd name="connsiteX47-15215" fmla="*/ 5494573 w 10693106"/>
              <a:gd name="connsiteY47-15216" fmla="*/ 736956 h 5292022"/>
              <a:gd name="connsiteX48-15217" fmla="*/ 5562306 w 10693106"/>
              <a:gd name="connsiteY48-15218" fmla="*/ 813156 h 5292022"/>
              <a:gd name="connsiteX49-15219" fmla="*/ 5621573 w 10693106"/>
              <a:gd name="connsiteY49-15220" fmla="*/ 863956 h 5292022"/>
              <a:gd name="connsiteX50-15221" fmla="*/ 5672373 w 10693106"/>
              <a:gd name="connsiteY50-15222" fmla="*/ 931689 h 5292022"/>
              <a:gd name="connsiteX51-15223" fmla="*/ 5757040 w 10693106"/>
              <a:gd name="connsiteY51-15224" fmla="*/ 1033289 h 5292022"/>
              <a:gd name="connsiteX52-15225" fmla="*/ 5833240 w 10693106"/>
              <a:gd name="connsiteY52-15226" fmla="*/ 1126422 h 5292022"/>
              <a:gd name="connsiteX53-15227" fmla="*/ 6019506 w 10693106"/>
              <a:gd name="connsiteY53-15228" fmla="*/ 1329622 h 5292022"/>
              <a:gd name="connsiteX54-15229" fmla="*/ 6087240 w 10693106"/>
              <a:gd name="connsiteY54-15230" fmla="*/ 1380422 h 5292022"/>
              <a:gd name="connsiteX55-15231" fmla="*/ 6171906 w 10693106"/>
              <a:gd name="connsiteY55-15232" fmla="*/ 1482022 h 5292022"/>
              <a:gd name="connsiteX56-15233" fmla="*/ 6451306 w 10693106"/>
              <a:gd name="connsiteY56-15234" fmla="*/ 1693689 h 5292022"/>
              <a:gd name="connsiteX57-15235" fmla="*/ 6519040 w 10693106"/>
              <a:gd name="connsiteY57-15236" fmla="*/ 1702156 h 5292022"/>
              <a:gd name="connsiteX58-15237" fmla="*/ 6603706 w 10693106"/>
              <a:gd name="connsiteY58-15238" fmla="*/ 1736022 h 5292022"/>
              <a:gd name="connsiteX59-15239" fmla="*/ 6671440 w 10693106"/>
              <a:gd name="connsiteY59-15240" fmla="*/ 1769889 h 5292022"/>
              <a:gd name="connsiteX60-15241" fmla="*/ 6866173 w 10693106"/>
              <a:gd name="connsiteY60-15242" fmla="*/ 1795289 h 5292022"/>
              <a:gd name="connsiteX61-15243" fmla="*/ 7196373 w 10693106"/>
              <a:gd name="connsiteY61-15244" fmla="*/ 1778356 h 5292022"/>
              <a:gd name="connsiteX62-15245" fmla="*/ 7509640 w 10693106"/>
              <a:gd name="connsiteY62-15246" fmla="*/ 1702156 h 5292022"/>
              <a:gd name="connsiteX63-15247" fmla="*/ 7628173 w 10693106"/>
              <a:gd name="connsiteY63-15248" fmla="*/ 1676756 h 5292022"/>
              <a:gd name="connsiteX64-15249" fmla="*/ 7704373 w 10693106"/>
              <a:gd name="connsiteY64-15250" fmla="*/ 1634422 h 5292022"/>
              <a:gd name="connsiteX65-15251" fmla="*/ 7755173 w 10693106"/>
              <a:gd name="connsiteY65-15252" fmla="*/ 1625956 h 5292022"/>
              <a:gd name="connsiteX66-15253" fmla="*/ 7797506 w 10693106"/>
              <a:gd name="connsiteY66-15254" fmla="*/ 1592089 h 5292022"/>
              <a:gd name="connsiteX67-15255" fmla="*/ 7856773 w 10693106"/>
              <a:gd name="connsiteY67-15256" fmla="*/ 1575156 h 5292022"/>
              <a:gd name="connsiteX68-15257" fmla="*/ 7958373 w 10693106"/>
              <a:gd name="connsiteY68-15258" fmla="*/ 1507422 h 5292022"/>
              <a:gd name="connsiteX69-15259" fmla="*/ 8009173 w 10693106"/>
              <a:gd name="connsiteY69-15260" fmla="*/ 1456622 h 5292022"/>
              <a:gd name="connsiteX70-15261" fmla="*/ 8339373 w 10693106"/>
              <a:gd name="connsiteY70-15262" fmla="*/ 1211089 h 5292022"/>
              <a:gd name="connsiteX71-15263" fmla="*/ 8576440 w 10693106"/>
              <a:gd name="connsiteY71-15264" fmla="*/ 957089 h 5292022"/>
              <a:gd name="connsiteX72-15265" fmla="*/ 8652640 w 10693106"/>
              <a:gd name="connsiteY72-15266" fmla="*/ 677689 h 5292022"/>
              <a:gd name="connsiteX73-15267" fmla="*/ 8847373 w 10693106"/>
              <a:gd name="connsiteY73-15268" fmla="*/ 491422 h 5292022"/>
              <a:gd name="connsiteX74-15269" fmla="*/ 8982840 w 10693106"/>
              <a:gd name="connsiteY74-15270" fmla="*/ 398289 h 5292022"/>
              <a:gd name="connsiteX75-15271" fmla="*/ 9084440 w 10693106"/>
              <a:gd name="connsiteY75-15272" fmla="*/ 364422 h 5292022"/>
              <a:gd name="connsiteX76-15273" fmla="*/ 9152173 w 10693106"/>
              <a:gd name="connsiteY76-15274" fmla="*/ 339022 h 5292022"/>
              <a:gd name="connsiteX77-15275" fmla="*/ 9380773 w 10693106"/>
              <a:gd name="connsiteY77-15276" fmla="*/ 355956 h 5292022"/>
              <a:gd name="connsiteX78-15277" fmla="*/ 9744840 w 10693106"/>
              <a:gd name="connsiteY78-15278" fmla="*/ 466022 h 5292022"/>
              <a:gd name="connsiteX79-15279" fmla="*/ 9888773 w 10693106"/>
              <a:gd name="connsiteY79-15280" fmla="*/ 508356 h 5292022"/>
              <a:gd name="connsiteX80-15281" fmla="*/ 9998840 w 10693106"/>
              <a:gd name="connsiteY80-15282" fmla="*/ 559156 h 5292022"/>
              <a:gd name="connsiteX81-15283" fmla="*/ 10083506 w 10693106"/>
              <a:gd name="connsiteY81-15284" fmla="*/ 618422 h 5292022"/>
              <a:gd name="connsiteX82-15285" fmla="*/ 10286706 w 10693106"/>
              <a:gd name="connsiteY82-15286" fmla="*/ 686156 h 5292022"/>
              <a:gd name="connsiteX83-15287" fmla="*/ 10388306 w 10693106"/>
              <a:gd name="connsiteY83-15288" fmla="*/ 889356 h 5292022"/>
              <a:gd name="connsiteX84-15289" fmla="*/ 10540706 w 10693106"/>
              <a:gd name="connsiteY84-15290" fmla="*/ 1261889 h 5292022"/>
              <a:gd name="connsiteX85-15291" fmla="*/ 10557640 w 10693106"/>
              <a:gd name="connsiteY85-15292" fmla="*/ 1346556 h 5292022"/>
              <a:gd name="connsiteX86-15293" fmla="*/ 10583040 w 10693106"/>
              <a:gd name="connsiteY86-15294" fmla="*/ 1448156 h 5292022"/>
              <a:gd name="connsiteX87-15295" fmla="*/ 10616906 w 10693106"/>
              <a:gd name="connsiteY87-15296" fmla="*/ 1651356 h 5292022"/>
              <a:gd name="connsiteX88-15297" fmla="*/ 10633840 w 10693106"/>
              <a:gd name="connsiteY88-15298" fmla="*/ 1736022 h 5292022"/>
              <a:gd name="connsiteX89-15299" fmla="*/ 10650773 w 10693106"/>
              <a:gd name="connsiteY89-15300" fmla="*/ 1769889 h 5292022"/>
              <a:gd name="connsiteX90-15301" fmla="*/ 10676173 w 10693106"/>
              <a:gd name="connsiteY90-15302" fmla="*/ 1854556 h 5292022"/>
              <a:gd name="connsiteX91-15303" fmla="*/ 10693106 w 10693106"/>
              <a:gd name="connsiteY91-15304" fmla="*/ 2006956 h 5292022"/>
              <a:gd name="connsiteX92-15305" fmla="*/ 10625373 w 10693106"/>
              <a:gd name="connsiteY92-15306" fmla="*/ 2227089 h 5292022"/>
              <a:gd name="connsiteX93-15307" fmla="*/ 10608440 w 10693106"/>
              <a:gd name="connsiteY93-15308" fmla="*/ 2252489 h 5292022"/>
              <a:gd name="connsiteX94-15309" fmla="*/ 10540706 w 10693106"/>
              <a:gd name="connsiteY94-15310" fmla="*/ 2396422 h 5292022"/>
              <a:gd name="connsiteX95-15311" fmla="*/ 10498373 w 10693106"/>
              <a:gd name="connsiteY95-15312" fmla="*/ 2481089 h 5292022"/>
              <a:gd name="connsiteX96-15313" fmla="*/ 10439106 w 10693106"/>
              <a:gd name="connsiteY96-15314" fmla="*/ 2667356 h 5292022"/>
              <a:gd name="connsiteX97-15315" fmla="*/ 10430640 w 10693106"/>
              <a:gd name="connsiteY97-15316" fmla="*/ 2709689 h 5292022"/>
              <a:gd name="connsiteX98-15317" fmla="*/ 10405240 w 10693106"/>
              <a:gd name="connsiteY98-15318" fmla="*/ 2785889 h 5292022"/>
              <a:gd name="connsiteX99-15319" fmla="*/ 10396773 w 10693106"/>
              <a:gd name="connsiteY99-15320" fmla="*/ 2819756 h 5292022"/>
              <a:gd name="connsiteX100-15321" fmla="*/ 10362906 w 10693106"/>
              <a:gd name="connsiteY100-15322" fmla="*/ 2912889 h 5292022"/>
              <a:gd name="connsiteX101-15323" fmla="*/ 10329040 w 10693106"/>
              <a:gd name="connsiteY101-15324" fmla="*/ 2955222 h 5292022"/>
              <a:gd name="connsiteX102-15325" fmla="*/ 10227440 w 10693106"/>
              <a:gd name="connsiteY102-15326" fmla="*/ 3056822 h 5292022"/>
              <a:gd name="connsiteX103-15327" fmla="*/ 10168173 w 10693106"/>
              <a:gd name="connsiteY103-15328" fmla="*/ 3124556 h 5292022"/>
              <a:gd name="connsiteX104-15329" fmla="*/ 10117373 w 10693106"/>
              <a:gd name="connsiteY104-15330" fmla="*/ 3175356 h 5292022"/>
              <a:gd name="connsiteX105-15331" fmla="*/ 10032706 w 10693106"/>
              <a:gd name="connsiteY105-15332" fmla="*/ 3276956 h 5292022"/>
              <a:gd name="connsiteX106-15333" fmla="*/ 9948040 w 10693106"/>
              <a:gd name="connsiteY106-15334" fmla="*/ 3336222 h 5292022"/>
              <a:gd name="connsiteX107-15335" fmla="*/ 9905706 w 10693106"/>
              <a:gd name="connsiteY107-15336" fmla="*/ 3361622 h 5292022"/>
              <a:gd name="connsiteX108-15337" fmla="*/ 9829506 w 10693106"/>
              <a:gd name="connsiteY108-15338" fmla="*/ 3378556 h 5292022"/>
              <a:gd name="connsiteX109-15339" fmla="*/ 9727906 w 10693106"/>
              <a:gd name="connsiteY109-15340" fmla="*/ 3420889 h 5292022"/>
              <a:gd name="connsiteX110-15341" fmla="*/ 9634773 w 10693106"/>
              <a:gd name="connsiteY110-15342" fmla="*/ 3446289 h 5292022"/>
              <a:gd name="connsiteX111-15343" fmla="*/ 9456973 w 10693106"/>
              <a:gd name="connsiteY111-15344" fmla="*/ 3539422 h 5292022"/>
              <a:gd name="connsiteX112-15345" fmla="*/ 9313040 w 10693106"/>
              <a:gd name="connsiteY112-15346" fmla="*/ 3666422 h 5292022"/>
              <a:gd name="connsiteX113-15347" fmla="*/ 9279173 w 10693106"/>
              <a:gd name="connsiteY113-15348" fmla="*/ 3683356 h 5292022"/>
              <a:gd name="connsiteX114-15349" fmla="*/ 9067506 w 10693106"/>
              <a:gd name="connsiteY114-15350" fmla="*/ 3861156 h 5292022"/>
              <a:gd name="connsiteX115-15351" fmla="*/ 8999773 w 10693106"/>
              <a:gd name="connsiteY115-15352" fmla="*/ 3928889 h 5292022"/>
              <a:gd name="connsiteX116-15353" fmla="*/ 8813506 w 10693106"/>
              <a:gd name="connsiteY116-15354" fmla="*/ 4064356 h 5292022"/>
              <a:gd name="connsiteX117-15355" fmla="*/ 8728840 w 10693106"/>
              <a:gd name="connsiteY117-15356" fmla="*/ 4106689 h 5292022"/>
              <a:gd name="connsiteX118-15357" fmla="*/ 8373240 w 10693106"/>
              <a:gd name="connsiteY118-15358" fmla="*/ 4140556 h 5292022"/>
              <a:gd name="connsiteX119-15359" fmla="*/ 7966840 w 10693106"/>
              <a:gd name="connsiteY119-15360" fmla="*/ 4233689 h 5292022"/>
              <a:gd name="connsiteX120-15361" fmla="*/ 7687440 w 10693106"/>
              <a:gd name="connsiteY120-15362" fmla="*/ 4394556 h 5292022"/>
              <a:gd name="connsiteX121-15363" fmla="*/ 7551973 w 10693106"/>
              <a:gd name="connsiteY121-15364" fmla="*/ 4479222 h 5292022"/>
              <a:gd name="connsiteX122-15365" fmla="*/ 7374173 w 10693106"/>
              <a:gd name="connsiteY122-15366" fmla="*/ 4657022 h 5292022"/>
              <a:gd name="connsiteX123-15367" fmla="*/ 7374173 w 10693106"/>
              <a:gd name="connsiteY123-15368" fmla="*/ 4657022 h 5292022"/>
              <a:gd name="connsiteX124-15369" fmla="*/ 7221773 w 10693106"/>
              <a:gd name="connsiteY124-15370" fmla="*/ 4775556 h 5292022"/>
              <a:gd name="connsiteX125-15371" fmla="*/ 7027040 w 10693106"/>
              <a:gd name="connsiteY125-15372" fmla="*/ 4902556 h 5292022"/>
              <a:gd name="connsiteX126-15373" fmla="*/ 6883106 w 10693106"/>
              <a:gd name="connsiteY126-15374" fmla="*/ 4970289 h 5292022"/>
              <a:gd name="connsiteX127-15375" fmla="*/ 6815373 w 10693106"/>
              <a:gd name="connsiteY127-15376" fmla="*/ 5012622 h 5292022"/>
              <a:gd name="connsiteX128-15377" fmla="*/ 6646040 w 10693106"/>
              <a:gd name="connsiteY128-15378" fmla="*/ 5105756 h 5292022"/>
              <a:gd name="connsiteX129-15379" fmla="*/ 6527506 w 10693106"/>
              <a:gd name="connsiteY129-15380" fmla="*/ 5165022 h 5292022"/>
              <a:gd name="connsiteX130-15381" fmla="*/ 6298906 w 10693106"/>
              <a:gd name="connsiteY130-15382" fmla="*/ 5241222 h 5292022"/>
              <a:gd name="connsiteX131-15383" fmla="*/ 6197306 w 10693106"/>
              <a:gd name="connsiteY131-15384" fmla="*/ 5266622 h 5292022"/>
              <a:gd name="connsiteX132-15385" fmla="*/ 6061840 w 10693106"/>
              <a:gd name="connsiteY132-15386" fmla="*/ 5275089 h 5292022"/>
              <a:gd name="connsiteX133-15387" fmla="*/ 5917906 w 10693106"/>
              <a:gd name="connsiteY133-15388" fmla="*/ 5292022 h 5292022"/>
              <a:gd name="connsiteX134-15389" fmla="*/ 5748573 w 10693106"/>
              <a:gd name="connsiteY134-15390" fmla="*/ 5283556 h 5292022"/>
              <a:gd name="connsiteX135-15391" fmla="*/ 5282906 w 10693106"/>
              <a:gd name="connsiteY135-15392" fmla="*/ 5173489 h 5292022"/>
              <a:gd name="connsiteX136-15393" fmla="*/ 5138973 w 10693106"/>
              <a:gd name="connsiteY136-15394" fmla="*/ 5071889 h 5292022"/>
              <a:gd name="connsiteX137-15395" fmla="*/ 4959480 w 10693106"/>
              <a:gd name="connsiteY137-15396" fmla="*/ 4988069 h 5292022"/>
              <a:gd name="connsiteX138-15397" fmla="*/ 4842216 w 10693106"/>
              <a:gd name="connsiteY138-15398" fmla="*/ 4953779 h 5292022"/>
              <a:gd name="connsiteX139-15399" fmla="*/ 4797343 w 10693106"/>
              <a:gd name="connsiteY139-15400" fmla="*/ 4878426 h 5292022"/>
              <a:gd name="connsiteX140-15401" fmla="*/ 4686853 w 10693106"/>
              <a:gd name="connsiteY140-15402" fmla="*/ 4788256 h 5292022"/>
              <a:gd name="connsiteX141-15403" fmla="*/ 4536146 w 10693106"/>
              <a:gd name="connsiteY141-15404" fmla="*/ 4712902 h 5292022"/>
              <a:gd name="connsiteX142-15405" fmla="*/ 4365120 w 10693106"/>
              <a:gd name="connsiteY142-15406" fmla="*/ 4616382 h 5292022"/>
              <a:gd name="connsiteX143-15407" fmla="*/ 4187743 w 10693106"/>
              <a:gd name="connsiteY143-15408" fmla="*/ 4521556 h 5292022"/>
              <a:gd name="connsiteX144-15409" fmla="*/ 4038306 w 10693106"/>
              <a:gd name="connsiteY144-15410" fmla="*/ 4365769 h 5292022"/>
              <a:gd name="connsiteX145-15411" fmla="*/ 3893103 w 10693106"/>
              <a:gd name="connsiteY145-15412" fmla="*/ 4255279 h 5292022"/>
              <a:gd name="connsiteX146-15413" fmla="*/ 3882520 w 10693106"/>
              <a:gd name="connsiteY146-15414" fmla="*/ 4180772 h 5292022"/>
              <a:gd name="connsiteX147-15415" fmla="*/ 3895643 w 10693106"/>
              <a:gd name="connsiteY147-15416" fmla="*/ 4059699 h 5292022"/>
              <a:gd name="connsiteX148-15417" fmla="*/ 3919773 w 10693106"/>
              <a:gd name="connsiteY148-15418" fmla="*/ 3920422 h 5292022"/>
              <a:gd name="connsiteX149-15419" fmla="*/ 3877440 w 10693106"/>
              <a:gd name="connsiteY149-15420" fmla="*/ 3624089 h 5292022"/>
              <a:gd name="connsiteX150-15421" fmla="*/ 3852040 w 10693106"/>
              <a:gd name="connsiteY150-15422" fmla="*/ 3530956 h 5292022"/>
              <a:gd name="connsiteX151-15423" fmla="*/ 3801240 w 10693106"/>
              <a:gd name="connsiteY151-15424" fmla="*/ 3420889 h 5292022"/>
              <a:gd name="connsiteX152-15425" fmla="*/ 3733506 w 10693106"/>
              <a:gd name="connsiteY152-15426" fmla="*/ 3319289 h 5292022"/>
              <a:gd name="connsiteX153-15427" fmla="*/ 3242440 w 10693106"/>
              <a:gd name="connsiteY153-15428" fmla="*/ 3099156 h 5292022"/>
              <a:gd name="connsiteX154-15429" fmla="*/ 3123906 w 10693106"/>
              <a:gd name="connsiteY154-15430" fmla="*/ 2997556 h 5292022"/>
              <a:gd name="connsiteX155-15431" fmla="*/ 2988440 w 10693106"/>
              <a:gd name="connsiteY155-15432" fmla="*/ 2802822 h 5292022"/>
              <a:gd name="connsiteX156-15433" fmla="*/ 2971506 w 10693106"/>
              <a:gd name="connsiteY156-15434" fmla="*/ 2743556 h 5292022"/>
              <a:gd name="connsiteX157-15435" fmla="*/ 2996906 w 10693106"/>
              <a:gd name="connsiteY157-15436" fmla="*/ 2531889 h 5292022"/>
              <a:gd name="connsiteX158-15437" fmla="*/ 3013840 w 10693106"/>
              <a:gd name="connsiteY158-15438" fmla="*/ 2430289 h 5292022"/>
              <a:gd name="connsiteX159-15439" fmla="*/ 3005373 w 10693106"/>
              <a:gd name="connsiteY159-15440" fmla="*/ 2311756 h 5292022"/>
              <a:gd name="connsiteX160-15441" fmla="*/ 2988440 w 10693106"/>
              <a:gd name="connsiteY160-15442" fmla="*/ 2260956 h 5292022"/>
              <a:gd name="connsiteX161-15443" fmla="*/ 2802173 w 10693106"/>
              <a:gd name="connsiteY161-15444" fmla="*/ 2006956 h 5292022"/>
              <a:gd name="connsiteX162-15445" fmla="*/ 2641306 w 10693106"/>
              <a:gd name="connsiteY162-15446" fmla="*/ 1863022 h 5292022"/>
              <a:gd name="connsiteX163-15447" fmla="*/ 2590506 w 10693106"/>
              <a:gd name="connsiteY163-15448" fmla="*/ 1837622 h 5292022"/>
              <a:gd name="connsiteX164-15449" fmla="*/ 2531240 w 10693106"/>
              <a:gd name="connsiteY164-15450" fmla="*/ 1829156 h 5292022"/>
              <a:gd name="connsiteX165-15451" fmla="*/ 2446573 w 10693106"/>
              <a:gd name="connsiteY165-15452" fmla="*/ 1812222 h 5292022"/>
              <a:gd name="connsiteX166-15453" fmla="*/ 2251840 w 10693106"/>
              <a:gd name="connsiteY166-15454" fmla="*/ 1837622 h 5292022"/>
              <a:gd name="connsiteX167-15455" fmla="*/ 2167173 w 10693106"/>
              <a:gd name="connsiteY167-15456" fmla="*/ 1879956 h 5292022"/>
              <a:gd name="connsiteX168-15457" fmla="*/ 1980906 w 10693106"/>
              <a:gd name="connsiteY168-15458" fmla="*/ 1939222 h 5292022"/>
              <a:gd name="connsiteX169-15459" fmla="*/ 1904706 w 10693106"/>
              <a:gd name="connsiteY169-15460" fmla="*/ 1973089 h 5292022"/>
              <a:gd name="connsiteX170-15461" fmla="*/ 1828506 w 10693106"/>
              <a:gd name="connsiteY170-15462" fmla="*/ 1990022 h 5292022"/>
              <a:gd name="connsiteX171-15463" fmla="*/ 1726906 w 10693106"/>
              <a:gd name="connsiteY171-15464" fmla="*/ 2040822 h 5292022"/>
              <a:gd name="connsiteX172-15465" fmla="*/ 1659173 w 10693106"/>
              <a:gd name="connsiteY172-15466" fmla="*/ 2074689 h 5292022"/>
              <a:gd name="connsiteX173-15467" fmla="*/ 1498306 w 10693106"/>
              <a:gd name="connsiteY173-15468" fmla="*/ 2100089 h 5292022"/>
              <a:gd name="connsiteX174-15469" fmla="*/ 914106 w 10693106"/>
              <a:gd name="connsiteY174-15470" fmla="*/ 2032356 h 5292022"/>
              <a:gd name="connsiteX175-15471" fmla="*/ 617773 w 10693106"/>
              <a:gd name="connsiteY175-15472" fmla="*/ 1922289 h 5292022"/>
              <a:gd name="connsiteX176-15473" fmla="*/ 516173 w 10693106"/>
              <a:gd name="connsiteY176-15474" fmla="*/ 1837622 h 5292022"/>
              <a:gd name="connsiteX177-15475" fmla="*/ 355306 w 10693106"/>
              <a:gd name="connsiteY177-15476" fmla="*/ 1625956 h 5292022"/>
              <a:gd name="connsiteX178-15477" fmla="*/ 296040 w 10693106"/>
              <a:gd name="connsiteY178-15478" fmla="*/ 1524356 h 5292022"/>
              <a:gd name="connsiteX179-15479" fmla="*/ 253706 w 10693106"/>
              <a:gd name="connsiteY179-15480" fmla="*/ 1346556 h 5292022"/>
              <a:gd name="connsiteX180-15481" fmla="*/ 245240 w 10693106"/>
              <a:gd name="connsiteY180-15482" fmla="*/ 1219556 h 5292022"/>
              <a:gd name="connsiteX181-15483" fmla="*/ 236773 w 10693106"/>
              <a:gd name="connsiteY181-15484" fmla="*/ 1117956 h 5292022"/>
              <a:gd name="connsiteX182-15485" fmla="*/ 245240 w 10693106"/>
              <a:gd name="connsiteY182-15486" fmla="*/ 847022 h 5292022"/>
              <a:gd name="connsiteX183-15487" fmla="*/ 236773 w 10693106"/>
              <a:gd name="connsiteY183-15488" fmla="*/ 703089 h 5292022"/>
              <a:gd name="connsiteX184-15489" fmla="*/ 109773 w 10693106"/>
              <a:gd name="connsiteY184-15490" fmla="*/ 559156 h 5292022"/>
              <a:gd name="connsiteX185-15491" fmla="*/ 58973 w 10693106"/>
              <a:gd name="connsiteY185-15492" fmla="*/ 482956 h 5292022"/>
              <a:gd name="connsiteX186-15493" fmla="*/ 16640 w 10693106"/>
              <a:gd name="connsiteY186-15494" fmla="*/ 432156 h 5292022"/>
              <a:gd name="connsiteX187-15495" fmla="*/ 8173 w 10693106"/>
              <a:gd name="connsiteY187-15496" fmla="*/ 389822 h 5292022"/>
              <a:gd name="connsiteX188-15497" fmla="*/ 16640 w 10693106"/>
              <a:gd name="connsiteY188-15498" fmla="*/ 339022 h 5292022"/>
              <a:gd name="connsiteX0-15499" fmla="*/ 16640 w 10693106"/>
              <a:gd name="connsiteY0-15500" fmla="*/ 339022 h 5292022"/>
              <a:gd name="connsiteX1-15501" fmla="*/ 58973 w 10693106"/>
              <a:gd name="connsiteY1-15502" fmla="*/ 245889 h 5292022"/>
              <a:gd name="connsiteX2-15503" fmla="*/ 109773 w 10693106"/>
              <a:gd name="connsiteY2-15504" fmla="*/ 178156 h 5292022"/>
              <a:gd name="connsiteX3-15505" fmla="*/ 202906 w 10693106"/>
              <a:gd name="connsiteY3-15506" fmla="*/ 93489 h 5292022"/>
              <a:gd name="connsiteX4-15507" fmla="*/ 236773 w 10693106"/>
              <a:gd name="connsiteY4-15508" fmla="*/ 68089 h 5292022"/>
              <a:gd name="connsiteX5-15509" fmla="*/ 335410 w 10693106"/>
              <a:gd name="connsiteY5-15510" fmla="*/ 58352 h 5292022"/>
              <a:gd name="connsiteX6-15511" fmla="*/ 382400 w 10693106"/>
              <a:gd name="connsiteY6-15512" fmla="*/ 51156 h 5292022"/>
              <a:gd name="connsiteX7-15513" fmla="*/ 434912 w 10693106"/>
              <a:gd name="connsiteY7-15514" fmla="*/ 70071 h 5292022"/>
              <a:gd name="connsiteX8-15515" fmla="*/ 492697 w 10693106"/>
              <a:gd name="connsiteY8-15516" fmla="*/ 74247 h 5292022"/>
              <a:gd name="connsiteX9-15517" fmla="*/ 822897 w 10693106"/>
              <a:gd name="connsiteY9-15518" fmla="*/ 82713 h 5292022"/>
              <a:gd name="connsiteX10-15519" fmla="*/ 1091906 w 10693106"/>
              <a:gd name="connsiteY10-15520" fmla="*/ 356 h 5292022"/>
              <a:gd name="connsiteX11-15521" fmla="*/ 1235840 w 10693106"/>
              <a:gd name="connsiteY11-15522" fmla="*/ 59622 h 5292022"/>
              <a:gd name="connsiteX12-15523" fmla="*/ 1337440 w 10693106"/>
              <a:gd name="connsiteY12-15524" fmla="*/ 135822 h 5292022"/>
              <a:gd name="connsiteX13-15525" fmla="*/ 1422106 w 10693106"/>
              <a:gd name="connsiteY13-15526" fmla="*/ 245889 h 5292022"/>
              <a:gd name="connsiteX14-15527" fmla="*/ 1481373 w 10693106"/>
              <a:gd name="connsiteY14-15528" fmla="*/ 313622 h 5292022"/>
              <a:gd name="connsiteX15-15529" fmla="*/ 1532173 w 10693106"/>
              <a:gd name="connsiteY15-15530" fmla="*/ 347489 h 5292022"/>
              <a:gd name="connsiteX16-15531" fmla="*/ 1684573 w 10693106"/>
              <a:gd name="connsiteY16-15532" fmla="*/ 406756 h 5292022"/>
              <a:gd name="connsiteX17-15533" fmla="*/ 1760773 w 10693106"/>
              <a:gd name="connsiteY17-15534" fmla="*/ 423689 h 5292022"/>
              <a:gd name="connsiteX18-15535" fmla="*/ 1997840 w 10693106"/>
              <a:gd name="connsiteY18-15536" fmla="*/ 415222 h 5292022"/>
              <a:gd name="connsiteX19-15537" fmla="*/ 2116373 w 10693106"/>
              <a:gd name="connsiteY19-15538" fmla="*/ 398289 h 5292022"/>
              <a:gd name="connsiteX20-15539" fmla="*/ 2260306 w 10693106"/>
              <a:gd name="connsiteY20-15540" fmla="*/ 381356 h 5292022"/>
              <a:gd name="connsiteX21-15541" fmla="*/ 2404240 w 10693106"/>
              <a:gd name="connsiteY21-15542" fmla="*/ 355956 h 5292022"/>
              <a:gd name="connsiteX22-15543" fmla="*/ 2455040 w 10693106"/>
              <a:gd name="connsiteY22-15544" fmla="*/ 330556 h 5292022"/>
              <a:gd name="connsiteX23-15545" fmla="*/ 2531240 w 10693106"/>
              <a:gd name="connsiteY23-15546" fmla="*/ 305156 h 5292022"/>
              <a:gd name="connsiteX24-15547" fmla="*/ 2649350 w 10693106"/>
              <a:gd name="connsiteY24-15548" fmla="*/ 225781 h 5292022"/>
              <a:gd name="connsiteX25-15549" fmla="*/ 2742906 w 10693106"/>
              <a:gd name="connsiteY25-15550" fmla="*/ 186622 h 5292022"/>
              <a:gd name="connsiteX26-15551" fmla="*/ 2764920 w 10693106"/>
              <a:gd name="connsiteY26-15552" fmla="*/ 173076 h 5292022"/>
              <a:gd name="connsiteX27-15553" fmla="*/ 2832653 w 10693106"/>
              <a:gd name="connsiteY27-15554" fmla="*/ 167996 h 5292022"/>
              <a:gd name="connsiteX28-15555" fmla="*/ 3002294 w 10693106"/>
              <a:gd name="connsiteY28-15556" fmla="*/ 154680 h 5292022"/>
              <a:gd name="connsiteX29-15557" fmla="*/ 3142763 w 10693106"/>
              <a:gd name="connsiteY29-15558" fmla="*/ 110421 h 5292022"/>
              <a:gd name="connsiteX30-15559" fmla="*/ 3398918 w 10693106"/>
              <a:gd name="connsiteY30-15560" fmla="*/ 72322 h 5292022"/>
              <a:gd name="connsiteX31-15561" fmla="*/ 3606506 w 10693106"/>
              <a:gd name="connsiteY31-15562" fmla="*/ 60393 h 5292022"/>
              <a:gd name="connsiteX32-15563" fmla="*/ 3682706 w 10693106"/>
              <a:gd name="connsiteY32-15564" fmla="*/ 79942 h 5292022"/>
              <a:gd name="connsiteX33-15565" fmla="*/ 3741973 w 10693106"/>
              <a:gd name="connsiteY33-15566" fmla="*/ 86561 h 5292022"/>
              <a:gd name="connsiteX34-15567" fmla="*/ 3794678 w 10693106"/>
              <a:gd name="connsiteY34-15568" fmla="*/ 101321 h 5292022"/>
              <a:gd name="connsiteX35-15569" fmla="*/ 3833625 w 10693106"/>
              <a:gd name="connsiteY35-15570" fmla="*/ 110846 h 5292022"/>
              <a:gd name="connsiteX36-15571" fmla="*/ 3892487 w 10693106"/>
              <a:gd name="connsiteY36-15572" fmla="*/ 116984 h 5292022"/>
              <a:gd name="connsiteX37-15573" fmla="*/ 3933108 w 10693106"/>
              <a:gd name="connsiteY37-15574" fmla="*/ 128837 h 5292022"/>
              <a:gd name="connsiteX38-15575" fmla="*/ 3976923 w 10693106"/>
              <a:gd name="connsiteY38-15576" fmla="*/ 135187 h 5292022"/>
              <a:gd name="connsiteX39-15577" fmla="*/ 4021373 w 10693106"/>
              <a:gd name="connsiteY39-15578" fmla="*/ 144289 h 5292022"/>
              <a:gd name="connsiteX40-15579" fmla="*/ 4055240 w 10693106"/>
              <a:gd name="connsiteY40-15580" fmla="*/ 152756 h 5292022"/>
              <a:gd name="connsiteX41-15581" fmla="*/ 4275373 w 10693106"/>
              <a:gd name="connsiteY41-15582" fmla="*/ 195089 h 5292022"/>
              <a:gd name="connsiteX42-15583" fmla="*/ 4402373 w 10693106"/>
              <a:gd name="connsiteY42-15584" fmla="*/ 228956 h 5292022"/>
              <a:gd name="connsiteX43-15585" fmla="*/ 4529373 w 10693106"/>
              <a:gd name="connsiteY43-15586" fmla="*/ 271289 h 5292022"/>
              <a:gd name="connsiteX44-15587" fmla="*/ 4859573 w 10693106"/>
              <a:gd name="connsiteY44-15588" fmla="*/ 347489 h 5292022"/>
              <a:gd name="connsiteX45-15589" fmla="*/ 5045840 w 10693106"/>
              <a:gd name="connsiteY45-15590" fmla="*/ 423689 h 5292022"/>
              <a:gd name="connsiteX46-15591" fmla="*/ 5325240 w 10693106"/>
              <a:gd name="connsiteY46-15592" fmla="*/ 584556 h 5292022"/>
              <a:gd name="connsiteX47-15593" fmla="*/ 5494573 w 10693106"/>
              <a:gd name="connsiteY47-15594" fmla="*/ 736956 h 5292022"/>
              <a:gd name="connsiteX48-15595" fmla="*/ 5562306 w 10693106"/>
              <a:gd name="connsiteY48-15596" fmla="*/ 813156 h 5292022"/>
              <a:gd name="connsiteX49-15597" fmla="*/ 5621573 w 10693106"/>
              <a:gd name="connsiteY49-15598" fmla="*/ 863956 h 5292022"/>
              <a:gd name="connsiteX50-15599" fmla="*/ 5672373 w 10693106"/>
              <a:gd name="connsiteY50-15600" fmla="*/ 931689 h 5292022"/>
              <a:gd name="connsiteX51-15601" fmla="*/ 5757040 w 10693106"/>
              <a:gd name="connsiteY51-15602" fmla="*/ 1033289 h 5292022"/>
              <a:gd name="connsiteX52-15603" fmla="*/ 5833240 w 10693106"/>
              <a:gd name="connsiteY52-15604" fmla="*/ 1126422 h 5292022"/>
              <a:gd name="connsiteX53-15605" fmla="*/ 6019506 w 10693106"/>
              <a:gd name="connsiteY53-15606" fmla="*/ 1329622 h 5292022"/>
              <a:gd name="connsiteX54-15607" fmla="*/ 6087240 w 10693106"/>
              <a:gd name="connsiteY54-15608" fmla="*/ 1380422 h 5292022"/>
              <a:gd name="connsiteX55-15609" fmla="*/ 6171906 w 10693106"/>
              <a:gd name="connsiteY55-15610" fmla="*/ 1482022 h 5292022"/>
              <a:gd name="connsiteX56-15611" fmla="*/ 6451306 w 10693106"/>
              <a:gd name="connsiteY56-15612" fmla="*/ 1693689 h 5292022"/>
              <a:gd name="connsiteX57-15613" fmla="*/ 6519040 w 10693106"/>
              <a:gd name="connsiteY57-15614" fmla="*/ 1702156 h 5292022"/>
              <a:gd name="connsiteX58-15615" fmla="*/ 6603706 w 10693106"/>
              <a:gd name="connsiteY58-15616" fmla="*/ 1736022 h 5292022"/>
              <a:gd name="connsiteX59-15617" fmla="*/ 6671440 w 10693106"/>
              <a:gd name="connsiteY59-15618" fmla="*/ 1769889 h 5292022"/>
              <a:gd name="connsiteX60-15619" fmla="*/ 6866173 w 10693106"/>
              <a:gd name="connsiteY60-15620" fmla="*/ 1795289 h 5292022"/>
              <a:gd name="connsiteX61-15621" fmla="*/ 7196373 w 10693106"/>
              <a:gd name="connsiteY61-15622" fmla="*/ 1778356 h 5292022"/>
              <a:gd name="connsiteX62-15623" fmla="*/ 7509640 w 10693106"/>
              <a:gd name="connsiteY62-15624" fmla="*/ 1702156 h 5292022"/>
              <a:gd name="connsiteX63-15625" fmla="*/ 7628173 w 10693106"/>
              <a:gd name="connsiteY63-15626" fmla="*/ 1676756 h 5292022"/>
              <a:gd name="connsiteX64-15627" fmla="*/ 7704373 w 10693106"/>
              <a:gd name="connsiteY64-15628" fmla="*/ 1634422 h 5292022"/>
              <a:gd name="connsiteX65-15629" fmla="*/ 7755173 w 10693106"/>
              <a:gd name="connsiteY65-15630" fmla="*/ 1625956 h 5292022"/>
              <a:gd name="connsiteX66-15631" fmla="*/ 7797506 w 10693106"/>
              <a:gd name="connsiteY66-15632" fmla="*/ 1592089 h 5292022"/>
              <a:gd name="connsiteX67-15633" fmla="*/ 7856773 w 10693106"/>
              <a:gd name="connsiteY67-15634" fmla="*/ 1575156 h 5292022"/>
              <a:gd name="connsiteX68-15635" fmla="*/ 7958373 w 10693106"/>
              <a:gd name="connsiteY68-15636" fmla="*/ 1507422 h 5292022"/>
              <a:gd name="connsiteX69-15637" fmla="*/ 8009173 w 10693106"/>
              <a:gd name="connsiteY69-15638" fmla="*/ 1456622 h 5292022"/>
              <a:gd name="connsiteX70-15639" fmla="*/ 8339373 w 10693106"/>
              <a:gd name="connsiteY70-15640" fmla="*/ 1211089 h 5292022"/>
              <a:gd name="connsiteX71-15641" fmla="*/ 8576440 w 10693106"/>
              <a:gd name="connsiteY71-15642" fmla="*/ 957089 h 5292022"/>
              <a:gd name="connsiteX72-15643" fmla="*/ 8652640 w 10693106"/>
              <a:gd name="connsiteY72-15644" fmla="*/ 677689 h 5292022"/>
              <a:gd name="connsiteX73-15645" fmla="*/ 8847373 w 10693106"/>
              <a:gd name="connsiteY73-15646" fmla="*/ 491422 h 5292022"/>
              <a:gd name="connsiteX74-15647" fmla="*/ 8982840 w 10693106"/>
              <a:gd name="connsiteY74-15648" fmla="*/ 398289 h 5292022"/>
              <a:gd name="connsiteX75-15649" fmla="*/ 9084440 w 10693106"/>
              <a:gd name="connsiteY75-15650" fmla="*/ 364422 h 5292022"/>
              <a:gd name="connsiteX76-15651" fmla="*/ 9152173 w 10693106"/>
              <a:gd name="connsiteY76-15652" fmla="*/ 339022 h 5292022"/>
              <a:gd name="connsiteX77-15653" fmla="*/ 9380773 w 10693106"/>
              <a:gd name="connsiteY77-15654" fmla="*/ 355956 h 5292022"/>
              <a:gd name="connsiteX78-15655" fmla="*/ 9744840 w 10693106"/>
              <a:gd name="connsiteY78-15656" fmla="*/ 466022 h 5292022"/>
              <a:gd name="connsiteX79-15657" fmla="*/ 9888773 w 10693106"/>
              <a:gd name="connsiteY79-15658" fmla="*/ 508356 h 5292022"/>
              <a:gd name="connsiteX80-15659" fmla="*/ 9998840 w 10693106"/>
              <a:gd name="connsiteY80-15660" fmla="*/ 559156 h 5292022"/>
              <a:gd name="connsiteX81-15661" fmla="*/ 10083506 w 10693106"/>
              <a:gd name="connsiteY81-15662" fmla="*/ 618422 h 5292022"/>
              <a:gd name="connsiteX82-15663" fmla="*/ 10286706 w 10693106"/>
              <a:gd name="connsiteY82-15664" fmla="*/ 686156 h 5292022"/>
              <a:gd name="connsiteX83-15665" fmla="*/ 10388306 w 10693106"/>
              <a:gd name="connsiteY83-15666" fmla="*/ 889356 h 5292022"/>
              <a:gd name="connsiteX84-15667" fmla="*/ 10540706 w 10693106"/>
              <a:gd name="connsiteY84-15668" fmla="*/ 1261889 h 5292022"/>
              <a:gd name="connsiteX85-15669" fmla="*/ 10557640 w 10693106"/>
              <a:gd name="connsiteY85-15670" fmla="*/ 1346556 h 5292022"/>
              <a:gd name="connsiteX86-15671" fmla="*/ 10583040 w 10693106"/>
              <a:gd name="connsiteY86-15672" fmla="*/ 1448156 h 5292022"/>
              <a:gd name="connsiteX87-15673" fmla="*/ 10616906 w 10693106"/>
              <a:gd name="connsiteY87-15674" fmla="*/ 1651356 h 5292022"/>
              <a:gd name="connsiteX88-15675" fmla="*/ 10633840 w 10693106"/>
              <a:gd name="connsiteY88-15676" fmla="*/ 1736022 h 5292022"/>
              <a:gd name="connsiteX89-15677" fmla="*/ 10650773 w 10693106"/>
              <a:gd name="connsiteY89-15678" fmla="*/ 1769889 h 5292022"/>
              <a:gd name="connsiteX90-15679" fmla="*/ 10676173 w 10693106"/>
              <a:gd name="connsiteY90-15680" fmla="*/ 1854556 h 5292022"/>
              <a:gd name="connsiteX91-15681" fmla="*/ 10693106 w 10693106"/>
              <a:gd name="connsiteY91-15682" fmla="*/ 2006956 h 5292022"/>
              <a:gd name="connsiteX92-15683" fmla="*/ 10625373 w 10693106"/>
              <a:gd name="connsiteY92-15684" fmla="*/ 2227089 h 5292022"/>
              <a:gd name="connsiteX93-15685" fmla="*/ 10608440 w 10693106"/>
              <a:gd name="connsiteY93-15686" fmla="*/ 2252489 h 5292022"/>
              <a:gd name="connsiteX94-15687" fmla="*/ 10540706 w 10693106"/>
              <a:gd name="connsiteY94-15688" fmla="*/ 2396422 h 5292022"/>
              <a:gd name="connsiteX95-15689" fmla="*/ 10498373 w 10693106"/>
              <a:gd name="connsiteY95-15690" fmla="*/ 2481089 h 5292022"/>
              <a:gd name="connsiteX96-15691" fmla="*/ 10439106 w 10693106"/>
              <a:gd name="connsiteY96-15692" fmla="*/ 2667356 h 5292022"/>
              <a:gd name="connsiteX97-15693" fmla="*/ 10430640 w 10693106"/>
              <a:gd name="connsiteY97-15694" fmla="*/ 2709689 h 5292022"/>
              <a:gd name="connsiteX98-15695" fmla="*/ 10405240 w 10693106"/>
              <a:gd name="connsiteY98-15696" fmla="*/ 2785889 h 5292022"/>
              <a:gd name="connsiteX99-15697" fmla="*/ 10396773 w 10693106"/>
              <a:gd name="connsiteY99-15698" fmla="*/ 2819756 h 5292022"/>
              <a:gd name="connsiteX100-15699" fmla="*/ 10362906 w 10693106"/>
              <a:gd name="connsiteY100-15700" fmla="*/ 2912889 h 5292022"/>
              <a:gd name="connsiteX101-15701" fmla="*/ 10329040 w 10693106"/>
              <a:gd name="connsiteY101-15702" fmla="*/ 2955222 h 5292022"/>
              <a:gd name="connsiteX102-15703" fmla="*/ 10227440 w 10693106"/>
              <a:gd name="connsiteY102-15704" fmla="*/ 3056822 h 5292022"/>
              <a:gd name="connsiteX103-15705" fmla="*/ 10168173 w 10693106"/>
              <a:gd name="connsiteY103-15706" fmla="*/ 3124556 h 5292022"/>
              <a:gd name="connsiteX104-15707" fmla="*/ 10117373 w 10693106"/>
              <a:gd name="connsiteY104-15708" fmla="*/ 3175356 h 5292022"/>
              <a:gd name="connsiteX105-15709" fmla="*/ 10032706 w 10693106"/>
              <a:gd name="connsiteY105-15710" fmla="*/ 3276956 h 5292022"/>
              <a:gd name="connsiteX106-15711" fmla="*/ 9948040 w 10693106"/>
              <a:gd name="connsiteY106-15712" fmla="*/ 3336222 h 5292022"/>
              <a:gd name="connsiteX107-15713" fmla="*/ 9905706 w 10693106"/>
              <a:gd name="connsiteY107-15714" fmla="*/ 3361622 h 5292022"/>
              <a:gd name="connsiteX108-15715" fmla="*/ 9829506 w 10693106"/>
              <a:gd name="connsiteY108-15716" fmla="*/ 3378556 h 5292022"/>
              <a:gd name="connsiteX109-15717" fmla="*/ 9727906 w 10693106"/>
              <a:gd name="connsiteY109-15718" fmla="*/ 3420889 h 5292022"/>
              <a:gd name="connsiteX110-15719" fmla="*/ 9634773 w 10693106"/>
              <a:gd name="connsiteY110-15720" fmla="*/ 3446289 h 5292022"/>
              <a:gd name="connsiteX111-15721" fmla="*/ 9456973 w 10693106"/>
              <a:gd name="connsiteY111-15722" fmla="*/ 3539422 h 5292022"/>
              <a:gd name="connsiteX112-15723" fmla="*/ 9313040 w 10693106"/>
              <a:gd name="connsiteY112-15724" fmla="*/ 3666422 h 5292022"/>
              <a:gd name="connsiteX113-15725" fmla="*/ 9279173 w 10693106"/>
              <a:gd name="connsiteY113-15726" fmla="*/ 3683356 h 5292022"/>
              <a:gd name="connsiteX114-15727" fmla="*/ 9067506 w 10693106"/>
              <a:gd name="connsiteY114-15728" fmla="*/ 3861156 h 5292022"/>
              <a:gd name="connsiteX115-15729" fmla="*/ 8999773 w 10693106"/>
              <a:gd name="connsiteY115-15730" fmla="*/ 3928889 h 5292022"/>
              <a:gd name="connsiteX116-15731" fmla="*/ 8813506 w 10693106"/>
              <a:gd name="connsiteY116-15732" fmla="*/ 4064356 h 5292022"/>
              <a:gd name="connsiteX117-15733" fmla="*/ 8728840 w 10693106"/>
              <a:gd name="connsiteY117-15734" fmla="*/ 4106689 h 5292022"/>
              <a:gd name="connsiteX118-15735" fmla="*/ 8373240 w 10693106"/>
              <a:gd name="connsiteY118-15736" fmla="*/ 4140556 h 5292022"/>
              <a:gd name="connsiteX119-15737" fmla="*/ 7966840 w 10693106"/>
              <a:gd name="connsiteY119-15738" fmla="*/ 4233689 h 5292022"/>
              <a:gd name="connsiteX120-15739" fmla="*/ 7687440 w 10693106"/>
              <a:gd name="connsiteY120-15740" fmla="*/ 4394556 h 5292022"/>
              <a:gd name="connsiteX121-15741" fmla="*/ 7551973 w 10693106"/>
              <a:gd name="connsiteY121-15742" fmla="*/ 4479222 h 5292022"/>
              <a:gd name="connsiteX122-15743" fmla="*/ 7374173 w 10693106"/>
              <a:gd name="connsiteY122-15744" fmla="*/ 4657022 h 5292022"/>
              <a:gd name="connsiteX123-15745" fmla="*/ 7374173 w 10693106"/>
              <a:gd name="connsiteY123-15746" fmla="*/ 4657022 h 5292022"/>
              <a:gd name="connsiteX124-15747" fmla="*/ 7221773 w 10693106"/>
              <a:gd name="connsiteY124-15748" fmla="*/ 4775556 h 5292022"/>
              <a:gd name="connsiteX125-15749" fmla="*/ 7027040 w 10693106"/>
              <a:gd name="connsiteY125-15750" fmla="*/ 4902556 h 5292022"/>
              <a:gd name="connsiteX126-15751" fmla="*/ 6883106 w 10693106"/>
              <a:gd name="connsiteY126-15752" fmla="*/ 4970289 h 5292022"/>
              <a:gd name="connsiteX127-15753" fmla="*/ 6815373 w 10693106"/>
              <a:gd name="connsiteY127-15754" fmla="*/ 5012622 h 5292022"/>
              <a:gd name="connsiteX128-15755" fmla="*/ 6646040 w 10693106"/>
              <a:gd name="connsiteY128-15756" fmla="*/ 5105756 h 5292022"/>
              <a:gd name="connsiteX129-15757" fmla="*/ 6527506 w 10693106"/>
              <a:gd name="connsiteY129-15758" fmla="*/ 5165022 h 5292022"/>
              <a:gd name="connsiteX130-15759" fmla="*/ 6298906 w 10693106"/>
              <a:gd name="connsiteY130-15760" fmla="*/ 5241222 h 5292022"/>
              <a:gd name="connsiteX131-15761" fmla="*/ 6197306 w 10693106"/>
              <a:gd name="connsiteY131-15762" fmla="*/ 5266622 h 5292022"/>
              <a:gd name="connsiteX132-15763" fmla="*/ 6061840 w 10693106"/>
              <a:gd name="connsiteY132-15764" fmla="*/ 5275089 h 5292022"/>
              <a:gd name="connsiteX133-15765" fmla="*/ 5917906 w 10693106"/>
              <a:gd name="connsiteY133-15766" fmla="*/ 5292022 h 5292022"/>
              <a:gd name="connsiteX134-15767" fmla="*/ 5748573 w 10693106"/>
              <a:gd name="connsiteY134-15768" fmla="*/ 5283556 h 5292022"/>
              <a:gd name="connsiteX135-15769" fmla="*/ 5282906 w 10693106"/>
              <a:gd name="connsiteY135-15770" fmla="*/ 5173489 h 5292022"/>
              <a:gd name="connsiteX136-15771" fmla="*/ 5138973 w 10693106"/>
              <a:gd name="connsiteY136-15772" fmla="*/ 5071889 h 5292022"/>
              <a:gd name="connsiteX137-15773" fmla="*/ 4959480 w 10693106"/>
              <a:gd name="connsiteY137-15774" fmla="*/ 4988069 h 5292022"/>
              <a:gd name="connsiteX138-15775" fmla="*/ 4842216 w 10693106"/>
              <a:gd name="connsiteY138-15776" fmla="*/ 4953779 h 5292022"/>
              <a:gd name="connsiteX139-15777" fmla="*/ 4797343 w 10693106"/>
              <a:gd name="connsiteY139-15778" fmla="*/ 4878426 h 5292022"/>
              <a:gd name="connsiteX140-15779" fmla="*/ 4686853 w 10693106"/>
              <a:gd name="connsiteY140-15780" fmla="*/ 4788256 h 5292022"/>
              <a:gd name="connsiteX141-15781" fmla="*/ 4536146 w 10693106"/>
              <a:gd name="connsiteY141-15782" fmla="*/ 4712902 h 5292022"/>
              <a:gd name="connsiteX142-15783" fmla="*/ 4365120 w 10693106"/>
              <a:gd name="connsiteY142-15784" fmla="*/ 4616382 h 5292022"/>
              <a:gd name="connsiteX143-15785" fmla="*/ 4187743 w 10693106"/>
              <a:gd name="connsiteY143-15786" fmla="*/ 4521556 h 5292022"/>
              <a:gd name="connsiteX144-15787" fmla="*/ 4038306 w 10693106"/>
              <a:gd name="connsiteY144-15788" fmla="*/ 4365769 h 5292022"/>
              <a:gd name="connsiteX145-15789" fmla="*/ 3893103 w 10693106"/>
              <a:gd name="connsiteY145-15790" fmla="*/ 4255279 h 5292022"/>
              <a:gd name="connsiteX146-15791" fmla="*/ 3882520 w 10693106"/>
              <a:gd name="connsiteY146-15792" fmla="*/ 4180772 h 5292022"/>
              <a:gd name="connsiteX147-15793" fmla="*/ 3895643 w 10693106"/>
              <a:gd name="connsiteY147-15794" fmla="*/ 4059699 h 5292022"/>
              <a:gd name="connsiteX148-15795" fmla="*/ 3919773 w 10693106"/>
              <a:gd name="connsiteY148-15796" fmla="*/ 3920422 h 5292022"/>
              <a:gd name="connsiteX149-15797" fmla="*/ 3877440 w 10693106"/>
              <a:gd name="connsiteY149-15798" fmla="*/ 3624089 h 5292022"/>
              <a:gd name="connsiteX150-15799" fmla="*/ 3852040 w 10693106"/>
              <a:gd name="connsiteY150-15800" fmla="*/ 3530956 h 5292022"/>
              <a:gd name="connsiteX151-15801" fmla="*/ 3801240 w 10693106"/>
              <a:gd name="connsiteY151-15802" fmla="*/ 3420889 h 5292022"/>
              <a:gd name="connsiteX152-15803" fmla="*/ 3733506 w 10693106"/>
              <a:gd name="connsiteY152-15804" fmla="*/ 3319289 h 5292022"/>
              <a:gd name="connsiteX153-15805" fmla="*/ 3242440 w 10693106"/>
              <a:gd name="connsiteY153-15806" fmla="*/ 3099156 h 5292022"/>
              <a:gd name="connsiteX154-15807" fmla="*/ 3123906 w 10693106"/>
              <a:gd name="connsiteY154-15808" fmla="*/ 2997556 h 5292022"/>
              <a:gd name="connsiteX155-15809" fmla="*/ 2988440 w 10693106"/>
              <a:gd name="connsiteY155-15810" fmla="*/ 2802822 h 5292022"/>
              <a:gd name="connsiteX156-15811" fmla="*/ 2971506 w 10693106"/>
              <a:gd name="connsiteY156-15812" fmla="*/ 2743556 h 5292022"/>
              <a:gd name="connsiteX157-15813" fmla="*/ 2996906 w 10693106"/>
              <a:gd name="connsiteY157-15814" fmla="*/ 2531889 h 5292022"/>
              <a:gd name="connsiteX158-15815" fmla="*/ 3013840 w 10693106"/>
              <a:gd name="connsiteY158-15816" fmla="*/ 2430289 h 5292022"/>
              <a:gd name="connsiteX159-15817" fmla="*/ 3005373 w 10693106"/>
              <a:gd name="connsiteY159-15818" fmla="*/ 2311756 h 5292022"/>
              <a:gd name="connsiteX160-15819" fmla="*/ 2988440 w 10693106"/>
              <a:gd name="connsiteY160-15820" fmla="*/ 2260956 h 5292022"/>
              <a:gd name="connsiteX161-15821" fmla="*/ 2802173 w 10693106"/>
              <a:gd name="connsiteY161-15822" fmla="*/ 2006956 h 5292022"/>
              <a:gd name="connsiteX162-15823" fmla="*/ 2641306 w 10693106"/>
              <a:gd name="connsiteY162-15824" fmla="*/ 1863022 h 5292022"/>
              <a:gd name="connsiteX163-15825" fmla="*/ 2590506 w 10693106"/>
              <a:gd name="connsiteY163-15826" fmla="*/ 1837622 h 5292022"/>
              <a:gd name="connsiteX164-15827" fmla="*/ 2531240 w 10693106"/>
              <a:gd name="connsiteY164-15828" fmla="*/ 1829156 h 5292022"/>
              <a:gd name="connsiteX165-15829" fmla="*/ 2446573 w 10693106"/>
              <a:gd name="connsiteY165-15830" fmla="*/ 1812222 h 5292022"/>
              <a:gd name="connsiteX166-15831" fmla="*/ 2251840 w 10693106"/>
              <a:gd name="connsiteY166-15832" fmla="*/ 1837622 h 5292022"/>
              <a:gd name="connsiteX167-15833" fmla="*/ 2167173 w 10693106"/>
              <a:gd name="connsiteY167-15834" fmla="*/ 1879956 h 5292022"/>
              <a:gd name="connsiteX168-15835" fmla="*/ 1980906 w 10693106"/>
              <a:gd name="connsiteY168-15836" fmla="*/ 1939222 h 5292022"/>
              <a:gd name="connsiteX169-15837" fmla="*/ 1904706 w 10693106"/>
              <a:gd name="connsiteY169-15838" fmla="*/ 1973089 h 5292022"/>
              <a:gd name="connsiteX170-15839" fmla="*/ 1828506 w 10693106"/>
              <a:gd name="connsiteY170-15840" fmla="*/ 1990022 h 5292022"/>
              <a:gd name="connsiteX171-15841" fmla="*/ 1726906 w 10693106"/>
              <a:gd name="connsiteY171-15842" fmla="*/ 2040822 h 5292022"/>
              <a:gd name="connsiteX172-15843" fmla="*/ 1659173 w 10693106"/>
              <a:gd name="connsiteY172-15844" fmla="*/ 2074689 h 5292022"/>
              <a:gd name="connsiteX173-15845" fmla="*/ 1498306 w 10693106"/>
              <a:gd name="connsiteY173-15846" fmla="*/ 2100089 h 5292022"/>
              <a:gd name="connsiteX174-15847" fmla="*/ 914106 w 10693106"/>
              <a:gd name="connsiteY174-15848" fmla="*/ 2032356 h 5292022"/>
              <a:gd name="connsiteX175-15849" fmla="*/ 617773 w 10693106"/>
              <a:gd name="connsiteY175-15850" fmla="*/ 1922289 h 5292022"/>
              <a:gd name="connsiteX176-15851" fmla="*/ 516173 w 10693106"/>
              <a:gd name="connsiteY176-15852" fmla="*/ 1837622 h 5292022"/>
              <a:gd name="connsiteX177-15853" fmla="*/ 355306 w 10693106"/>
              <a:gd name="connsiteY177-15854" fmla="*/ 1625956 h 5292022"/>
              <a:gd name="connsiteX178-15855" fmla="*/ 296040 w 10693106"/>
              <a:gd name="connsiteY178-15856" fmla="*/ 1524356 h 5292022"/>
              <a:gd name="connsiteX179-15857" fmla="*/ 253706 w 10693106"/>
              <a:gd name="connsiteY179-15858" fmla="*/ 1346556 h 5292022"/>
              <a:gd name="connsiteX180-15859" fmla="*/ 245240 w 10693106"/>
              <a:gd name="connsiteY180-15860" fmla="*/ 1219556 h 5292022"/>
              <a:gd name="connsiteX181-15861" fmla="*/ 236773 w 10693106"/>
              <a:gd name="connsiteY181-15862" fmla="*/ 1117956 h 5292022"/>
              <a:gd name="connsiteX182-15863" fmla="*/ 245240 w 10693106"/>
              <a:gd name="connsiteY182-15864" fmla="*/ 847022 h 5292022"/>
              <a:gd name="connsiteX183-15865" fmla="*/ 236773 w 10693106"/>
              <a:gd name="connsiteY183-15866" fmla="*/ 703089 h 5292022"/>
              <a:gd name="connsiteX184-15867" fmla="*/ 109773 w 10693106"/>
              <a:gd name="connsiteY184-15868" fmla="*/ 559156 h 5292022"/>
              <a:gd name="connsiteX185-15869" fmla="*/ 58973 w 10693106"/>
              <a:gd name="connsiteY185-15870" fmla="*/ 482956 h 5292022"/>
              <a:gd name="connsiteX186-15871" fmla="*/ 16640 w 10693106"/>
              <a:gd name="connsiteY186-15872" fmla="*/ 432156 h 5292022"/>
              <a:gd name="connsiteX187-15873" fmla="*/ 8173 w 10693106"/>
              <a:gd name="connsiteY187-15874" fmla="*/ 389822 h 5292022"/>
              <a:gd name="connsiteX188-15875" fmla="*/ 16640 w 10693106"/>
              <a:gd name="connsiteY188-15876" fmla="*/ 339022 h 5292022"/>
              <a:gd name="connsiteX0-15877" fmla="*/ 16640 w 10693106"/>
              <a:gd name="connsiteY0-15878" fmla="*/ 339022 h 5292022"/>
              <a:gd name="connsiteX1-15879" fmla="*/ 58973 w 10693106"/>
              <a:gd name="connsiteY1-15880" fmla="*/ 245889 h 5292022"/>
              <a:gd name="connsiteX2-15881" fmla="*/ 109773 w 10693106"/>
              <a:gd name="connsiteY2-15882" fmla="*/ 178156 h 5292022"/>
              <a:gd name="connsiteX3-15883" fmla="*/ 202906 w 10693106"/>
              <a:gd name="connsiteY3-15884" fmla="*/ 93489 h 5292022"/>
              <a:gd name="connsiteX4-15885" fmla="*/ 236773 w 10693106"/>
              <a:gd name="connsiteY4-15886" fmla="*/ 68089 h 5292022"/>
              <a:gd name="connsiteX5-15887" fmla="*/ 335410 w 10693106"/>
              <a:gd name="connsiteY5-15888" fmla="*/ 58352 h 5292022"/>
              <a:gd name="connsiteX6-15889" fmla="*/ 382400 w 10693106"/>
              <a:gd name="connsiteY6-15890" fmla="*/ 51156 h 5292022"/>
              <a:gd name="connsiteX7-15891" fmla="*/ 434912 w 10693106"/>
              <a:gd name="connsiteY7-15892" fmla="*/ 70071 h 5292022"/>
              <a:gd name="connsiteX8-15893" fmla="*/ 492697 w 10693106"/>
              <a:gd name="connsiteY8-15894" fmla="*/ 74247 h 5292022"/>
              <a:gd name="connsiteX9-15895" fmla="*/ 822897 w 10693106"/>
              <a:gd name="connsiteY9-15896" fmla="*/ 82713 h 5292022"/>
              <a:gd name="connsiteX10-15897" fmla="*/ 1091906 w 10693106"/>
              <a:gd name="connsiteY10-15898" fmla="*/ 356 h 5292022"/>
              <a:gd name="connsiteX11-15899" fmla="*/ 1235840 w 10693106"/>
              <a:gd name="connsiteY11-15900" fmla="*/ 59622 h 5292022"/>
              <a:gd name="connsiteX12-15901" fmla="*/ 1337440 w 10693106"/>
              <a:gd name="connsiteY12-15902" fmla="*/ 135822 h 5292022"/>
              <a:gd name="connsiteX13-15903" fmla="*/ 1422106 w 10693106"/>
              <a:gd name="connsiteY13-15904" fmla="*/ 245889 h 5292022"/>
              <a:gd name="connsiteX14-15905" fmla="*/ 1481373 w 10693106"/>
              <a:gd name="connsiteY14-15906" fmla="*/ 313622 h 5292022"/>
              <a:gd name="connsiteX15-15907" fmla="*/ 1532173 w 10693106"/>
              <a:gd name="connsiteY15-15908" fmla="*/ 347489 h 5292022"/>
              <a:gd name="connsiteX16-15909" fmla="*/ 1684573 w 10693106"/>
              <a:gd name="connsiteY16-15910" fmla="*/ 406756 h 5292022"/>
              <a:gd name="connsiteX17-15911" fmla="*/ 1760773 w 10693106"/>
              <a:gd name="connsiteY17-15912" fmla="*/ 423689 h 5292022"/>
              <a:gd name="connsiteX18-15913" fmla="*/ 1997840 w 10693106"/>
              <a:gd name="connsiteY18-15914" fmla="*/ 415222 h 5292022"/>
              <a:gd name="connsiteX19-15915" fmla="*/ 2116373 w 10693106"/>
              <a:gd name="connsiteY19-15916" fmla="*/ 398289 h 5292022"/>
              <a:gd name="connsiteX20-15917" fmla="*/ 2260306 w 10693106"/>
              <a:gd name="connsiteY20-15918" fmla="*/ 381356 h 5292022"/>
              <a:gd name="connsiteX21-15919" fmla="*/ 2404240 w 10693106"/>
              <a:gd name="connsiteY21-15920" fmla="*/ 355956 h 5292022"/>
              <a:gd name="connsiteX22-15921" fmla="*/ 2455040 w 10693106"/>
              <a:gd name="connsiteY22-15922" fmla="*/ 330556 h 5292022"/>
              <a:gd name="connsiteX23-15923" fmla="*/ 2531240 w 10693106"/>
              <a:gd name="connsiteY23-15924" fmla="*/ 305156 h 5292022"/>
              <a:gd name="connsiteX24-15925" fmla="*/ 2649350 w 10693106"/>
              <a:gd name="connsiteY24-15926" fmla="*/ 225781 h 5292022"/>
              <a:gd name="connsiteX25-15927" fmla="*/ 2742906 w 10693106"/>
              <a:gd name="connsiteY25-15928" fmla="*/ 186622 h 5292022"/>
              <a:gd name="connsiteX26-15929" fmla="*/ 2764920 w 10693106"/>
              <a:gd name="connsiteY26-15930" fmla="*/ 173076 h 5292022"/>
              <a:gd name="connsiteX27-15931" fmla="*/ 2832653 w 10693106"/>
              <a:gd name="connsiteY27-15932" fmla="*/ 167996 h 5292022"/>
              <a:gd name="connsiteX28-15933" fmla="*/ 3002294 w 10693106"/>
              <a:gd name="connsiteY28-15934" fmla="*/ 154680 h 5292022"/>
              <a:gd name="connsiteX29-15935" fmla="*/ 3142763 w 10693106"/>
              <a:gd name="connsiteY29-15936" fmla="*/ 110421 h 5292022"/>
              <a:gd name="connsiteX30-15937" fmla="*/ 3398918 w 10693106"/>
              <a:gd name="connsiteY30-15938" fmla="*/ 72322 h 5292022"/>
              <a:gd name="connsiteX31-15939" fmla="*/ 3606506 w 10693106"/>
              <a:gd name="connsiteY31-15940" fmla="*/ 60393 h 5292022"/>
              <a:gd name="connsiteX32-15941" fmla="*/ 3682706 w 10693106"/>
              <a:gd name="connsiteY32-15942" fmla="*/ 79942 h 5292022"/>
              <a:gd name="connsiteX33-15943" fmla="*/ 3741973 w 10693106"/>
              <a:gd name="connsiteY33-15944" fmla="*/ 86561 h 5292022"/>
              <a:gd name="connsiteX34-15945" fmla="*/ 3794678 w 10693106"/>
              <a:gd name="connsiteY34-15946" fmla="*/ 101321 h 5292022"/>
              <a:gd name="connsiteX35-15947" fmla="*/ 3833625 w 10693106"/>
              <a:gd name="connsiteY35-15948" fmla="*/ 110846 h 5292022"/>
              <a:gd name="connsiteX36-15949" fmla="*/ 3892487 w 10693106"/>
              <a:gd name="connsiteY36-15950" fmla="*/ 116984 h 5292022"/>
              <a:gd name="connsiteX37-15951" fmla="*/ 3933108 w 10693106"/>
              <a:gd name="connsiteY37-15952" fmla="*/ 128837 h 5292022"/>
              <a:gd name="connsiteX38-15953" fmla="*/ 3976923 w 10693106"/>
              <a:gd name="connsiteY38-15954" fmla="*/ 135187 h 5292022"/>
              <a:gd name="connsiteX39-15955" fmla="*/ 4021373 w 10693106"/>
              <a:gd name="connsiteY39-15956" fmla="*/ 144289 h 5292022"/>
              <a:gd name="connsiteX40-15957" fmla="*/ 4055240 w 10693106"/>
              <a:gd name="connsiteY40-15958" fmla="*/ 152756 h 5292022"/>
              <a:gd name="connsiteX41-15959" fmla="*/ 4275373 w 10693106"/>
              <a:gd name="connsiteY41-15960" fmla="*/ 195089 h 5292022"/>
              <a:gd name="connsiteX42-15961" fmla="*/ 4402373 w 10693106"/>
              <a:gd name="connsiteY42-15962" fmla="*/ 228956 h 5292022"/>
              <a:gd name="connsiteX43-15963" fmla="*/ 4529373 w 10693106"/>
              <a:gd name="connsiteY43-15964" fmla="*/ 271289 h 5292022"/>
              <a:gd name="connsiteX44-15965" fmla="*/ 4859573 w 10693106"/>
              <a:gd name="connsiteY44-15966" fmla="*/ 347489 h 5292022"/>
              <a:gd name="connsiteX45-15967" fmla="*/ 5045840 w 10693106"/>
              <a:gd name="connsiteY45-15968" fmla="*/ 423689 h 5292022"/>
              <a:gd name="connsiteX46-15969" fmla="*/ 5325240 w 10693106"/>
              <a:gd name="connsiteY46-15970" fmla="*/ 584556 h 5292022"/>
              <a:gd name="connsiteX47-15971" fmla="*/ 5494573 w 10693106"/>
              <a:gd name="connsiteY47-15972" fmla="*/ 736956 h 5292022"/>
              <a:gd name="connsiteX48-15973" fmla="*/ 5562306 w 10693106"/>
              <a:gd name="connsiteY48-15974" fmla="*/ 813156 h 5292022"/>
              <a:gd name="connsiteX49-15975" fmla="*/ 5621573 w 10693106"/>
              <a:gd name="connsiteY49-15976" fmla="*/ 863956 h 5292022"/>
              <a:gd name="connsiteX50-15977" fmla="*/ 5672373 w 10693106"/>
              <a:gd name="connsiteY50-15978" fmla="*/ 931689 h 5292022"/>
              <a:gd name="connsiteX51-15979" fmla="*/ 5757040 w 10693106"/>
              <a:gd name="connsiteY51-15980" fmla="*/ 1033289 h 5292022"/>
              <a:gd name="connsiteX52-15981" fmla="*/ 5833240 w 10693106"/>
              <a:gd name="connsiteY52-15982" fmla="*/ 1126422 h 5292022"/>
              <a:gd name="connsiteX53-15983" fmla="*/ 6019506 w 10693106"/>
              <a:gd name="connsiteY53-15984" fmla="*/ 1329622 h 5292022"/>
              <a:gd name="connsiteX54-15985" fmla="*/ 6087240 w 10693106"/>
              <a:gd name="connsiteY54-15986" fmla="*/ 1380422 h 5292022"/>
              <a:gd name="connsiteX55-15987" fmla="*/ 6171906 w 10693106"/>
              <a:gd name="connsiteY55-15988" fmla="*/ 1482022 h 5292022"/>
              <a:gd name="connsiteX56-15989" fmla="*/ 6451306 w 10693106"/>
              <a:gd name="connsiteY56-15990" fmla="*/ 1693689 h 5292022"/>
              <a:gd name="connsiteX57-15991" fmla="*/ 6519040 w 10693106"/>
              <a:gd name="connsiteY57-15992" fmla="*/ 1702156 h 5292022"/>
              <a:gd name="connsiteX58-15993" fmla="*/ 6603706 w 10693106"/>
              <a:gd name="connsiteY58-15994" fmla="*/ 1736022 h 5292022"/>
              <a:gd name="connsiteX59-15995" fmla="*/ 6671440 w 10693106"/>
              <a:gd name="connsiteY59-15996" fmla="*/ 1769889 h 5292022"/>
              <a:gd name="connsiteX60-15997" fmla="*/ 6866173 w 10693106"/>
              <a:gd name="connsiteY60-15998" fmla="*/ 1795289 h 5292022"/>
              <a:gd name="connsiteX61-15999" fmla="*/ 7196373 w 10693106"/>
              <a:gd name="connsiteY61-16000" fmla="*/ 1778356 h 5292022"/>
              <a:gd name="connsiteX62-16001" fmla="*/ 7509640 w 10693106"/>
              <a:gd name="connsiteY62-16002" fmla="*/ 1702156 h 5292022"/>
              <a:gd name="connsiteX63-16003" fmla="*/ 7628173 w 10693106"/>
              <a:gd name="connsiteY63-16004" fmla="*/ 1676756 h 5292022"/>
              <a:gd name="connsiteX64-16005" fmla="*/ 7704373 w 10693106"/>
              <a:gd name="connsiteY64-16006" fmla="*/ 1634422 h 5292022"/>
              <a:gd name="connsiteX65-16007" fmla="*/ 7755173 w 10693106"/>
              <a:gd name="connsiteY65-16008" fmla="*/ 1625956 h 5292022"/>
              <a:gd name="connsiteX66-16009" fmla="*/ 7797506 w 10693106"/>
              <a:gd name="connsiteY66-16010" fmla="*/ 1592089 h 5292022"/>
              <a:gd name="connsiteX67-16011" fmla="*/ 7856773 w 10693106"/>
              <a:gd name="connsiteY67-16012" fmla="*/ 1575156 h 5292022"/>
              <a:gd name="connsiteX68-16013" fmla="*/ 7958373 w 10693106"/>
              <a:gd name="connsiteY68-16014" fmla="*/ 1507422 h 5292022"/>
              <a:gd name="connsiteX69-16015" fmla="*/ 8009173 w 10693106"/>
              <a:gd name="connsiteY69-16016" fmla="*/ 1456622 h 5292022"/>
              <a:gd name="connsiteX70-16017" fmla="*/ 8339373 w 10693106"/>
              <a:gd name="connsiteY70-16018" fmla="*/ 1211089 h 5292022"/>
              <a:gd name="connsiteX71-16019" fmla="*/ 8576440 w 10693106"/>
              <a:gd name="connsiteY71-16020" fmla="*/ 957089 h 5292022"/>
              <a:gd name="connsiteX72-16021" fmla="*/ 8652640 w 10693106"/>
              <a:gd name="connsiteY72-16022" fmla="*/ 677689 h 5292022"/>
              <a:gd name="connsiteX73-16023" fmla="*/ 8847373 w 10693106"/>
              <a:gd name="connsiteY73-16024" fmla="*/ 491422 h 5292022"/>
              <a:gd name="connsiteX74-16025" fmla="*/ 8982840 w 10693106"/>
              <a:gd name="connsiteY74-16026" fmla="*/ 398289 h 5292022"/>
              <a:gd name="connsiteX75-16027" fmla="*/ 9084440 w 10693106"/>
              <a:gd name="connsiteY75-16028" fmla="*/ 364422 h 5292022"/>
              <a:gd name="connsiteX76-16029" fmla="*/ 9152173 w 10693106"/>
              <a:gd name="connsiteY76-16030" fmla="*/ 339022 h 5292022"/>
              <a:gd name="connsiteX77-16031" fmla="*/ 9380773 w 10693106"/>
              <a:gd name="connsiteY77-16032" fmla="*/ 355956 h 5292022"/>
              <a:gd name="connsiteX78-16033" fmla="*/ 9744840 w 10693106"/>
              <a:gd name="connsiteY78-16034" fmla="*/ 466022 h 5292022"/>
              <a:gd name="connsiteX79-16035" fmla="*/ 9888773 w 10693106"/>
              <a:gd name="connsiteY79-16036" fmla="*/ 508356 h 5292022"/>
              <a:gd name="connsiteX80-16037" fmla="*/ 9998840 w 10693106"/>
              <a:gd name="connsiteY80-16038" fmla="*/ 559156 h 5292022"/>
              <a:gd name="connsiteX81-16039" fmla="*/ 10083506 w 10693106"/>
              <a:gd name="connsiteY81-16040" fmla="*/ 618422 h 5292022"/>
              <a:gd name="connsiteX82-16041" fmla="*/ 10286706 w 10693106"/>
              <a:gd name="connsiteY82-16042" fmla="*/ 686156 h 5292022"/>
              <a:gd name="connsiteX83-16043" fmla="*/ 10388306 w 10693106"/>
              <a:gd name="connsiteY83-16044" fmla="*/ 889356 h 5292022"/>
              <a:gd name="connsiteX84-16045" fmla="*/ 10540706 w 10693106"/>
              <a:gd name="connsiteY84-16046" fmla="*/ 1261889 h 5292022"/>
              <a:gd name="connsiteX85-16047" fmla="*/ 10557640 w 10693106"/>
              <a:gd name="connsiteY85-16048" fmla="*/ 1346556 h 5292022"/>
              <a:gd name="connsiteX86-16049" fmla="*/ 10583040 w 10693106"/>
              <a:gd name="connsiteY86-16050" fmla="*/ 1448156 h 5292022"/>
              <a:gd name="connsiteX87-16051" fmla="*/ 10616906 w 10693106"/>
              <a:gd name="connsiteY87-16052" fmla="*/ 1651356 h 5292022"/>
              <a:gd name="connsiteX88-16053" fmla="*/ 10633840 w 10693106"/>
              <a:gd name="connsiteY88-16054" fmla="*/ 1736022 h 5292022"/>
              <a:gd name="connsiteX89-16055" fmla="*/ 10650773 w 10693106"/>
              <a:gd name="connsiteY89-16056" fmla="*/ 1769889 h 5292022"/>
              <a:gd name="connsiteX90-16057" fmla="*/ 10676173 w 10693106"/>
              <a:gd name="connsiteY90-16058" fmla="*/ 1854556 h 5292022"/>
              <a:gd name="connsiteX91-16059" fmla="*/ 10693106 w 10693106"/>
              <a:gd name="connsiteY91-16060" fmla="*/ 2006956 h 5292022"/>
              <a:gd name="connsiteX92-16061" fmla="*/ 10625373 w 10693106"/>
              <a:gd name="connsiteY92-16062" fmla="*/ 2227089 h 5292022"/>
              <a:gd name="connsiteX93-16063" fmla="*/ 10608440 w 10693106"/>
              <a:gd name="connsiteY93-16064" fmla="*/ 2252489 h 5292022"/>
              <a:gd name="connsiteX94-16065" fmla="*/ 10540706 w 10693106"/>
              <a:gd name="connsiteY94-16066" fmla="*/ 2396422 h 5292022"/>
              <a:gd name="connsiteX95-16067" fmla="*/ 10498373 w 10693106"/>
              <a:gd name="connsiteY95-16068" fmla="*/ 2481089 h 5292022"/>
              <a:gd name="connsiteX96-16069" fmla="*/ 10439106 w 10693106"/>
              <a:gd name="connsiteY96-16070" fmla="*/ 2667356 h 5292022"/>
              <a:gd name="connsiteX97-16071" fmla="*/ 10430640 w 10693106"/>
              <a:gd name="connsiteY97-16072" fmla="*/ 2709689 h 5292022"/>
              <a:gd name="connsiteX98-16073" fmla="*/ 10405240 w 10693106"/>
              <a:gd name="connsiteY98-16074" fmla="*/ 2785889 h 5292022"/>
              <a:gd name="connsiteX99-16075" fmla="*/ 10396773 w 10693106"/>
              <a:gd name="connsiteY99-16076" fmla="*/ 2819756 h 5292022"/>
              <a:gd name="connsiteX100-16077" fmla="*/ 10362906 w 10693106"/>
              <a:gd name="connsiteY100-16078" fmla="*/ 2912889 h 5292022"/>
              <a:gd name="connsiteX101-16079" fmla="*/ 10329040 w 10693106"/>
              <a:gd name="connsiteY101-16080" fmla="*/ 2955222 h 5292022"/>
              <a:gd name="connsiteX102-16081" fmla="*/ 10227440 w 10693106"/>
              <a:gd name="connsiteY102-16082" fmla="*/ 3056822 h 5292022"/>
              <a:gd name="connsiteX103-16083" fmla="*/ 10168173 w 10693106"/>
              <a:gd name="connsiteY103-16084" fmla="*/ 3124556 h 5292022"/>
              <a:gd name="connsiteX104-16085" fmla="*/ 10117373 w 10693106"/>
              <a:gd name="connsiteY104-16086" fmla="*/ 3175356 h 5292022"/>
              <a:gd name="connsiteX105-16087" fmla="*/ 10032706 w 10693106"/>
              <a:gd name="connsiteY105-16088" fmla="*/ 3276956 h 5292022"/>
              <a:gd name="connsiteX106-16089" fmla="*/ 9948040 w 10693106"/>
              <a:gd name="connsiteY106-16090" fmla="*/ 3336222 h 5292022"/>
              <a:gd name="connsiteX107-16091" fmla="*/ 9905706 w 10693106"/>
              <a:gd name="connsiteY107-16092" fmla="*/ 3361622 h 5292022"/>
              <a:gd name="connsiteX108-16093" fmla="*/ 9829506 w 10693106"/>
              <a:gd name="connsiteY108-16094" fmla="*/ 3378556 h 5292022"/>
              <a:gd name="connsiteX109-16095" fmla="*/ 9727906 w 10693106"/>
              <a:gd name="connsiteY109-16096" fmla="*/ 3420889 h 5292022"/>
              <a:gd name="connsiteX110-16097" fmla="*/ 9634773 w 10693106"/>
              <a:gd name="connsiteY110-16098" fmla="*/ 3446289 h 5292022"/>
              <a:gd name="connsiteX111-16099" fmla="*/ 9456973 w 10693106"/>
              <a:gd name="connsiteY111-16100" fmla="*/ 3539422 h 5292022"/>
              <a:gd name="connsiteX112-16101" fmla="*/ 9313040 w 10693106"/>
              <a:gd name="connsiteY112-16102" fmla="*/ 3666422 h 5292022"/>
              <a:gd name="connsiteX113-16103" fmla="*/ 9279173 w 10693106"/>
              <a:gd name="connsiteY113-16104" fmla="*/ 3683356 h 5292022"/>
              <a:gd name="connsiteX114-16105" fmla="*/ 9067506 w 10693106"/>
              <a:gd name="connsiteY114-16106" fmla="*/ 3861156 h 5292022"/>
              <a:gd name="connsiteX115-16107" fmla="*/ 8999773 w 10693106"/>
              <a:gd name="connsiteY115-16108" fmla="*/ 3928889 h 5292022"/>
              <a:gd name="connsiteX116-16109" fmla="*/ 8813506 w 10693106"/>
              <a:gd name="connsiteY116-16110" fmla="*/ 4064356 h 5292022"/>
              <a:gd name="connsiteX117-16111" fmla="*/ 8728840 w 10693106"/>
              <a:gd name="connsiteY117-16112" fmla="*/ 4106689 h 5292022"/>
              <a:gd name="connsiteX118-16113" fmla="*/ 8373240 w 10693106"/>
              <a:gd name="connsiteY118-16114" fmla="*/ 4140556 h 5292022"/>
              <a:gd name="connsiteX119-16115" fmla="*/ 7966840 w 10693106"/>
              <a:gd name="connsiteY119-16116" fmla="*/ 4233689 h 5292022"/>
              <a:gd name="connsiteX120-16117" fmla="*/ 7687440 w 10693106"/>
              <a:gd name="connsiteY120-16118" fmla="*/ 4394556 h 5292022"/>
              <a:gd name="connsiteX121-16119" fmla="*/ 7551973 w 10693106"/>
              <a:gd name="connsiteY121-16120" fmla="*/ 4479222 h 5292022"/>
              <a:gd name="connsiteX122-16121" fmla="*/ 7374173 w 10693106"/>
              <a:gd name="connsiteY122-16122" fmla="*/ 4657022 h 5292022"/>
              <a:gd name="connsiteX123-16123" fmla="*/ 7374173 w 10693106"/>
              <a:gd name="connsiteY123-16124" fmla="*/ 4657022 h 5292022"/>
              <a:gd name="connsiteX124-16125" fmla="*/ 7221773 w 10693106"/>
              <a:gd name="connsiteY124-16126" fmla="*/ 4775556 h 5292022"/>
              <a:gd name="connsiteX125-16127" fmla="*/ 7027040 w 10693106"/>
              <a:gd name="connsiteY125-16128" fmla="*/ 4902556 h 5292022"/>
              <a:gd name="connsiteX126-16129" fmla="*/ 6883106 w 10693106"/>
              <a:gd name="connsiteY126-16130" fmla="*/ 4970289 h 5292022"/>
              <a:gd name="connsiteX127-16131" fmla="*/ 6815373 w 10693106"/>
              <a:gd name="connsiteY127-16132" fmla="*/ 5012622 h 5292022"/>
              <a:gd name="connsiteX128-16133" fmla="*/ 6646040 w 10693106"/>
              <a:gd name="connsiteY128-16134" fmla="*/ 5105756 h 5292022"/>
              <a:gd name="connsiteX129-16135" fmla="*/ 6527506 w 10693106"/>
              <a:gd name="connsiteY129-16136" fmla="*/ 5165022 h 5292022"/>
              <a:gd name="connsiteX130-16137" fmla="*/ 6298906 w 10693106"/>
              <a:gd name="connsiteY130-16138" fmla="*/ 5241222 h 5292022"/>
              <a:gd name="connsiteX131-16139" fmla="*/ 6197306 w 10693106"/>
              <a:gd name="connsiteY131-16140" fmla="*/ 5266622 h 5292022"/>
              <a:gd name="connsiteX132-16141" fmla="*/ 6061840 w 10693106"/>
              <a:gd name="connsiteY132-16142" fmla="*/ 5275089 h 5292022"/>
              <a:gd name="connsiteX133-16143" fmla="*/ 5917906 w 10693106"/>
              <a:gd name="connsiteY133-16144" fmla="*/ 5292022 h 5292022"/>
              <a:gd name="connsiteX134-16145" fmla="*/ 5748573 w 10693106"/>
              <a:gd name="connsiteY134-16146" fmla="*/ 5283556 h 5292022"/>
              <a:gd name="connsiteX135-16147" fmla="*/ 5282906 w 10693106"/>
              <a:gd name="connsiteY135-16148" fmla="*/ 5173489 h 5292022"/>
              <a:gd name="connsiteX136-16149" fmla="*/ 5138973 w 10693106"/>
              <a:gd name="connsiteY136-16150" fmla="*/ 5071889 h 5292022"/>
              <a:gd name="connsiteX137-16151" fmla="*/ 4959480 w 10693106"/>
              <a:gd name="connsiteY137-16152" fmla="*/ 4988069 h 5292022"/>
              <a:gd name="connsiteX138-16153" fmla="*/ 4842216 w 10693106"/>
              <a:gd name="connsiteY138-16154" fmla="*/ 4953779 h 5292022"/>
              <a:gd name="connsiteX139-16155" fmla="*/ 4797343 w 10693106"/>
              <a:gd name="connsiteY139-16156" fmla="*/ 4878426 h 5292022"/>
              <a:gd name="connsiteX140-16157" fmla="*/ 4686853 w 10693106"/>
              <a:gd name="connsiteY140-16158" fmla="*/ 4788256 h 5292022"/>
              <a:gd name="connsiteX141-16159" fmla="*/ 4536146 w 10693106"/>
              <a:gd name="connsiteY141-16160" fmla="*/ 4712902 h 5292022"/>
              <a:gd name="connsiteX142-16161" fmla="*/ 4365120 w 10693106"/>
              <a:gd name="connsiteY142-16162" fmla="*/ 4616382 h 5292022"/>
              <a:gd name="connsiteX143-16163" fmla="*/ 4187743 w 10693106"/>
              <a:gd name="connsiteY143-16164" fmla="*/ 4521556 h 5292022"/>
              <a:gd name="connsiteX144-16165" fmla="*/ 4038306 w 10693106"/>
              <a:gd name="connsiteY144-16166" fmla="*/ 4365769 h 5292022"/>
              <a:gd name="connsiteX145-16167" fmla="*/ 3889293 w 10693106"/>
              <a:gd name="connsiteY145-16168" fmla="*/ 4238134 h 5292022"/>
              <a:gd name="connsiteX146-16169" fmla="*/ 3882520 w 10693106"/>
              <a:gd name="connsiteY146-16170" fmla="*/ 4180772 h 5292022"/>
              <a:gd name="connsiteX147-16171" fmla="*/ 3895643 w 10693106"/>
              <a:gd name="connsiteY147-16172" fmla="*/ 4059699 h 5292022"/>
              <a:gd name="connsiteX148-16173" fmla="*/ 3919773 w 10693106"/>
              <a:gd name="connsiteY148-16174" fmla="*/ 3920422 h 5292022"/>
              <a:gd name="connsiteX149-16175" fmla="*/ 3877440 w 10693106"/>
              <a:gd name="connsiteY149-16176" fmla="*/ 3624089 h 5292022"/>
              <a:gd name="connsiteX150-16177" fmla="*/ 3852040 w 10693106"/>
              <a:gd name="connsiteY150-16178" fmla="*/ 3530956 h 5292022"/>
              <a:gd name="connsiteX151-16179" fmla="*/ 3801240 w 10693106"/>
              <a:gd name="connsiteY151-16180" fmla="*/ 3420889 h 5292022"/>
              <a:gd name="connsiteX152-16181" fmla="*/ 3733506 w 10693106"/>
              <a:gd name="connsiteY152-16182" fmla="*/ 3319289 h 5292022"/>
              <a:gd name="connsiteX153-16183" fmla="*/ 3242440 w 10693106"/>
              <a:gd name="connsiteY153-16184" fmla="*/ 3099156 h 5292022"/>
              <a:gd name="connsiteX154-16185" fmla="*/ 3123906 w 10693106"/>
              <a:gd name="connsiteY154-16186" fmla="*/ 2997556 h 5292022"/>
              <a:gd name="connsiteX155-16187" fmla="*/ 2988440 w 10693106"/>
              <a:gd name="connsiteY155-16188" fmla="*/ 2802822 h 5292022"/>
              <a:gd name="connsiteX156-16189" fmla="*/ 2971506 w 10693106"/>
              <a:gd name="connsiteY156-16190" fmla="*/ 2743556 h 5292022"/>
              <a:gd name="connsiteX157-16191" fmla="*/ 2996906 w 10693106"/>
              <a:gd name="connsiteY157-16192" fmla="*/ 2531889 h 5292022"/>
              <a:gd name="connsiteX158-16193" fmla="*/ 3013840 w 10693106"/>
              <a:gd name="connsiteY158-16194" fmla="*/ 2430289 h 5292022"/>
              <a:gd name="connsiteX159-16195" fmla="*/ 3005373 w 10693106"/>
              <a:gd name="connsiteY159-16196" fmla="*/ 2311756 h 5292022"/>
              <a:gd name="connsiteX160-16197" fmla="*/ 2988440 w 10693106"/>
              <a:gd name="connsiteY160-16198" fmla="*/ 2260956 h 5292022"/>
              <a:gd name="connsiteX161-16199" fmla="*/ 2802173 w 10693106"/>
              <a:gd name="connsiteY161-16200" fmla="*/ 2006956 h 5292022"/>
              <a:gd name="connsiteX162-16201" fmla="*/ 2641306 w 10693106"/>
              <a:gd name="connsiteY162-16202" fmla="*/ 1863022 h 5292022"/>
              <a:gd name="connsiteX163-16203" fmla="*/ 2590506 w 10693106"/>
              <a:gd name="connsiteY163-16204" fmla="*/ 1837622 h 5292022"/>
              <a:gd name="connsiteX164-16205" fmla="*/ 2531240 w 10693106"/>
              <a:gd name="connsiteY164-16206" fmla="*/ 1829156 h 5292022"/>
              <a:gd name="connsiteX165-16207" fmla="*/ 2446573 w 10693106"/>
              <a:gd name="connsiteY165-16208" fmla="*/ 1812222 h 5292022"/>
              <a:gd name="connsiteX166-16209" fmla="*/ 2251840 w 10693106"/>
              <a:gd name="connsiteY166-16210" fmla="*/ 1837622 h 5292022"/>
              <a:gd name="connsiteX167-16211" fmla="*/ 2167173 w 10693106"/>
              <a:gd name="connsiteY167-16212" fmla="*/ 1879956 h 5292022"/>
              <a:gd name="connsiteX168-16213" fmla="*/ 1980906 w 10693106"/>
              <a:gd name="connsiteY168-16214" fmla="*/ 1939222 h 5292022"/>
              <a:gd name="connsiteX169-16215" fmla="*/ 1904706 w 10693106"/>
              <a:gd name="connsiteY169-16216" fmla="*/ 1973089 h 5292022"/>
              <a:gd name="connsiteX170-16217" fmla="*/ 1828506 w 10693106"/>
              <a:gd name="connsiteY170-16218" fmla="*/ 1990022 h 5292022"/>
              <a:gd name="connsiteX171-16219" fmla="*/ 1726906 w 10693106"/>
              <a:gd name="connsiteY171-16220" fmla="*/ 2040822 h 5292022"/>
              <a:gd name="connsiteX172-16221" fmla="*/ 1659173 w 10693106"/>
              <a:gd name="connsiteY172-16222" fmla="*/ 2074689 h 5292022"/>
              <a:gd name="connsiteX173-16223" fmla="*/ 1498306 w 10693106"/>
              <a:gd name="connsiteY173-16224" fmla="*/ 2100089 h 5292022"/>
              <a:gd name="connsiteX174-16225" fmla="*/ 914106 w 10693106"/>
              <a:gd name="connsiteY174-16226" fmla="*/ 2032356 h 5292022"/>
              <a:gd name="connsiteX175-16227" fmla="*/ 617773 w 10693106"/>
              <a:gd name="connsiteY175-16228" fmla="*/ 1922289 h 5292022"/>
              <a:gd name="connsiteX176-16229" fmla="*/ 516173 w 10693106"/>
              <a:gd name="connsiteY176-16230" fmla="*/ 1837622 h 5292022"/>
              <a:gd name="connsiteX177-16231" fmla="*/ 355306 w 10693106"/>
              <a:gd name="connsiteY177-16232" fmla="*/ 1625956 h 5292022"/>
              <a:gd name="connsiteX178-16233" fmla="*/ 296040 w 10693106"/>
              <a:gd name="connsiteY178-16234" fmla="*/ 1524356 h 5292022"/>
              <a:gd name="connsiteX179-16235" fmla="*/ 253706 w 10693106"/>
              <a:gd name="connsiteY179-16236" fmla="*/ 1346556 h 5292022"/>
              <a:gd name="connsiteX180-16237" fmla="*/ 245240 w 10693106"/>
              <a:gd name="connsiteY180-16238" fmla="*/ 1219556 h 5292022"/>
              <a:gd name="connsiteX181-16239" fmla="*/ 236773 w 10693106"/>
              <a:gd name="connsiteY181-16240" fmla="*/ 1117956 h 5292022"/>
              <a:gd name="connsiteX182-16241" fmla="*/ 245240 w 10693106"/>
              <a:gd name="connsiteY182-16242" fmla="*/ 847022 h 5292022"/>
              <a:gd name="connsiteX183-16243" fmla="*/ 236773 w 10693106"/>
              <a:gd name="connsiteY183-16244" fmla="*/ 703089 h 5292022"/>
              <a:gd name="connsiteX184-16245" fmla="*/ 109773 w 10693106"/>
              <a:gd name="connsiteY184-16246" fmla="*/ 559156 h 5292022"/>
              <a:gd name="connsiteX185-16247" fmla="*/ 58973 w 10693106"/>
              <a:gd name="connsiteY185-16248" fmla="*/ 482956 h 5292022"/>
              <a:gd name="connsiteX186-16249" fmla="*/ 16640 w 10693106"/>
              <a:gd name="connsiteY186-16250" fmla="*/ 432156 h 5292022"/>
              <a:gd name="connsiteX187-16251" fmla="*/ 8173 w 10693106"/>
              <a:gd name="connsiteY187-16252" fmla="*/ 389822 h 5292022"/>
              <a:gd name="connsiteX188-16253" fmla="*/ 16640 w 10693106"/>
              <a:gd name="connsiteY188-16254" fmla="*/ 339022 h 5292022"/>
              <a:gd name="connsiteX0-16255" fmla="*/ 16640 w 10693106"/>
              <a:gd name="connsiteY0-16256" fmla="*/ 339022 h 5292022"/>
              <a:gd name="connsiteX1-16257" fmla="*/ 58973 w 10693106"/>
              <a:gd name="connsiteY1-16258" fmla="*/ 245889 h 5292022"/>
              <a:gd name="connsiteX2-16259" fmla="*/ 109773 w 10693106"/>
              <a:gd name="connsiteY2-16260" fmla="*/ 178156 h 5292022"/>
              <a:gd name="connsiteX3-16261" fmla="*/ 202906 w 10693106"/>
              <a:gd name="connsiteY3-16262" fmla="*/ 93489 h 5292022"/>
              <a:gd name="connsiteX4-16263" fmla="*/ 236773 w 10693106"/>
              <a:gd name="connsiteY4-16264" fmla="*/ 68089 h 5292022"/>
              <a:gd name="connsiteX5-16265" fmla="*/ 335410 w 10693106"/>
              <a:gd name="connsiteY5-16266" fmla="*/ 58352 h 5292022"/>
              <a:gd name="connsiteX6-16267" fmla="*/ 382400 w 10693106"/>
              <a:gd name="connsiteY6-16268" fmla="*/ 51156 h 5292022"/>
              <a:gd name="connsiteX7-16269" fmla="*/ 434912 w 10693106"/>
              <a:gd name="connsiteY7-16270" fmla="*/ 70071 h 5292022"/>
              <a:gd name="connsiteX8-16271" fmla="*/ 492697 w 10693106"/>
              <a:gd name="connsiteY8-16272" fmla="*/ 74247 h 5292022"/>
              <a:gd name="connsiteX9-16273" fmla="*/ 822897 w 10693106"/>
              <a:gd name="connsiteY9-16274" fmla="*/ 82713 h 5292022"/>
              <a:gd name="connsiteX10-16275" fmla="*/ 1091906 w 10693106"/>
              <a:gd name="connsiteY10-16276" fmla="*/ 356 h 5292022"/>
              <a:gd name="connsiteX11-16277" fmla="*/ 1235840 w 10693106"/>
              <a:gd name="connsiteY11-16278" fmla="*/ 59622 h 5292022"/>
              <a:gd name="connsiteX12-16279" fmla="*/ 1337440 w 10693106"/>
              <a:gd name="connsiteY12-16280" fmla="*/ 135822 h 5292022"/>
              <a:gd name="connsiteX13-16281" fmla="*/ 1422106 w 10693106"/>
              <a:gd name="connsiteY13-16282" fmla="*/ 245889 h 5292022"/>
              <a:gd name="connsiteX14-16283" fmla="*/ 1481373 w 10693106"/>
              <a:gd name="connsiteY14-16284" fmla="*/ 313622 h 5292022"/>
              <a:gd name="connsiteX15-16285" fmla="*/ 1532173 w 10693106"/>
              <a:gd name="connsiteY15-16286" fmla="*/ 347489 h 5292022"/>
              <a:gd name="connsiteX16-16287" fmla="*/ 1684573 w 10693106"/>
              <a:gd name="connsiteY16-16288" fmla="*/ 406756 h 5292022"/>
              <a:gd name="connsiteX17-16289" fmla="*/ 1760773 w 10693106"/>
              <a:gd name="connsiteY17-16290" fmla="*/ 423689 h 5292022"/>
              <a:gd name="connsiteX18-16291" fmla="*/ 1997840 w 10693106"/>
              <a:gd name="connsiteY18-16292" fmla="*/ 415222 h 5292022"/>
              <a:gd name="connsiteX19-16293" fmla="*/ 2116373 w 10693106"/>
              <a:gd name="connsiteY19-16294" fmla="*/ 398289 h 5292022"/>
              <a:gd name="connsiteX20-16295" fmla="*/ 2260306 w 10693106"/>
              <a:gd name="connsiteY20-16296" fmla="*/ 381356 h 5292022"/>
              <a:gd name="connsiteX21-16297" fmla="*/ 2404240 w 10693106"/>
              <a:gd name="connsiteY21-16298" fmla="*/ 355956 h 5292022"/>
              <a:gd name="connsiteX22-16299" fmla="*/ 2455040 w 10693106"/>
              <a:gd name="connsiteY22-16300" fmla="*/ 330556 h 5292022"/>
              <a:gd name="connsiteX23-16301" fmla="*/ 2531240 w 10693106"/>
              <a:gd name="connsiteY23-16302" fmla="*/ 305156 h 5292022"/>
              <a:gd name="connsiteX24-16303" fmla="*/ 2649350 w 10693106"/>
              <a:gd name="connsiteY24-16304" fmla="*/ 225781 h 5292022"/>
              <a:gd name="connsiteX25-16305" fmla="*/ 2742906 w 10693106"/>
              <a:gd name="connsiteY25-16306" fmla="*/ 186622 h 5292022"/>
              <a:gd name="connsiteX26-16307" fmla="*/ 2764920 w 10693106"/>
              <a:gd name="connsiteY26-16308" fmla="*/ 173076 h 5292022"/>
              <a:gd name="connsiteX27-16309" fmla="*/ 2832653 w 10693106"/>
              <a:gd name="connsiteY27-16310" fmla="*/ 167996 h 5292022"/>
              <a:gd name="connsiteX28-16311" fmla="*/ 3002294 w 10693106"/>
              <a:gd name="connsiteY28-16312" fmla="*/ 154680 h 5292022"/>
              <a:gd name="connsiteX29-16313" fmla="*/ 3142763 w 10693106"/>
              <a:gd name="connsiteY29-16314" fmla="*/ 110421 h 5292022"/>
              <a:gd name="connsiteX30-16315" fmla="*/ 3398918 w 10693106"/>
              <a:gd name="connsiteY30-16316" fmla="*/ 72322 h 5292022"/>
              <a:gd name="connsiteX31-16317" fmla="*/ 3606506 w 10693106"/>
              <a:gd name="connsiteY31-16318" fmla="*/ 60393 h 5292022"/>
              <a:gd name="connsiteX32-16319" fmla="*/ 3682706 w 10693106"/>
              <a:gd name="connsiteY32-16320" fmla="*/ 79942 h 5292022"/>
              <a:gd name="connsiteX33-16321" fmla="*/ 3741973 w 10693106"/>
              <a:gd name="connsiteY33-16322" fmla="*/ 86561 h 5292022"/>
              <a:gd name="connsiteX34-16323" fmla="*/ 3794678 w 10693106"/>
              <a:gd name="connsiteY34-16324" fmla="*/ 101321 h 5292022"/>
              <a:gd name="connsiteX35-16325" fmla="*/ 3833625 w 10693106"/>
              <a:gd name="connsiteY35-16326" fmla="*/ 110846 h 5292022"/>
              <a:gd name="connsiteX36-16327" fmla="*/ 3892487 w 10693106"/>
              <a:gd name="connsiteY36-16328" fmla="*/ 116984 h 5292022"/>
              <a:gd name="connsiteX37-16329" fmla="*/ 3933108 w 10693106"/>
              <a:gd name="connsiteY37-16330" fmla="*/ 128837 h 5292022"/>
              <a:gd name="connsiteX38-16331" fmla="*/ 3976923 w 10693106"/>
              <a:gd name="connsiteY38-16332" fmla="*/ 135187 h 5292022"/>
              <a:gd name="connsiteX39-16333" fmla="*/ 4021373 w 10693106"/>
              <a:gd name="connsiteY39-16334" fmla="*/ 144289 h 5292022"/>
              <a:gd name="connsiteX40-16335" fmla="*/ 4055240 w 10693106"/>
              <a:gd name="connsiteY40-16336" fmla="*/ 152756 h 5292022"/>
              <a:gd name="connsiteX41-16337" fmla="*/ 4275373 w 10693106"/>
              <a:gd name="connsiteY41-16338" fmla="*/ 195089 h 5292022"/>
              <a:gd name="connsiteX42-16339" fmla="*/ 4402373 w 10693106"/>
              <a:gd name="connsiteY42-16340" fmla="*/ 228956 h 5292022"/>
              <a:gd name="connsiteX43-16341" fmla="*/ 4529373 w 10693106"/>
              <a:gd name="connsiteY43-16342" fmla="*/ 271289 h 5292022"/>
              <a:gd name="connsiteX44-16343" fmla="*/ 4859573 w 10693106"/>
              <a:gd name="connsiteY44-16344" fmla="*/ 347489 h 5292022"/>
              <a:gd name="connsiteX45-16345" fmla="*/ 5045840 w 10693106"/>
              <a:gd name="connsiteY45-16346" fmla="*/ 423689 h 5292022"/>
              <a:gd name="connsiteX46-16347" fmla="*/ 5325240 w 10693106"/>
              <a:gd name="connsiteY46-16348" fmla="*/ 584556 h 5292022"/>
              <a:gd name="connsiteX47-16349" fmla="*/ 5494573 w 10693106"/>
              <a:gd name="connsiteY47-16350" fmla="*/ 736956 h 5292022"/>
              <a:gd name="connsiteX48-16351" fmla="*/ 5562306 w 10693106"/>
              <a:gd name="connsiteY48-16352" fmla="*/ 813156 h 5292022"/>
              <a:gd name="connsiteX49-16353" fmla="*/ 5621573 w 10693106"/>
              <a:gd name="connsiteY49-16354" fmla="*/ 863956 h 5292022"/>
              <a:gd name="connsiteX50-16355" fmla="*/ 5672373 w 10693106"/>
              <a:gd name="connsiteY50-16356" fmla="*/ 931689 h 5292022"/>
              <a:gd name="connsiteX51-16357" fmla="*/ 5757040 w 10693106"/>
              <a:gd name="connsiteY51-16358" fmla="*/ 1033289 h 5292022"/>
              <a:gd name="connsiteX52-16359" fmla="*/ 5833240 w 10693106"/>
              <a:gd name="connsiteY52-16360" fmla="*/ 1126422 h 5292022"/>
              <a:gd name="connsiteX53-16361" fmla="*/ 6019506 w 10693106"/>
              <a:gd name="connsiteY53-16362" fmla="*/ 1329622 h 5292022"/>
              <a:gd name="connsiteX54-16363" fmla="*/ 6087240 w 10693106"/>
              <a:gd name="connsiteY54-16364" fmla="*/ 1380422 h 5292022"/>
              <a:gd name="connsiteX55-16365" fmla="*/ 6171906 w 10693106"/>
              <a:gd name="connsiteY55-16366" fmla="*/ 1482022 h 5292022"/>
              <a:gd name="connsiteX56-16367" fmla="*/ 6451306 w 10693106"/>
              <a:gd name="connsiteY56-16368" fmla="*/ 1693689 h 5292022"/>
              <a:gd name="connsiteX57-16369" fmla="*/ 6519040 w 10693106"/>
              <a:gd name="connsiteY57-16370" fmla="*/ 1702156 h 5292022"/>
              <a:gd name="connsiteX58-16371" fmla="*/ 6603706 w 10693106"/>
              <a:gd name="connsiteY58-16372" fmla="*/ 1736022 h 5292022"/>
              <a:gd name="connsiteX59-16373" fmla="*/ 6671440 w 10693106"/>
              <a:gd name="connsiteY59-16374" fmla="*/ 1769889 h 5292022"/>
              <a:gd name="connsiteX60-16375" fmla="*/ 6866173 w 10693106"/>
              <a:gd name="connsiteY60-16376" fmla="*/ 1795289 h 5292022"/>
              <a:gd name="connsiteX61-16377" fmla="*/ 7196373 w 10693106"/>
              <a:gd name="connsiteY61-16378" fmla="*/ 1778356 h 5292022"/>
              <a:gd name="connsiteX62-16379" fmla="*/ 7509640 w 10693106"/>
              <a:gd name="connsiteY62-16380" fmla="*/ 1702156 h 5292022"/>
              <a:gd name="connsiteX63-16381" fmla="*/ 7628173 w 10693106"/>
              <a:gd name="connsiteY63-16382" fmla="*/ 1676756 h 5292022"/>
              <a:gd name="connsiteX64-16383" fmla="*/ 7704373 w 10693106"/>
              <a:gd name="connsiteY64-16384" fmla="*/ 1634422 h 5292022"/>
              <a:gd name="connsiteX65-16385" fmla="*/ 7755173 w 10693106"/>
              <a:gd name="connsiteY65-16386" fmla="*/ 1625956 h 5292022"/>
              <a:gd name="connsiteX66-16387" fmla="*/ 7797506 w 10693106"/>
              <a:gd name="connsiteY66-16388" fmla="*/ 1592089 h 5292022"/>
              <a:gd name="connsiteX67-16389" fmla="*/ 7856773 w 10693106"/>
              <a:gd name="connsiteY67-16390" fmla="*/ 1575156 h 5292022"/>
              <a:gd name="connsiteX68-16391" fmla="*/ 7958373 w 10693106"/>
              <a:gd name="connsiteY68-16392" fmla="*/ 1507422 h 5292022"/>
              <a:gd name="connsiteX69-16393" fmla="*/ 8009173 w 10693106"/>
              <a:gd name="connsiteY69-16394" fmla="*/ 1456622 h 5292022"/>
              <a:gd name="connsiteX70-16395" fmla="*/ 8339373 w 10693106"/>
              <a:gd name="connsiteY70-16396" fmla="*/ 1211089 h 5292022"/>
              <a:gd name="connsiteX71-16397" fmla="*/ 8576440 w 10693106"/>
              <a:gd name="connsiteY71-16398" fmla="*/ 957089 h 5292022"/>
              <a:gd name="connsiteX72-16399" fmla="*/ 8652640 w 10693106"/>
              <a:gd name="connsiteY72-16400" fmla="*/ 677689 h 5292022"/>
              <a:gd name="connsiteX73-16401" fmla="*/ 8847373 w 10693106"/>
              <a:gd name="connsiteY73-16402" fmla="*/ 491422 h 5292022"/>
              <a:gd name="connsiteX74-16403" fmla="*/ 8982840 w 10693106"/>
              <a:gd name="connsiteY74-16404" fmla="*/ 398289 h 5292022"/>
              <a:gd name="connsiteX75-16405" fmla="*/ 9084440 w 10693106"/>
              <a:gd name="connsiteY75-16406" fmla="*/ 364422 h 5292022"/>
              <a:gd name="connsiteX76-16407" fmla="*/ 9152173 w 10693106"/>
              <a:gd name="connsiteY76-16408" fmla="*/ 339022 h 5292022"/>
              <a:gd name="connsiteX77-16409" fmla="*/ 9380773 w 10693106"/>
              <a:gd name="connsiteY77-16410" fmla="*/ 355956 h 5292022"/>
              <a:gd name="connsiteX78-16411" fmla="*/ 9744840 w 10693106"/>
              <a:gd name="connsiteY78-16412" fmla="*/ 466022 h 5292022"/>
              <a:gd name="connsiteX79-16413" fmla="*/ 9888773 w 10693106"/>
              <a:gd name="connsiteY79-16414" fmla="*/ 508356 h 5292022"/>
              <a:gd name="connsiteX80-16415" fmla="*/ 9998840 w 10693106"/>
              <a:gd name="connsiteY80-16416" fmla="*/ 559156 h 5292022"/>
              <a:gd name="connsiteX81-16417" fmla="*/ 10083506 w 10693106"/>
              <a:gd name="connsiteY81-16418" fmla="*/ 618422 h 5292022"/>
              <a:gd name="connsiteX82-16419" fmla="*/ 10286706 w 10693106"/>
              <a:gd name="connsiteY82-16420" fmla="*/ 686156 h 5292022"/>
              <a:gd name="connsiteX83-16421" fmla="*/ 10388306 w 10693106"/>
              <a:gd name="connsiteY83-16422" fmla="*/ 889356 h 5292022"/>
              <a:gd name="connsiteX84-16423" fmla="*/ 10540706 w 10693106"/>
              <a:gd name="connsiteY84-16424" fmla="*/ 1261889 h 5292022"/>
              <a:gd name="connsiteX85-16425" fmla="*/ 10557640 w 10693106"/>
              <a:gd name="connsiteY85-16426" fmla="*/ 1346556 h 5292022"/>
              <a:gd name="connsiteX86-16427" fmla="*/ 10583040 w 10693106"/>
              <a:gd name="connsiteY86-16428" fmla="*/ 1448156 h 5292022"/>
              <a:gd name="connsiteX87-16429" fmla="*/ 10616906 w 10693106"/>
              <a:gd name="connsiteY87-16430" fmla="*/ 1651356 h 5292022"/>
              <a:gd name="connsiteX88-16431" fmla="*/ 10633840 w 10693106"/>
              <a:gd name="connsiteY88-16432" fmla="*/ 1736022 h 5292022"/>
              <a:gd name="connsiteX89-16433" fmla="*/ 10650773 w 10693106"/>
              <a:gd name="connsiteY89-16434" fmla="*/ 1769889 h 5292022"/>
              <a:gd name="connsiteX90-16435" fmla="*/ 10676173 w 10693106"/>
              <a:gd name="connsiteY90-16436" fmla="*/ 1854556 h 5292022"/>
              <a:gd name="connsiteX91-16437" fmla="*/ 10693106 w 10693106"/>
              <a:gd name="connsiteY91-16438" fmla="*/ 2006956 h 5292022"/>
              <a:gd name="connsiteX92-16439" fmla="*/ 10625373 w 10693106"/>
              <a:gd name="connsiteY92-16440" fmla="*/ 2227089 h 5292022"/>
              <a:gd name="connsiteX93-16441" fmla="*/ 10608440 w 10693106"/>
              <a:gd name="connsiteY93-16442" fmla="*/ 2252489 h 5292022"/>
              <a:gd name="connsiteX94-16443" fmla="*/ 10540706 w 10693106"/>
              <a:gd name="connsiteY94-16444" fmla="*/ 2396422 h 5292022"/>
              <a:gd name="connsiteX95-16445" fmla="*/ 10498373 w 10693106"/>
              <a:gd name="connsiteY95-16446" fmla="*/ 2481089 h 5292022"/>
              <a:gd name="connsiteX96-16447" fmla="*/ 10439106 w 10693106"/>
              <a:gd name="connsiteY96-16448" fmla="*/ 2667356 h 5292022"/>
              <a:gd name="connsiteX97-16449" fmla="*/ 10430640 w 10693106"/>
              <a:gd name="connsiteY97-16450" fmla="*/ 2709689 h 5292022"/>
              <a:gd name="connsiteX98-16451" fmla="*/ 10405240 w 10693106"/>
              <a:gd name="connsiteY98-16452" fmla="*/ 2785889 h 5292022"/>
              <a:gd name="connsiteX99-16453" fmla="*/ 10396773 w 10693106"/>
              <a:gd name="connsiteY99-16454" fmla="*/ 2819756 h 5292022"/>
              <a:gd name="connsiteX100-16455" fmla="*/ 10362906 w 10693106"/>
              <a:gd name="connsiteY100-16456" fmla="*/ 2912889 h 5292022"/>
              <a:gd name="connsiteX101-16457" fmla="*/ 10329040 w 10693106"/>
              <a:gd name="connsiteY101-16458" fmla="*/ 2955222 h 5292022"/>
              <a:gd name="connsiteX102-16459" fmla="*/ 10227440 w 10693106"/>
              <a:gd name="connsiteY102-16460" fmla="*/ 3056822 h 5292022"/>
              <a:gd name="connsiteX103-16461" fmla="*/ 10168173 w 10693106"/>
              <a:gd name="connsiteY103-16462" fmla="*/ 3124556 h 5292022"/>
              <a:gd name="connsiteX104-16463" fmla="*/ 10117373 w 10693106"/>
              <a:gd name="connsiteY104-16464" fmla="*/ 3175356 h 5292022"/>
              <a:gd name="connsiteX105-16465" fmla="*/ 10032706 w 10693106"/>
              <a:gd name="connsiteY105-16466" fmla="*/ 3276956 h 5292022"/>
              <a:gd name="connsiteX106-16467" fmla="*/ 9948040 w 10693106"/>
              <a:gd name="connsiteY106-16468" fmla="*/ 3336222 h 5292022"/>
              <a:gd name="connsiteX107-16469" fmla="*/ 9905706 w 10693106"/>
              <a:gd name="connsiteY107-16470" fmla="*/ 3361622 h 5292022"/>
              <a:gd name="connsiteX108-16471" fmla="*/ 9829506 w 10693106"/>
              <a:gd name="connsiteY108-16472" fmla="*/ 3378556 h 5292022"/>
              <a:gd name="connsiteX109-16473" fmla="*/ 9727906 w 10693106"/>
              <a:gd name="connsiteY109-16474" fmla="*/ 3420889 h 5292022"/>
              <a:gd name="connsiteX110-16475" fmla="*/ 9634773 w 10693106"/>
              <a:gd name="connsiteY110-16476" fmla="*/ 3446289 h 5292022"/>
              <a:gd name="connsiteX111-16477" fmla="*/ 9456973 w 10693106"/>
              <a:gd name="connsiteY111-16478" fmla="*/ 3539422 h 5292022"/>
              <a:gd name="connsiteX112-16479" fmla="*/ 9313040 w 10693106"/>
              <a:gd name="connsiteY112-16480" fmla="*/ 3666422 h 5292022"/>
              <a:gd name="connsiteX113-16481" fmla="*/ 9279173 w 10693106"/>
              <a:gd name="connsiteY113-16482" fmla="*/ 3683356 h 5292022"/>
              <a:gd name="connsiteX114-16483" fmla="*/ 9067506 w 10693106"/>
              <a:gd name="connsiteY114-16484" fmla="*/ 3861156 h 5292022"/>
              <a:gd name="connsiteX115-16485" fmla="*/ 8999773 w 10693106"/>
              <a:gd name="connsiteY115-16486" fmla="*/ 3928889 h 5292022"/>
              <a:gd name="connsiteX116-16487" fmla="*/ 8813506 w 10693106"/>
              <a:gd name="connsiteY116-16488" fmla="*/ 4064356 h 5292022"/>
              <a:gd name="connsiteX117-16489" fmla="*/ 8728840 w 10693106"/>
              <a:gd name="connsiteY117-16490" fmla="*/ 4106689 h 5292022"/>
              <a:gd name="connsiteX118-16491" fmla="*/ 8373240 w 10693106"/>
              <a:gd name="connsiteY118-16492" fmla="*/ 4140556 h 5292022"/>
              <a:gd name="connsiteX119-16493" fmla="*/ 7966840 w 10693106"/>
              <a:gd name="connsiteY119-16494" fmla="*/ 4233689 h 5292022"/>
              <a:gd name="connsiteX120-16495" fmla="*/ 7687440 w 10693106"/>
              <a:gd name="connsiteY120-16496" fmla="*/ 4394556 h 5292022"/>
              <a:gd name="connsiteX121-16497" fmla="*/ 7551973 w 10693106"/>
              <a:gd name="connsiteY121-16498" fmla="*/ 4479222 h 5292022"/>
              <a:gd name="connsiteX122-16499" fmla="*/ 7374173 w 10693106"/>
              <a:gd name="connsiteY122-16500" fmla="*/ 4657022 h 5292022"/>
              <a:gd name="connsiteX123-16501" fmla="*/ 7374173 w 10693106"/>
              <a:gd name="connsiteY123-16502" fmla="*/ 4657022 h 5292022"/>
              <a:gd name="connsiteX124-16503" fmla="*/ 7221773 w 10693106"/>
              <a:gd name="connsiteY124-16504" fmla="*/ 4775556 h 5292022"/>
              <a:gd name="connsiteX125-16505" fmla="*/ 7027040 w 10693106"/>
              <a:gd name="connsiteY125-16506" fmla="*/ 4902556 h 5292022"/>
              <a:gd name="connsiteX126-16507" fmla="*/ 6883106 w 10693106"/>
              <a:gd name="connsiteY126-16508" fmla="*/ 4970289 h 5292022"/>
              <a:gd name="connsiteX127-16509" fmla="*/ 6815373 w 10693106"/>
              <a:gd name="connsiteY127-16510" fmla="*/ 5012622 h 5292022"/>
              <a:gd name="connsiteX128-16511" fmla="*/ 6646040 w 10693106"/>
              <a:gd name="connsiteY128-16512" fmla="*/ 5105756 h 5292022"/>
              <a:gd name="connsiteX129-16513" fmla="*/ 6527506 w 10693106"/>
              <a:gd name="connsiteY129-16514" fmla="*/ 5165022 h 5292022"/>
              <a:gd name="connsiteX130-16515" fmla="*/ 6298906 w 10693106"/>
              <a:gd name="connsiteY130-16516" fmla="*/ 5241222 h 5292022"/>
              <a:gd name="connsiteX131-16517" fmla="*/ 6197306 w 10693106"/>
              <a:gd name="connsiteY131-16518" fmla="*/ 5266622 h 5292022"/>
              <a:gd name="connsiteX132-16519" fmla="*/ 6061840 w 10693106"/>
              <a:gd name="connsiteY132-16520" fmla="*/ 5275089 h 5292022"/>
              <a:gd name="connsiteX133-16521" fmla="*/ 5917906 w 10693106"/>
              <a:gd name="connsiteY133-16522" fmla="*/ 5292022 h 5292022"/>
              <a:gd name="connsiteX134-16523" fmla="*/ 5748573 w 10693106"/>
              <a:gd name="connsiteY134-16524" fmla="*/ 5283556 h 5292022"/>
              <a:gd name="connsiteX135-16525" fmla="*/ 5282906 w 10693106"/>
              <a:gd name="connsiteY135-16526" fmla="*/ 5173489 h 5292022"/>
              <a:gd name="connsiteX136-16527" fmla="*/ 5138973 w 10693106"/>
              <a:gd name="connsiteY136-16528" fmla="*/ 5071889 h 5292022"/>
              <a:gd name="connsiteX137-16529" fmla="*/ 4959480 w 10693106"/>
              <a:gd name="connsiteY137-16530" fmla="*/ 4988069 h 5292022"/>
              <a:gd name="connsiteX138-16531" fmla="*/ 4842216 w 10693106"/>
              <a:gd name="connsiteY138-16532" fmla="*/ 4953779 h 5292022"/>
              <a:gd name="connsiteX139-16533" fmla="*/ 4797343 w 10693106"/>
              <a:gd name="connsiteY139-16534" fmla="*/ 4878426 h 5292022"/>
              <a:gd name="connsiteX140-16535" fmla="*/ 4686853 w 10693106"/>
              <a:gd name="connsiteY140-16536" fmla="*/ 4788256 h 5292022"/>
              <a:gd name="connsiteX141-16537" fmla="*/ 4536146 w 10693106"/>
              <a:gd name="connsiteY141-16538" fmla="*/ 4712902 h 5292022"/>
              <a:gd name="connsiteX142-16539" fmla="*/ 4365120 w 10693106"/>
              <a:gd name="connsiteY142-16540" fmla="*/ 4616382 h 5292022"/>
              <a:gd name="connsiteX143-16541" fmla="*/ 4187743 w 10693106"/>
              <a:gd name="connsiteY143-16542" fmla="*/ 4521556 h 5292022"/>
              <a:gd name="connsiteX144-16543" fmla="*/ 4038306 w 10693106"/>
              <a:gd name="connsiteY144-16544" fmla="*/ 4365769 h 5292022"/>
              <a:gd name="connsiteX145-16545" fmla="*/ 3889293 w 10693106"/>
              <a:gd name="connsiteY145-16546" fmla="*/ 4238134 h 5292022"/>
              <a:gd name="connsiteX146-16547" fmla="*/ 3962530 w 10693106"/>
              <a:gd name="connsiteY146-16548" fmla="*/ 4135052 h 5292022"/>
              <a:gd name="connsiteX147-16549" fmla="*/ 3895643 w 10693106"/>
              <a:gd name="connsiteY147-16550" fmla="*/ 4059699 h 5292022"/>
              <a:gd name="connsiteX148-16551" fmla="*/ 3919773 w 10693106"/>
              <a:gd name="connsiteY148-16552" fmla="*/ 3920422 h 5292022"/>
              <a:gd name="connsiteX149-16553" fmla="*/ 3877440 w 10693106"/>
              <a:gd name="connsiteY149-16554" fmla="*/ 3624089 h 5292022"/>
              <a:gd name="connsiteX150-16555" fmla="*/ 3852040 w 10693106"/>
              <a:gd name="connsiteY150-16556" fmla="*/ 3530956 h 5292022"/>
              <a:gd name="connsiteX151-16557" fmla="*/ 3801240 w 10693106"/>
              <a:gd name="connsiteY151-16558" fmla="*/ 3420889 h 5292022"/>
              <a:gd name="connsiteX152-16559" fmla="*/ 3733506 w 10693106"/>
              <a:gd name="connsiteY152-16560" fmla="*/ 3319289 h 5292022"/>
              <a:gd name="connsiteX153-16561" fmla="*/ 3242440 w 10693106"/>
              <a:gd name="connsiteY153-16562" fmla="*/ 3099156 h 5292022"/>
              <a:gd name="connsiteX154-16563" fmla="*/ 3123906 w 10693106"/>
              <a:gd name="connsiteY154-16564" fmla="*/ 2997556 h 5292022"/>
              <a:gd name="connsiteX155-16565" fmla="*/ 2988440 w 10693106"/>
              <a:gd name="connsiteY155-16566" fmla="*/ 2802822 h 5292022"/>
              <a:gd name="connsiteX156-16567" fmla="*/ 2971506 w 10693106"/>
              <a:gd name="connsiteY156-16568" fmla="*/ 2743556 h 5292022"/>
              <a:gd name="connsiteX157-16569" fmla="*/ 2996906 w 10693106"/>
              <a:gd name="connsiteY157-16570" fmla="*/ 2531889 h 5292022"/>
              <a:gd name="connsiteX158-16571" fmla="*/ 3013840 w 10693106"/>
              <a:gd name="connsiteY158-16572" fmla="*/ 2430289 h 5292022"/>
              <a:gd name="connsiteX159-16573" fmla="*/ 3005373 w 10693106"/>
              <a:gd name="connsiteY159-16574" fmla="*/ 2311756 h 5292022"/>
              <a:gd name="connsiteX160-16575" fmla="*/ 2988440 w 10693106"/>
              <a:gd name="connsiteY160-16576" fmla="*/ 2260956 h 5292022"/>
              <a:gd name="connsiteX161-16577" fmla="*/ 2802173 w 10693106"/>
              <a:gd name="connsiteY161-16578" fmla="*/ 2006956 h 5292022"/>
              <a:gd name="connsiteX162-16579" fmla="*/ 2641306 w 10693106"/>
              <a:gd name="connsiteY162-16580" fmla="*/ 1863022 h 5292022"/>
              <a:gd name="connsiteX163-16581" fmla="*/ 2590506 w 10693106"/>
              <a:gd name="connsiteY163-16582" fmla="*/ 1837622 h 5292022"/>
              <a:gd name="connsiteX164-16583" fmla="*/ 2531240 w 10693106"/>
              <a:gd name="connsiteY164-16584" fmla="*/ 1829156 h 5292022"/>
              <a:gd name="connsiteX165-16585" fmla="*/ 2446573 w 10693106"/>
              <a:gd name="connsiteY165-16586" fmla="*/ 1812222 h 5292022"/>
              <a:gd name="connsiteX166-16587" fmla="*/ 2251840 w 10693106"/>
              <a:gd name="connsiteY166-16588" fmla="*/ 1837622 h 5292022"/>
              <a:gd name="connsiteX167-16589" fmla="*/ 2167173 w 10693106"/>
              <a:gd name="connsiteY167-16590" fmla="*/ 1879956 h 5292022"/>
              <a:gd name="connsiteX168-16591" fmla="*/ 1980906 w 10693106"/>
              <a:gd name="connsiteY168-16592" fmla="*/ 1939222 h 5292022"/>
              <a:gd name="connsiteX169-16593" fmla="*/ 1904706 w 10693106"/>
              <a:gd name="connsiteY169-16594" fmla="*/ 1973089 h 5292022"/>
              <a:gd name="connsiteX170-16595" fmla="*/ 1828506 w 10693106"/>
              <a:gd name="connsiteY170-16596" fmla="*/ 1990022 h 5292022"/>
              <a:gd name="connsiteX171-16597" fmla="*/ 1726906 w 10693106"/>
              <a:gd name="connsiteY171-16598" fmla="*/ 2040822 h 5292022"/>
              <a:gd name="connsiteX172-16599" fmla="*/ 1659173 w 10693106"/>
              <a:gd name="connsiteY172-16600" fmla="*/ 2074689 h 5292022"/>
              <a:gd name="connsiteX173-16601" fmla="*/ 1498306 w 10693106"/>
              <a:gd name="connsiteY173-16602" fmla="*/ 2100089 h 5292022"/>
              <a:gd name="connsiteX174-16603" fmla="*/ 914106 w 10693106"/>
              <a:gd name="connsiteY174-16604" fmla="*/ 2032356 h 5292022"/>
              <a:gd name="connsiteX175-16605" fmla="*/ 617773 w 10693106"/>
              <a:gd name="connsiteY175-16606" fmla="*/ 1922289 h 5292022"/>
              <a:gd name="connsiteX176-16607" fmla="*/ 516173 w 10693106"/>
              <a:gd name="connsiteY176-16608" fmla="*/ 1837622 h 5292022"/>
              <a:gd name="connsiteX177-16609" fmla="*/ 355306 w 10693106"/>
              <a:gd name="connsiteY177-16610" fmla="*/ 1625956 h 5292022"/>
              <a:gd name="connsiteX178-16611" fmla="*/ 296040 w 10693106"/>
              <a:gd name="connsiteY178-16612" fmla="*/ 1524356 h 5292022"/>
              <a:gd name="connsiteX179-16613" fmla="*/ 253706 w 10693106"/>
              <a:gd name="connsiteY179-16614" fmla="*/ 1346556 h 5292022"/>
              <a:gd name="connsiteX180-16615" fmla="*/ 245240 w 10693106"/>
              <a:gd name="connsiteY180-16616" fmla="*/ 1219556 h 5292022"/>
              <a:gd name="connsiteX181-16617" fmla="*/ 236773 w 10693106"/>
              <a:gd name="connsiteY181-16618" fmla="*/ 1117956 h 5292022"/>
              <a:gd name="connsiteX182-16619" fmla="*/ 245240 w 10693106"/>
              <a:gd name="connsiteY182-16620" fmla="*/ 847022 h 5292022"/>
              <a:gd name="connsiteX183-16621" fmla="*/ 236773 w 10693106"/>
              <a:gd name="connsiteY183-16622" fmla="*/ 703089 h 5292022"/>
              <a:gd name="connsiteX184-16623" fmla="*/ 109773 w 10693106"/>
              <a:gd name="connsiteY184-16624" fmla="*/ 559156 h 5292022"/>
              <a:gd name="connsiteX185-16625" fmla="*/ 58973 w 10693106"/>
              <a:gd name="connsiteY185-16626" fmla="*/ 482956 h 5292022"/>
              <a:gd name="connsiteX186-16627" fmla="*/ 16640 w 10693106"/>
              <a:gd name="connsiteY186-16628" fmla="*/ 432156 h 5292022"/>
              <a:gd name="connsiteX187-16629" fmla="*/ 8173 w 10693106"/>
              <a:gd name="connsiteY187-16630" fmla="*/ 389822 h 5292022"/>
              <a:gd name="connsiteX188-16631" fmla="*/ 16640 w 10693106"/>
              <a:gd name="connsiteY188-16632" fmla="*/ 339022 h 5292022"/>
              <a:gd name="connsiteX0-16633" fmla="*/ 16640 w 10693106"/>
              <a:gd name="connsiteY0-16634" fmla="*/ 339022 h 5292022"/>
              <a:gd name="connsiteX1-16635" fmla="*/ 58973 w 10693106"/>
              <a:gd name="connsiteY1-16636" fmla="*/ 245889 h 5292022"/>
              <a:gd name="connsiteX2-16637" fmla="*/ 109773 w 10693106"/>
              <a:gd name="connsiteY2-16638" fmla="*/ 178156 h 5292022"/>
              <a:gd name="connsiteX3-16639" fmla="*/ 202906 w 10693106"/>
              <a:gd name="connsiteY3-16640" fmla="*/ 93489 h 5292022"/>
              <a:gd name="connsiteX4-16641" fmla="*/ 236773 w 10693106"/>
              <a:gd name="connsiteY4-16642" fmla="*/ 68089 h 5292022"/>
              <a:gd name="connsiteX5-16643" fmla="*/ 335410 w 10693106"/>
              <a:gd name="connsiteY5-16644" fmla="*/ 58352 h 5292022"/>
              <a:gd name="connsiteX6-16645" fmla="*/ 382400 w 10693106"/>
              <a:gd name="connsiteY6-16646" fmla="*/ 51156 h 5292022"/>
              <a:gd name="connsiteX7-16647" fmla="*/ 434912 w 10693106"/>
              <a:gd name="connsiteY7-16648" fmla="*/ 70071 h 5292022"/>
              <a:gd name="connsiteX8-16649" fmla="*/ 492697 w 10693106"/>
              <a:gd name="connsiteY8-16650" fmla="*/ 74247 h 5292022"/>
              <a:gd name="connsiteX9-16651" fmla="*/ 822897 w 10693106"/>
              <a:gd name="connsiteY9-16652" fmla="*/ 82713 h 5292022"/>
              <a:gd name="connsiteX10-16653" fmla="*/ 1091906 w 10693106"/>
              <a:gd name="connsiteY10-16654" fmla="*/ 356 h 5292022"/>
              <a:gd name="connsiteX11-16655" fmla="*/ 1235840 w 10693106"/>
              <a:gd name="connsiteY11-16656" fmla="*/ 59622 h 5292022"/>
              <a:gd name="connsiteX12-16657" fmla="*/ 1337440 w 10693106"/>
              <a:gd name="connsiteY12-16658" fmla="*/ 135822 h 5292022"/>
              <a:gd name="connsiteX13-16659" fmla="*/ 1422106 w 10693106"/>
              <a:gd name="connsiteY13-16660" fmla="*/ 245889 h 5292022"/>
              <a:gd name="connsiteX14-16661" fmla="*/ 1481373 w 10693106"/>
              <a:gd name="connsiteY14-16662" fmla="*/ 313622 h 5292022"/>
              <a:gd name="connsiteX15-16663" fmla="*/ 1532173 w 10693106"/>
              <a:gd name="connsiteY15-16664" fmla="*/ 347489 h 5292022"/>
              <a:gd name="connsiteX16-16665" fmla="*/ 1684573 w 10693106"/>
              <a:gd name="connsiteY16-16666" fmla="*/ 406756 h 5292022"/>
              <a:gd name="connsiteX17-16667" fmla="*/ 1760773 w 10693106"/>
              <a:gd name="connsiteY17-16668" fmla="*/ 423689 h 5292022"/>
              <a:gd name="connsiteX18-16669" fmla="*/ 1997840 w 10693106"/>
              <a:gd name="connsiteY18-16670" fmla="*/ 415222 h 5292022"/>
              <a:gd name="connsiteX19-16671" fmla="*/ 2116373 w 10693106"/>
              <a:gd name="connsiteY19-16672" fmla="*/ 398289 h 5292022"/>
              <a:gd name="connsiteX20-16673" fmla="*/ 2260306 w 10693106"/>
              <a:gd name="connsiteY20-16674" fmla="*/ 381356 h 5292022"/>
              <a:gd name="connsiteX21-16675" fmla="*/ 2404240 w 10693106"/>
              <a:gd name="connsiteY21-16676" fmla="*/ 355956 h 5292022"/>
              <a:gd name="connsiteX22-16677" fmla="*/ 2455040 w 10693106"/>
              <a:gd name="connsiteY22-16678" fmla="*/ 330556 h 5292022"/>
              <a:gd name="connsiteX23-16679" fmla="*/ 2531240 w 10693106"/>
              <a:gd name="connsiteY23-16680" fmla="*/ 305156 h 5292022"/>
              <a:gd name="connsiteX24-16681" fmla="*/ 2649350 w 10693106"/>
              <a:gd name="connsiteY24-16682" fmla="*/ 225781 h 5292022"/>
              <a:gd name="connsiteX25-16683" fmla="*/ 2742906 w 10693106"/>
              <a:gd name="connsiteY25-16684" fmla="*/ 186622 h 5292022"/>
              <a:gd name="connsiteX26-16685" fmla="*/ 2764920 w 10693106"/>
              <a:gd name="connsiteY26-16686" fmla="*/ 173076 h 5292022"/>
              <a:gd name="connsiteX27-16687" fmla="*/ 2832653 w 10693106"/>
              <a:gd name="connsiteY27-16688" fmla="*/ 167996 h 5292022"/>
              <a:gd name="connsiteX28-16689" fmla="*/ 3002294 w 10693106"/>
              <a:gd name="connsiteY28-16690" fmla="*/ 154680 h 5292022"/>
              <a:gd name="connsiteX29-16691" fmla="*/ 3142763 w 10693106"/>
              <a:gd name="connsiteY29-16692" fmla="*/ 110421 h 5292022"/>
              <a:gd name="connsiteX30-16693" fmla="*/ 3398918 w 10693106"/>
              <a:gd name="connsiteY30-16694" fmla="*/ 72322 h 5292022"/>
              <a:gd name="connsiteX31-16695" fmla="*/ 3606506 w 10693106"/>
              <a:gd name="connsiteY31-16696" fmla="*/ 60393 h 5292022"/>
              <a:gd name="connsiteX32-16697" fmla="*/ 3682706 w 10693106"/>
              <a:gd name="connsiteY32-16698" fmla="*/ 79942 h 5292022"/>
              <a:gd name="connsiteX33-16699" fmla="*/ 3741973 w 10693106"/>
              <a:gd name="connsiteY33-16700" fmla="*/ 86561 h 5292022"/>
              <a:gd name="connsiteX34-16701" fmla="*/ 3794678 w 10693106"/>
              <a:gd name="connsiteY34-16702" fmla="*/ 101321 h 5292022"/>
              <a:gd name="connsiteX35-16703" fmla="*/ 3833625 w 10693106"/>
              <a:gd name="connsiteY35-16704" fmla="*/ 110846 h 5292022"/>
              <a:gd name="connsiteX36-16705" fmla="*/ 3892487 w 10693106"/>
              <a:gd name="connsiteY36-16706" fmla="*/ 116984 h 5292022"/>
              <a:gd name="connsiteX37-16707" fmla="*/ 3933108 w 10693106"/>
              <a:gd name="connsiteY37-16708" fmla="*/ 128837 h 5292022"/>
              <a:gd name="connsiteX38-16709" fmla="*/ 3976923 w 10693106"/>
              <a:gd name="connsiteY38-16710" fmla="*/ 135187 h 5292022"/>
              <a:gd name="connsiteX39-16711" fmla="*/ 4021373 w 10693106"/>
              <a:gd name="connsiteY39-16712" fmla="*/ 144289 h 5292022"/>
              <a:gd name="connsiteX40-16713" fmla="*/ 4055240 w 10693106"/>
              <a:gd name="connsiteY40-16714" fmla="*/ 152756 h 5292022"/>
              <a:gd name="connsiteX41-16715" fmla="*/ 4275373 w 10693106"/>
              <a:gd name="connsiteY41-16716" fmla="*/ 195089 h 5292022"/>
              <a:gd name="connsiteX42-16717" fmla="*/ 4402373 w 10693106"/>
              <a:gd name="connsiteY42-16718" fmla="*/ 228956 h 5292022"/>
              <a:gd name="connsiteX43-16719" fmla="*/ 4529373 w 10693106"/>
              <a:gd name="connsiteY43-16720" fmla="*/ 271289 h 5292022"/>
              <a:gd name="connsiteX44-16721" fmla="*/ 4859573 w 10693106"/>
              <a:gd name="connsiteY44-16722" fmla="*/ 347489 h 5292022"/>
              <a:gd name="connsiteX45-16723" fmla="*/ 5045840 w 10693106"/>
              <a:gd name="connsiteY45-16724" fmla="*/ 423689 h 5292022"/>
              <a:gd name="connsiteX46-16725" fmla="*/ 5325240 w 10693106"/>
              <a:gd name="connsiteY46-16726" fmla="*/ 584556 h 5292022"/>
              <a:gd name="connsiteX47-16727" fmla="*/ 5494573 w 10693106"/>
              <a:gd name="connsiteY47-16728" fmla="*/ 736956 h 5292022"/>
              <a:gd name="connsiteX48-16729" fmla="*/ 5562306 w 10693106"/>
              <a:gd name="connsiteY48-16730" fmla="*/ 813156 h 5292022"/>
              <a:gd name="connsiteX49-16731" fmla="*/ 5621573 w 10693106"/>
              <a:gd name="connsiteY49-16732" fmla="*/ 863956 h 5292022"/>
              <a:gd name="connsiteX50-16733" fmla="*/ 5672373 w 10693106"/>
              <a:gd name="connsiteY50-16734" fmla="*/ 931689 h 5292022"/>
              <a:gd name="connsiteX51-16735" fmla="*/ 5757040 w 10693106"/>
              <a:gd name="connsiteY51-16736" fmla="*/ 1033289 h 5292022"/>
              <a:gd name="connsiteX52-16737" fmla="*/ 5833240 w 10693106"/>
              <a:gd name="connsiteY52-16738" fmla="*/ 1126422 h 5292022"/>
              <a:gd name="connsiteX53-16739" fmla="*/ 6019506 w 10693106"/>
              <a:gd name="connsiteY53-16740" fmla="*/ 1329622 h 5292022"/>
              <a:gd name="connsiteX54-16741" fmla="*/ 6087240 w 10693106"/>
              <a:gd name="connsiteY54-16742" fmla="*/ 1380422 h 5292022"/>
              <a:gd name="connsiteX55-16743" fmla="*/ 6171906 w 10693106"/>
              <a:gd name="connsiteY55-16744" fmla="*/ 1482022 h 5292022"/>
              <a:gd name="connsiteX56-16745" fmla="*/ 6451306 w 10693106"/>
              <a:gd name="connsiteY56-16746" fmla="*/ 1693689 h 5292022"/>
              <a:gd name="connsiteX57-16747" fmla="*/ 6519040 w 10693106"/>
              <a:gd name="connsiteY57-16748" fmla="*/ 1702156 h 5292022"/>
              <a:gd name="connsiteX58-16749" fmla="*/ 6603706 w 10693106"/>
              <a:gd name="connsiteY58-16750" fmla="*/ 1736022 h 5292022"/>
              <a:gd name="connsiteX59-16751" fmla="*/ 6671440 w 10693106"/>
              <a:gd name="connsiteY59-16752" fmla="*/ 1769889 h 5292022"/>
              <a:gd name="connsiteX60-16753" fmla="*/ 6866173 w 10693106"/>
              <a:gd name="connsiteY60-16754" fmla="*/ 1795289 h 5292022"/>
              <a:gd name="connsiteX61-16755" fmla="*/ 7196373 w 10693106"/>
              <a:gd name="connsiteY61-16756" fmla="*/ 1778356 h 5292022"/>
              <a:gd name="connsiteX62-16757" fmla="*/ 7509640 w 10693106"/>
              <a:gd name="connsiteY62-16758" fmla="*/ 1702156 h 5292022"/>
              <a:gd name="connsiteX63-16759" fmla="*/ 7628173 w 10693106"/>
              <a:gd name="connsiteY63-16760" fmla="*/ 1676756 h 5292022"/>
              <a:gd name="connsiteX64-16761" fmla="*/ 7704373 w 10693106"/>
              <a:gd name="connsiteY64-16762" fmla="*/ 1634422 h 5292022"/>
              <a:gd name="connsiteX65-16763" fmla="*/ 7755173 w 10693106"/>
              <a:gd name="connsiteY65-16764" fmla="*/ 1625956 h 5292022"/>
              <a:gd name="connsiteX66-16765" fmla="*/ 7797506 w 10693106"/>
              <a:gd name="connsiteY66-16766" fmla="*/ 1592089 h 5292022"/>
              <a:gd name="connsiteX67-16767" fmla="*/ 7856773 w 10693106"/>
              <a:gd name="connsiteY67-16768" fmla="*/ 1575156 h 5292022"/>
              <a:gd name="connsiteX68-16769" fmla="*/ 7958373 w 10693106"/>
              <a:gd name="connsiteY68-16770" fmla="*/ 1507422 h 5292022"/>
              <a:gd name="connsiteX69-16771" fmla="*/ 8009173 w 10693106"/>
              <a:gd name="connsiteY69-16772" fmla="*/ 1456622 h 5292022"/>
              <a:gd name="connsiteX70-16773" fmla="*/ 8339373 w 10693106"/>
              <a:gd name="connsiteY70-16774" fmla="*/ 1211089 h 5292022"/>
              <a:gd name="connsiteX71-16775" fmla="*/ 8576440 w 10693106"/>
              <a:gd name="connsiteY71-16776" fmla="*/ 957089 h 5292022"/>
              <a:gd name="connsiteX72-16777" fmla="*/ 8652640 w 10693106"/>
              <a:gd name="connsiteY72-16778" fmla="*/ 677689 h 5292022"/>
              <a:gd name="connsiteX73-16779" fmla="*/ 8847373 w 10693106"/>
              <a:gd name="connsiteY73-16780" fmla="*/ 491422 h 5292022"/>
              <a:gd name="connsiteX74-16781" fmla="*/ 8982840 w 10693106"/>
              <a:gd name="connsiteY74-16782" fmla="*/ 398289 h 5292022"/>
              <a:gd name="connsiteX75-16783" fmla="*/ 9084440 w 10693106"/>
              <a:gd name="connsiteY75-16784" fmla="*/ 364422 h 5292022"/>
              <a:gd name="connsiteX76-16785" fmla="*/ 9152173 w 10693106"/>
              <a:gd name="connsiteY76-16786" fmla="*/ 339022 h 5292022"/>
              <a:gd name="connsiteX77-16787" fmla="*/ 9380773 w 10693106"/>
              <a:gd name="connsiteY77-16788" fmla="*/ 355956 h 5292022"/>
              <a:gd name="connsiteX78-16789" fmla="*/ 9744840 w 10693106"/>
              <a:gd name="connsiteY78-16790" fmla="*/ 466022 h 5292022"/>
              <a:gd name="connsiteX79-16791" fmla="*/ 9888773 w 10693106"/>
              <a:gd name="connsiteY79-16792" fmla="*/ 508356 h 5292022"/>
              <a:gd name="connsiteX80-16793" fmla="*/ 9998840 w 10693106"/>
              <a:gd name="connsiteY80-16794" fmla="*/ 559156 h 5292022"/>
              <a:gd name="connsiteX81-16795" fmla="*/ 10083506 w 10693106"/>
              <a:gd name="connsiteY81-16796" fmla="*/ 618422 h 5292022"/>
              <a:gd name="connsiteX82-16797" fmla="*/ 10286706 w 10693106"/>
              <a:gd name="connsiteY82-16798" fmla="*/ 686156 h 5292022"/>
              <a:gd name="connsiteX83-16799" fmla="*/ 10388306 w 10693106"/>
              <a:gd name="connsiteY83-16800" fmla="*/ 889356 h 5292022"/>
              <a:gd name="connsiteX84-16801" fmla="*/ 10540706 w 10693106"/>
              <a:gd name="connsiteY84-16802" fmla="*/ 1261889 h 5292022"/>
              <a:gd name="connsiteX85-16803" fmla="*/ 10557640 w 10693106"/>
              <a:gd name="connsiteY85-16804" fmla="*/ 1346556 h 5292022"/>
              <a:gd name="connsiteX86-16805" fmla="*/ 10583040 w 10693106"/>
              <a:gd name="connsiteY86-16806" fmla="*/ 1448156 h 5292022"/>
              <a:gd name="connsiteX87-16807" fmla="*/ 10616906 w 10693106"/>
              <a:gd name="connsiteY87-16808" fmla="*/ 1651356 h 5292022"/>
              <a:gd name="connsiteX88-16809" fmla="*/ 10633840 w 10693106"/>
              <a:gd name="connsiteY88-16810" fmla="*/ 1736022 h 5292022"/>
              <a:gd name="connsiteX89-16811" fmla="*/ 10650773 w 10693106"/>
              <a:gd name="connsiteY89-16812" fmla="*/ 1769889 h 5292022"/>
              <a:gd name="connsiteX90-16813" fmla="*/ 10676173 w 10693106"/>
              <a:gd name="connsiteY90-16814" fmla="*/ 1854556 h 5292022"/>
              <a:gd name="connsiteX91-16815" fmla="*/ 10693106 w 10693106"/>
              <a:gd name="connsiteY91-16816" fmla="*/ 2006956 h 5292022"/>
              <a:gd name="connsiteX92-16817" fmla="*/ 10625373 w 10693106"/>
              <a:gd name="connsiteY92-16818" fmla="*/ 2227089 h 5292022"/>
              <a:gd name="connsiteX93-16819" fmla="*/ 10608440 w 10693106"/>
              <a:gd name="connsiteY93-16820" fmla="*/ 2252489 h 5292022"/>
              <a:gd name="connsiteX94-16821" fmla="*/ 10540706 w 10693106"/>
              <a:gd name="connsiteY94-16822" fmla="*/ 2396422 h 5292022"/>
              <a:gd name="connsiteX95-16823" fmla="*/ 10498373 w 10693106"/>
              <a:gd name="connsiteY95-16824" fmla="*/ 2481089 h 5292022"/>
              <a:gd name="connsiteX96-16825" fmla="*/ 10439106 w 10693106"/>
              <a:gd name="connsiteY96-16826" fmla="*/ 2667356 h 5292022"/>
              <a:gd name="connsiteX97-16827" fmla="*/ 10430640 w 10693106"/>
              <a:gd name="connsiteY97-16828" fmla="*/ 2709689 h 5292022"/>
              <a:gd name="connsiteX98-16829" fmla="*/ 10405240 w 10693106"/>
              <a:gd name="connsiteY98-16830" fmla="*/ 2785889 h 5292022"/>
              <a:gd name="connsiteX99-16831" fmla="*/ 10396773 w 10693106"/>
              <a:gd name="connsiteY99-16832" fmla="*/ 2819756 h 5292022"/>
              <a:gd name="connsiteX100-16833" fmla="*/ 10362906 w 10693106"/>
              <a:gd name="connsiteY100-16834" fmla="*/ 2912889 h 5292022"/>
              <a:gd name="connsiteX101-16835" fmla="*/ 10329040 w 10693106"/>
              <a:gd name="connsiteY101-16836" fmla="*/ 2955222 h 5292022"/>
              <a:gd name="connsiteX102-16837" fmla="*/ 10227440 w 10693106"/>
              <a:gd name="connsiteY102-16838" fmla="*/ 3056822 h 5292022"/>
              <a:gd name="connsiteX103-16839" fmla="*/ 10168173 w 10693106"/>
              <a:gd name="connsiteY103-16840" fmla="*/ 3124556 h 5292022"/>
              <a:gd name="connsiteX104-16841" fmla="*/ 10117373 w 10693106"/>
              <a:gd name="connsiteY104-16842" fmla="*/ 3175356 h 5292022"/>
              <a:gd name="connsiteX105-16843" fmla="*/ 10032706 w 10693106"/>
              <a:gd name="connsiteY105-16844" fmla="*/ 3276956 h 5292022"/>
              <a:gd name="connsiteX106-16845" fmla="*/ 9948040 w 10693106"/>
              <a:gd name="connsiteY106-16846" fmla="*/ 3336222 h 5292022"/>
              <a:gd name="connsiteX107-16847" fmla="*/ 9905706 w 10693106"/>
              <a:gd name="connsiteY107-16848" fmla="*/ 3361622 h 5292022"/>
              <a:gd name="connsiteX108-16849" fmla="*/ 9829506 w 10693106"/>
              <a:gd name="connsiteY108-16850" fmla="*/ 3378556 h 5292022"/>
              <a:gd name="connsiteX109-16851" fmla="*/ 9727906 w 10693106"/>
              <a:gd name="connsiteY109-16852" fmla="*/ 3420889 h 5292022"/>
              <a:gd name="connsiteX110-16853" fmla="*/ 9634773 w 10693106"/>
              <a:gd name="connsiteY110-16854" fmla="*/ 3446289 h 5292022"/>
              <a:gd name="connsiteX111-16855" fmla="*/ 9456973 w 10693106"/>
              <a:gd name="connsiteY111-16856" fmla="*/ 3539422 h 5292022"/>
              <a:gd name="connsiteX112-16857" fmla="*/ 9313040 w 10693106"/>
              <a:gd name="connsiteY112-16858" fmla="*/ 3666422 h 5292022"/>
              <a:gd name="connsiteX113-16859" fmla="*/ 9279173 w 10693106"/>
              <a:gd name="connsiteY113-16860" fmla="*/ 3683356 h 5292022"/>
              <a:gd name="connsiteX114-16861" fmla="*/ 9067506 w 10693106"/>
              <a:gd name="connsiteY114-16862" fmla="*/ 3861156 h 5292022"/>
              <a:gd name="connsiteX115-16863" fmla="*/ 8999773 w 10693106"/>
              <a:gd name="connsiteY115-16864" fmla="*/ 3928889 h 5292022"/>
              <a:gd name="connsiteX116-16865" fmla="*/ 8813506 w 10693106"/>
              <a:gd name="connsiteY116-16866" fmla="*/ 4064356 h 5292022"/>
              <a:gd name="connsiteX117-16867" fmla="*/ 8728840 w 10693106"/>
              <a:gd name="connsiteY117-16868" fmla="*/ 4106689 h 5292022"/>
              <a:gd name="connsiteX118-16869" fmla="*/ 8373240 w 10693106"/>
              <a:gd name="connsiteY118-16870" fmla="*/ 4140556 h 5292022"/>
              <a:gd name="connsiteX119-16871" fmla="*/ 7966840 w 10693106"/>
              <a:gd name="connsiteY119-16872" fmla="*/ 4233689 h 5292022"/>
              <a:gd name="connsiteX120-16873" fmla="*/ 7687440 w 10693106"/>
              <a:gd name="connsiteY120-16874" fmla="*/ 4394556 h 5292022"/>
              <a:gd name="connsiteX121-16875" fmla="*/ 7551973 w 10693106"/>
              <a:gd name="connsiteY121-16876" fmla="*/ 4479222 h 5292022"/>
              <a:gd name="connsiteX122-16877" fmla="*/ 7374173 w 10693106"/>
              <a:gd name="connsiteY122-16878" fmla="*/ 4657022 h 5292022"/>
              <a:gd name="connsiteX123-16879" fmla="*/ 7374173 w 10693106"/>
              <a:gd name="connsiteY123-16880" fmla="*/ 4657022 h 5292022"/>
              <a:gd name="connsiteX124-16881" fmla="*/ 7221773 w 10693106"/>
              <a:gd name="connsiteY124-16882" fmla="*/ 4775556 h 5292022"/>
              <a:gd name="connsiteX125-16883" fmla="*/ 7027040 w 10693106"/>
              <a:gd name="connsiteY125-16884" fmla="*/ 4902556 h 5292022"/>
              <a:gd name="connsiteX126-16885" fmla="*/ 6883106 w 10693106"/>
              <a:gd name="connsiteY126-16886" fmla="*/ 4970289 h 5292022"/>
              <a:gd name="connsiteX127-16887" fmla="*/ 6815373 w 10693106"/>
              <a:gd name="connsiteY127-16888" fmla="*/ 5012622 h 5292022"/>
              <a:gd name="connsiteX128-16889" fmla="*/ 6646040 w 10693106"/>
              <a:gd name="connsiteY128-16890" fmla="*/ 5105756 h 5292022"/>
              <a:gd name="connsiteX129-16891" fmla="*/ 6527506 w 10693106"/>
              <a:gd name="connsiteY129-16892" fmla="*/ 5165022 h 5292022"/>
              <a:gd name="connsiteX130-16893" fmla="*/ 6298906 w 10693106"/>
              <a:gd name="connsiteY130-16894" fmla="*/ 5241222 h 5292022"/>
              <a:gd name="connsiteX131-16895" fmla="*/ 6197306 w 10693106"/>
              <a:gd name="connsiteY131-16896" fmla="*/ 5266622 h 5292022"/>
              <a:gd name="connsiteX132-16897" fmla="*/ 6061840 w 10693106"/>
              <a:gd name="connsiteY132-16898" fmla="*/ 5275089 h 5292022"/>
              <a:gd name="connsiteX133-16899" fmla="*/ 5917906 w 10693106"/>
              <a:gd name="connsiteY133-16900" fmla="*/ 5292022 h 5292022"/>
              <a:gd name="connsiteX134-16901" fmla="*/ 5748573 w 10693106"/>
              <a:gd name="connsiteY134-16902" fmla="*/ 5283556 h 5292022"/>
              <a:gd name="connsiteX135-16903" fmla="*/ 5282906 w 10693106"/>
              <a:gd name="connsiteY135-16904" fmla="*/ 5173489 h 5292022"/>
              <a:gd name="connsiteX136-16905" fmla="*/ 5138973 w 10693106"/>
              <a:gd name="connsiteY136-16906" fmla="*/ 5071889 h 5292022"/>
              <a:gd name="connsiteX137-16907" fmla="*/ 4959480 w 10693106"/>
              <a:gd name="connsiteY137-16908" fmla="*/ 4988069 h 5292022"/>
              <a:gd name="connsiteX138-16909" fmla="*/ 4842216 w 10693106"/>
              <a:gd name="connsiteY138-16910" fmla="*/ 4953779 h 5292022"/>
              <a:gd name="connsiteX139-16911" fmla="*/ 4797343 w 10693106"/>
              <a:gd name="connsiteY139-16912" fmla="*/ 4878426 h 5292022"/>
              <a:gd name="connsiteX140-16913" fmla="*/ 4686853 w 10693106"/>
              <a:gd name="connsiteY140-16914" fmla="*/ 4788256 h 5292022"/>
              <a:gd name="connsiteX141-16915" fmla="*/ 4536146 w 10693106"/>
              <a:gd name="connsiteY141-16916" fmla="*/ 4712902 h 5292022"/>
              <a:gd name="connsiteX142-16917" fmla="*/ 4365120 w 10693106"/>
              <a:gd name="connsiteY142-16918" fmla="*/ 4616382 h 5292022"/>
              <a:gd name="connsiteX143-16919" fmla="*/ 4187743 w 10693106"/>
              <a:gd name="connsiteY143-16920" fmla="*/ 4521556 h 5292022"/>
              <a:gd name="connsiteX144-16921" fmla="*/ 4038306 w 10693106"/>
              <a:gd name="connsiteY144-16922" fmla="*/ 4365769 h 5292022"/>
              <a:gd name="connsiteX145-16923" fmla="*/ 3995973 w 10693106"/>
              <a:gd name="connsiteY145-16924" fmla="*/ 4232419 h 5292022"/>
              <a:gd name="connsiteX146-16925" fmla="*/ 3962530 w 10693106"/>
              <a:gd name="connsiteY146-16926" fmla="*/ 4135052 h 5292022"/>
              <a:gd name="connsiteX147-16927" fmla="*/ 3895643 w 10693106"/>
              <a:gd name="connsiteY147-16928" fmla="*/ 4059699 h 5292022"/>
              <a:gd name="connsiteX148-16929" fmla="*/ 3919773 w 10693106"/>
              <a:gd name="connsiteY148-16930" fmla="*/ 3920422 h 5292022"/>
              <a:gd name="connsiteX149-16931" fmla="*/ 3877440 w 10693106"/>
              <a:gd name="connsiteY149-16932" fmla="*/ 3624089 h 5292022"/>
              <a:gd name="connsiteX150-16933" fmla="*/ 3852040 w 10693106"/>
              <a:gd name="connsiteY150-16934" fmla="*/ 3530956 h 5292022"/>
              <a:gd name="connsiteX151-16935" fmla="*/ 3801240 w 10693106"/>
              <a:gd name="connsiteY151-16936" fmla="*/ 3420889 h 5292022"/>
              <a:gd name="connsiteX152-16937" fmla="*/ 3733506 w 10693106"/>
              <a:gd name="connsiteY152-16938" fmla="*/ 3319289 h 5292022"/>
              <a:gd name="connsiteX153-16939" fmla="*/ 3242440 w 10693106"/>
              <a:gd name="connsiteY153-16940" fmla="*/ 3099156 h 5292022"/>
              <a:gd name="connsiteX154-16941" fmla="*/ 3123906 w 10693106"/>
              <a:gd name="connsiteY154-16942" fmla="*/ 2997556 h 5292022"/>
              <a:gd name="connsiteX155-16943" fmla="*/ 2988440 w 10693106"/>
              <a:gd name="connsiteY155-16944" fmla="*/ 2802822 h 5292022"/>
              <a:gd name="connsiteX156-16945" fmla="*/ 2971506 w 10693106"/>
              <a:gd name="connsiteY156-16946" fmla="*/ 2743556 h 5292022"/>
              <a:gd name="connsiteX157-16947" fmla="*/ 2996906 w 10693106"/>
              <a:gd name="connsiteY157-16948" fmla="*/ 2531889 h 5292022"/>
              <a:gd name="connsiteX158-16949" fmla="*/ 3013840 w 10693106"/>
              <a:gd name="connsiteY158-16950" fmla="*/ 2430289 h 5292022"/>
              <a:gd name="connsiteX159-16951" fmla="*/ 3005373 w 10693106"/>
              <a:gd name="connsiteY159-16952" fmla="*/ 2311756 h 5292022"/>
              <a:gd name="connsiteX160-16953" fmla="*/ 2988440 w 10693106"/>
              <a:gd name="connsiteY160-16954" fmla="*/ 2260956 h 5292022"/>
              <a:gd name="connsiteX161-16955" fmla="*/ 2802173 w 10693106"/>
              <a:gd name="connsiteY161-16956" fmla="*/ 2006956 h 5292022"/>
              <a:gd name="connsiteX162-16957" fmla="*/ 2641306 w 10693106"/>
              <a:gd name="connsiteY162-16958" fmla="*/ 1863022 h 5292022"/>
              <a:gd name="connsiteX163-16959" fmla="*/ 2590506 w 10693106"/>
              <a:gd name="connsiteY163-16960" fmla="*/ 1837622 h 5292022"/>
              <a:gd name="connsiteX164-16961" fmla="*/ 2531240 w 10693106"/>
              <a:gd name="connsiteY164-16962" fmla="*/ 1829156 h 5292022"/>
              <a:gd name="connsiteX165-16963" fmla="*/ 2446573 w 10693106"/>
              <a:gd name="connsiteY165-16964" fmla="*/ 1812222 h 5292022"/>
              <a:gd name="connsiteX166-16965" fmla="*/ 2251840 w 10693106"/>
              <a:gd name="connsiteY166-16966" fmla="*/ 1837622 h 5292022"/>
              <a:gd name="connsiteX167-16967" fmla="*/ 2167173 w 10693106"/>
              <a:gd name="connsiteY167-16968" fmla="*/ 1879956 h 5292022"/>
              <a:gd name="connsiteX168-16969" fmla="*/ 1980906 w 10693106"/>
              <a:gd name="connsiteY168-16970" fmla="*/ 1939222 h 5292022"/>
              <a:gd name="connsiteX169-16971" fmla="*/ 1904706 w 10693106"/>
              <a:gd name="connsiteY169-16972" fmla="*/ 1973089 h 5292022"/>
              <a:gd name="connsiteX170-16973" fmla="*/ 1828506 w 10693106"/>
              <a:gd name="connsiteY170-16974" fmla="*/ 1990022 h 5292022"/>
              <a:gd name="connsiteX171-16975" fmla="*/ 1726906 w 10693106"/>
              <a:gd name="connsiteY171-16976" fmla="*/ 2040822 h 5292022"/>
              <a:gd name="connsiteX172-16977" fmla="*/ 1659173 w 10693106"/>
              <a:gd name="connsiteY172-16978" fmla="*/ 2074689 h 5292022"/>
              <a:gd name="connsiteX173-16979" fmla="*/ 1498306 w 10693106"/>
              <a:gd name="connsiteY173-16980" fmla="*/ 2100089 h 5292022"/>
              <a:gd name="connsiteX174-16981" fmla="*/ 914106 w 10693106"/>
              <a:gd name="connsiteY174-16982" fmla="*/ 2032356 h 5292022"/>
              <a:gd name="connsiteX175-16983" fmla="*/ 617773 w 10693106"/>
              <a:gd name="connsiteY175-16984" fmla="*/ 1922289 h 5292022"/>
              <a:gd name="connsiteX176-16985" fmla="*/ 516173 w 10693106"/>
              <a:gd name="connsiteY176-16986" fmla="*/ 1837622 h 5292022"/>
              <a:gd name="connsiteX177-16987" fmla="*/ 355306 w 10693106"/>
              <a:gd name="connsiteY177-16988" fmla="*/ 1625956 h 5292022"/>
              <a:gd name="connsiteX178-16989" fmla="*/ 296040 w 10693106"/>
              <a:gd name="connsiteY178-16990" fmla="*/ 1524356 h 5292022"/>
              <a:gd name="connsiteX179-16991" fmla="*/ 253706 w 10693106"/>
              <a:gd name="connsiteY179-16992" fmla="*/ 1346556 h 5292022"/>
              <a:gd name="connsiteX180-16993" fmla="*/ 245240 w 10693106"/>
              <a:gd name="connsiteY180-16994" fmla="*/ 1219556 h 5292022"/>
              <a:gd name="connsiteX181-16995" fmla="*/ 236773 w 10693106"/>
              <a:gd name="connsiteY181-16996" fmla="*/ 1117956 h 5292022"/>
              <a:gd name="connsiteX182-16997" fmla="*/ 245240 w 10693106"/>
              <a:gd name="connsiteY182-16998" fmla="*/ 847022 h 5292022"/>
              <a:gd name="connsiteX183-16999" fmla="*/ 236773 w 10693106"/>
              <a:gd name="connsiteY183-17000" fmla="*/ 703089 h 5292022"/>
              <a:gd name="connsiteX184-17001" fmla="*/ 109773 w 10693106"/>
              <a:gd name="connsiteY184-17002" fmla="*/ 559156 h 5292022"/>
              <a:gd name="connsiteX185-17003" fmla="*/ 58973 w 10693106"/>
              <a:gd name="connsiteY185-17004" fmla="*/ 482956 h 5292022"/>
              <a:gd name="connsiteX186-17005" fmla="*/ 16640 w 10693106"/>
              <a:gd name="connsiteY186-17006" fmla="*/ 432156 h 5292022"/>
              <a:gd name="connsiteX187-17007" fmla="*/ 8173 w 10693106"/>
              <a:gd name="connsiteY187-17008" fmla="*/ 389822 h 5292022"/>
              <a:gd name="connsiteX188-17009" fmla="*/ 16640 w 10693106"/>
              <a:gd name="connsiteY188-17010" fmla="*/ 339022 h 5292022"/>
              <a:gd name="connsiteX0-17011" fmla="*/ 16640 w 10693106"/>
              <a:gd name="connsiteY0-17012" fmla="*/ 339022 h 5292022"/>
              <a:gd name="connsiteX1-17013" fmla="*/ 58973 w 10693106"/>
              <a:gd name="connsiteY1-17014" fmla="*/ 245889 h 5292022"/>
              <a:gd name="connsiteX2-17015" fmla="*/ 109773 w 10693106"/>
              <a:gd name="connsiteY2-17016" fmla="*/ 178156 h 5292022"/>
              <a:gd name="connsiteX3-17017" fmla="*/ 202906 w 10693106"/>
              <a:gd name="connsiteY3-17018" fmla="*/ 93489 h 5292022"/>
              <a:gd name="connsiteX4-17019" fmla="*/ 236773 w 10693106"/>
              <a:gd name="connsiteY4-17020" fmla="*/ 68089 h 5292022"/>
              <a:gd name="connsiteX5-17021" fmla="*/ 335410 w 10693106"/>
              <a:gd name="connsiteY5-17022" fmla="*/ 58352 h 5292022"/>
              <a:gd name="connsiteX6-17023" fmla="*/ 382400 w 10693106"/>
              <a:gd name="connsiteY6-17024" fmla="*/ 51156 h 5292022"/>
              <a:gd name="connsiteX7-17025" fmla="*/ 434912 w 10693106"/>
              <a:gd name="connsiteY7-17026" fmla="*/ 70071 h 5292022"/>
              <a:gd name="connsiteX8-17027" fmla="*/ 492697 w 10693106"/>
              <a:gd name="connsiteY8-17028" fmla="*/ 74247 h 5292022"/>
              <a:gd name="connsiteX9-17029" fmla="*/ 822897 w 10693106"/>
              <a:gd name="connsiteY9-17030" fmla="*/ 82713 h 5292022"/>
              <a:gd name="connsiteX10-17031" fmla="*/ 1091906 w 10693106"/>
              <a:gd name="connsiteY10-17032" fmla="*/ 356 h 5292022"/>
              <a:gd name="connsiteX11-17033" fmla="*/ 1235840 w 10693106"/>
              <a:gd name="connsiteY11-17034" fmla="*/ 59622 h 5292022"/>
              <a:gd name="connsiteX12-17035" fmla="*/ 1337440 w 10693106"/>
              <a:gd name="connsiteY12-17036" fmla="*/ 135822 h 5292022"/>
              <a:gd name="connsiteX13-17037" fmla="*/ 1422106 w 10693106"/>
              <a:gd name="connsiteY13-17038" fmla="*/ 245889 h 5292022"/>
              <a:gd name="connsiteX14-17039" fmla="*/ 1481373 w 10693106"/>
              <a:gd name="connsiteY14-17040" fmla="*/ 313622 h 5292022"/>
              <a:gd name="connsiteX15-17041" fmla="*/ 1532173 w 10693106"/>
              <a:gd name="connsiteY15-17042" fmla="*/ 347489 h 5292022"/>
              <a:gd name="connsiteX16-17043" fmla="*/ 1684573 w 10693106"/>
              <a:gd name="connsiteY16-17044" fmla="*/ 406756 h 5292022"/>
              <a:gd name="connsiteX17-17045" fmla="*/ 1760773 w 10693106"/>
              <a:gd name="connsiteY17-17046" fmla="*/ 423689 h 5292022"/>
              <a:gd name="connsiteX18-17047" fmla="*/ 1997840 w 10693106"/>
              <a:gd name="connsiteY18-17048" fmla="*/ 415222 h 5292022"/>
              <a:gd name="connsiteX19-17049" fmla="*/ 2116373 w 10693106"/>
              <a:gd name="connsiteY19-17050" fmla="*/ 398289 h 5292022"/>
              <a:gd name="connsiteX20-17051" fmla="*/ 2260306 w 10693106"/>
              <a:gd name="connsiteY20-17052" fmla="*/ 381356 h 5292022"/>
              <a:gd name="connsiteX21-17053" fmla="*/ 2404240 w 10693106"/>
              <a:gd name="connsiteY21-17054" fmla="*/ 355956 h 5292022"/>
              <a:gd name="connsiteX22-17055" fmla="*/ 2455040 w 10693106"/>
              <a:gd name="connsiteY22-17056" fmla="*/ 330556 h 5292022"/>
              <a:gd name="connsiteX23-17057" fmla="*/ 2531240 w 10693106"/>
              <a:gd name="connsiteY23-17058" fmla="*/ 305156 h 5292022"/>
              <a:gd name="connsiteX24-17059" fmla="*/ 2649350 w 10693106"/>
              <a:gd name="connsiteY24-17060" fmla="*/ 225781 h 5292022"/>
              <a:gd name="connsiteX25-17061" fmla="*/ 2742906 w 10693106"/>
              <a:gd name="connsiteY25-17062" fmla="*/ 186622 h 5292022"/>
              <a:gd name="connsiteX26-17063" fmla="*/ 2764920 w 10693106"/>
              <a:gd name="connsiteY26-17064" fmla="*/ 173076 h 5292022"/>
              <a:gd name="connsiteX27-17065" fmla="*/ 2832653 w 10693106"/>
              <a:gd name="connsiteY27-17066" fmla="*/ 167996 h 5292022"/>
              <a:gd name="connsiteX28-17067" fmla="*/ 3002294 w 10693106"/>
              <a:gd name="connsiteY28-17068" fmla="*/ 154680 h 5292022"/>
              <a:gd name="connsiteX29-17069" fmla="*/ 3142763 w 10693106"/>
              <a:gd name="connsiteY29-17070" fmla="*/ 110421 h 5292022"/>
              <a:gd name="connsiteX30-17071" fmla="*/ 3398918 w 10693106"/>
              <a:gd name="connsiteY30-17072" fmla="*/ 72322 h 5292022"/>
              <a:gd name="connsiteX31-17073" fmla="*/ 3606506 w 10693106"/>
              <a:gd name="connsiteY31-17074" fmla="*/ 60393 h 5292022"/>
              <a:gd name="connsiteX32-17075" fmla="*/ 3682706 w 10693106"/>
              <a:gd name="connsiteY32-17076" fmla="*/ 79942 h 5292022"/>
              <a:gd name="connsiteX33-17077" fmla="*/ 3741973 w 10693106"/>
              <a:gd name="connsiteY33-17078" fmla="*/ 86561 h 5292022"/>
              <a:gd name="connsiteX34-17079" fmla="*/ 3794678 w 10693106"/>
              <a:gd name="connsiteY34-17080" fmla="*/ 101321 h 5292022"/>
              <a:gd name="connsiteX35-17081" fmla="*/ 3833625 w 10693106"/>
              <a:gd name="connsiteY35-17082" fmla="*/ 110846 h 5292022"/>
              <a:gd name="connsiteX36-17083" fmla="*/ 3892487 w 10693106"/>
              <a:gd name="connsiteY36-17084" fmla="*/ 116984 h 5292022"/>
              <a:gd name="connsiteX37-17085" fmla="*/ 3933108 w 10693106"/>
              <a:gd name="connsiteY37-17086" fmla="*/ 128837 h 5292022"/>
              <a:gd name="connsiteX38-17087" fmla="*/ 3976923 w 10693106"/>
              <a:gd name="connsiteY38-17088" fmla="*/ 135187 h 5292022"/>
              <a:gd name="connsiteX39-17089" fmla="*/ 4021373 w 10693106"/>
              <a:gd name="connsiteY39-17090" fmla="*/ 144289 h 5292022"/>
              <a:gd name="connsiteX40-17091" fmla="*/ 4055240 w 10693106"/>
              <a:gd name="connsiteY40-17092" fmla="*/ 152756 h 5292022"/>
              <a:gd name="connsiteX41-17093" fmla="*/ 4275373 w 10693106"/>
              <a:gd name="connsiteY41-17094" fmla="*/ 195089 h 5292022"/>
              <a:gd name="connsiteX42-17095" fmla="*/ 4402373 w 10693106"/>
              <a:gd name="connsiteY42-17096" fmla="*/ 228956 h 5292022"/>
              <a:gd name="connsiteX43-17097" fmla="*/ 4529373 w 10693106"/>
              <a:gd name="connsiteY43-17098" fmla="*/ 271289 h 5292022"/>
              <a:gd name="connsiteX44-17099" fmla="*/ 4859573 w 10693106"/>
              <a:gd name="connsiteY44-17100" fmla="*/ 347489 h 5292022"/>
              <a:gd name="connsiteX45-17101" fmla="*/ 5045840 w 10693106"/>
              <a:gd name="connsiteY45-17102" fmla="*/ 423689 h 5292022"/>
              <a:gd name="connsiteX46-17103" fmla="*/ 5325240 w 10693106"/>
              <a:gd name="connsiteY46-17104" fmla="*/ 584556 h 5292022"/>
              <a:gd name="connsiteX47-17105" fmla="*/ 5494573 w 10693106"/>
              <a:gd name="connsiteY47-17106" fmla="*/ 736956 h 5292022"/>
              <a:gd name="connsiteX48-17107" fmla="*/ 5562306 w 10693106"/>
              <a:gd name="connsiteY48-17108" fmla="*/ 813156 h 5292022"/>
              <a:gd name="connsiteX49-17109" fmla="*/ 5621573 w 10693106"/>
              <a:gd name="connsiteY49-17110" fmla="*/ 863956 h 5292022"/>
              <a:gd name="connsiteX50-17111" fmla="*/ 5672373 w 10693106"/>
              <a:gd name="connsiteY50-17112" fmla="*/ 931689 h 5292022"/>
              <a:gd name="connsiteX51-17113" fmla="*/ 5757040 w 10693106"/>
              <a:gd name="connsiteY51-17114" fmla="*/ 1033289 h 5292022"/>
              <a:gd name="connsiteX52-17115" fmla="*/ 5833240 w 10693106"/>
              <a:gd name="connsiteY52-17116" fmla="*/ 1126422 h 5292022"/>
              <a:gd name="connsiteX53-17117" fmla="*/ 6019506 w 10693106"/>
              <a:gd name="connsiteY53-17118" fmla="*/ 1329622 h 5292022"/>
              <a:gd name="connsiteX54-17119" fmla="*/ 6087240 w 10693106"/>
              <a:gd name="connsiteY54-17120" fmla="*/ 1380422 h 5292022"/>
              <a:gd name="connsiteX55-17121" fmla="*/ 6171906 w 10693106"/>
              <a:gd name="connsiteY55-17122" fmla="*/ 1482022 h 5292022"/>
              <a:gd name="connsiteX56-17123" fmla="*/ 6451306 w 10693106"/>
              <a:gd name="connsiteY56-17124" fmla="*/ 1693689 h 5292022"/>
              <a:gd name="connsiteX57-17125" fmla="*/ 6519040 w 10693106"/>
              <a:gd name="connsiteY57-17126" fmla="*/ 1702156 h 5292022"/>
              <a:gd name="connsiteX58-17127" fmla="*/ 6603706 w 10693106"/>
              <a:gd name="connsiteY58-17128" fmla="*/ 1736022 h 5292022"/>
              <a:gd name="connsiteX59-17129" fmla="*/ 6671440 w 10693106"/>
              <a:gd name="connsiteY59-17130" fmla="*/ 1769889 h 5292022"/>
              <a:gd name="connsiteX60-17131" fmla="*/ 6866173 w 10693106"/>
              <a:gd name="connsiteY60-17132" fmla="*/ 1795289 h 5292022"/>
              <a:gd name="connsiteX61-17133" fmla="*/ 7196373 w 10693106"/>
              <a:gd name="connsiteY61-17134" fmla="*/ 1778356 h 5292022"/>
              <a:gd name="connsiteX62-17135" fmla="*/ 7509640 w 10693106"/>
              <a:gd name="connsiteY62-17136" fmla="*/ 1702156 h 5292022"/>
              <a:gd name="connsiteX63-17137" fmla="*/ 7628173 w 10693106"/>
              <a:gd name="connsiteY63-17138" fmla="*/ 1676756 h 5292022"/>
              <a:gd name="connsiteX64-17139" fmla="*/ 7704373 w 10693106"/>
              <a:gd name="connsiteY64-17140" fmla="*/ 1634422 h 5292022"/>
              <a:gd name="connsiteX65-17141" fmla="*/ 7755173 w 10693106"/>
              <a:gd name="connsiteY65-17142" fmla="*/ 1625956 h 5292022"/>
              <a:gd name="connsiteX66-17143" fmla="*/ 7797506 w 10693106"/>
              <a:gd name="connsiteY66-17144" fmla="*/ 1592089 h 5292022"/>
              <a:gd name="connsiteX67-17145" fmla="*/ 7856773 w 10693106"/>
              <a:gd name="connsiteY67-17146" fmla="*/ 1575156 h 5292022"/>
              <a:gd name="connsiteX68-17147" fmla="*/ 7958373 w 10693106"/>
              <a:gd name="connsiteY68-17148" fmla="*/ 1507422 h 5292022"/>
              <a:gd name="connsiteX69-17149" fmla="*/ 8009173 w 10693106"/>
              <a:gd name="connsiteY69-17150" fmla="*/ 1456622 h 5292022"/>
              <a:gd name="connsiteX70-17151" fmla="*/ 8339373 w 10693106"/>
              <a:gd name="connsiteY70-17152" fmla="*/ 1211089 h 5292022"/>
              <a:gd name="connsiteX71-17153" fmla="*/ 8576440 w 10693106"/>
              <a:gd name="connsiteY71-17154" fmla="*/ 957089 h 5292022"/>
              <a:gd name="connsiteX72-17155" fmla="*/ 8652640 w 10693106"/>
              <a:gd name="connsiteY72-17156" fmla="*/ 677689 h 5292022"/>
              <a:gd name="connsiteX73-17157" fmla="*/ 8847373 w 10693106"/>
              <a:gd name="connsiteY73-17158" fmla="*/ 491422 h 5292022"/>
              <a:gd name="connsiteX74-17159" fmla="*/ 8982840 w 10693106"/>
              <a:gd name="connsiteY74-17160" fmla="*/ 398289 h 5292022"/>
              <a:gd name="connsiteX75-17161" fmla="*/ 9084440 w 10693106"/>
              <a:gd name="connsiteY75-17162" fmla="*/ 364422 h 5292022"/>
              <a:gd name="connsiteX76-17163" fmla="*/ 9152173 w 10693106"/>
              <a:gd name="connsiteY76-17164" fmla="*/ 339022 h 5292022"/>
              <a:gd name="connsiteX77-17165" fmla="*/ 9380773 w 10693106"/>
              <a:gd name="connsiteY77-17166" fmla="*/ 355956 h 5292022"/>
              <a:gd name="connsiteX78-17167" fmla="*/ 9744840 w 10693106"/>
              <a:gd name="connsiteY78-17168" fmla="*/ 466022 h 5292022"/>
              <a:gd name="connsiteX79-17169" fmla="*/ 9888773 w 10693106"/>
              <a:gd name="connsiteY79-17170" fmla="*/ 508356 h 5292022"/>
              <a:gd name="connsiteX80-17171" fmla="*/ 9998840 w 10693106"/>
              <a:gd name="connsiteY80-17172" fmla="*/ 559156 h 5292022"/>
              <a:gd name="connsiteX81-17173" fmla="*/ 10083506 w 10693106"/>
              <a:gd name="connsiteY81-17174" fmla="*/ 618422 h 5292022"/>
              <a:gd name="connsiteX82-17175" fmla="*/ 10286706 w 10693106"/>
              <a:gd name="connsiteY82-17176" fmla="*/ 686156 h 5292022"/>
              <a:gd name="connsiteX83-17177" fmla="*/ 10388306 w 10693106"/>
              <a:gd name="connsiteY83-17178" fmla="*/ 889356 h 5292022"/>
              <a:gd name="connsiteX84-17179" fmla="*/ 10540706 w 10693106"/>
              <a:gd name="connsiteY84-17180" fmla="*/ 1261889 h 5292022"/>
              <a:gd name="connsiteX85-17181" fmla="*/ 10557640 w 10693106"/>
              <a:gd name="connsiteY85-17182" fmla="*/ 1346556 h 5292022"/>
              <a:gd name="connsiteX86-17183" fmla="*/ 10583040 w 10693106"/>
              <a:gd name="connsiteY86-17184" fmla="*/ 1448156 h 5292022"/>
              <a:gd name="connsiteX87-17185" fmla="*/ 10616906 w 10693106"/>
              <a:gd name="connsiteY87-17186" fmla="*/ 1651356 h 5292022"/>
              <a:gd name="connsiteX88-17187" fmla="*/ 10633840 w 10693106"/>
              <a:gd name="connsiteY88-17188" fmla="*/ 1736022 h 5292022"/>
              <a:gd name="connsiteX89-17189" fmla="*/ 10650773 w 10693106"/>
              <a:gd name="connsiteY89-17190" fmla="*/ 1769889 h 5292022"/>
              <a:gd name="connsiteX90-17191" fmla="*/ 10676173 w 10693106"/>
              <a:gd name="connsiteY90-17192" fmla="*/ 1854556 h 5292022"/>
              <a:gd name="connsiteX91-17193" fmla="*/ 10693106 w 10693106"/>
              <a:gd name="connsiteY91-17194" fmla="*/ 2006956 h 5292022"/>
              <a:gd name="connsiteX92-17195" fmla="*/ 10625373 w 10693106"/>
              <a:gd name="connsiteY92-17196" fmla="*/ 2227089 h 5292022"/>
              <a:gd name="connsiteX93-17197" fmla="*/ 10608440 w 10693106"/>
              <a:gd name="connsiteY93-17198" fmla="*/ 2252489 h 5292022"/>
              <a:gd name="connsiteX94-17199" fmla="*/ 10540706 w 10693106"/>
              <a:gd name="connsiteY94-17200" fmla="*/ 2396422 h 5292022"/>
              <a:gd name="connsiteX95-17201" fmla="*/ 10498373 w 10693106"/>
              <a:gd name="connsiteY95-17202" fmla="*/ 2481089 h 5292022"/>
              <a:gd name="connsiteX96-17203" fmla="*/ 10439106 w 10693106"/>
              <a:gd name="connsiteY96-17204" fmla="*/ 2667356 h 5292022"/>
              <a:gd name="connsiteX97-17205" fmla="*/ 10430640 w 10693106"/>
              <a:gd name="connsiteY97-17206" fmla="*/ 2709689 h 5292022"/>
              <a:gd name="connsiteX98-17207" fmla="*/ 10405240 w 10693106"/>
              <a:gd name="connsiteY98-17208" fmla="*/ 2785889 h 5292022"/>
              <a:gd name="connsiteX99-17209" fmla="*/ 10396773 w 10693106"/>
              <a:gd name="connsiteY99-17210" fmla="*/ 2819756 h 5292022"/>
              <a:gd name="connsiteX100-17211" fmla="*/ 10362906 w 10693106"/>
              <a:gd name="connsiteY100-17212" fmla="*/ 2912889 h 5292022"/>
              <a:gd name="connsiteX101-17213" fmla="*/ 10329040 w 10693106"/>
              <a:gd name="connsiteY101-17214" fmla="*/ 2955222 h 5292022"/>
              <a:gd name="connsiteX102-17215" fmla="*/ 10227440 w 10693106"/>
              <a:gd name="connsiteY102-17216" fmla="*/ 3056822 h 5292022"/>
              <a:gd name="connsiteX103-17217" fmla="*/ 10168173 w 10693106"/>
              <a:gd name="connsiteY103-17218" fmla="*/ 3124556 h 5292022"/>
              <a:gd name="connsiteX104-17219" fmla="*/ 10117373 w 10693106"/>
              <a:gd name="connsiteY104-17220" fmla="*/ 3175356 h 5292022"/>
              <a:gd name="connsiteX105-17221" fmla="*/ 10032706 w 10693106"/>
              <a:gd name="connsiteY105-17222" fmla="*/ 3276956 h 5292022"/>
              <a:gd name="connsiteX106-17223" fmla="*/ 9948040 w 10693106"/>
              <a:gd name="connsiteY106-17224" fmla="*/ 3336222 h 5292022"/>
              <a:gd name="connsiteX107-17225" fmla="*/ 9905706 w 10693106"/>
              <a:gd name="connsiteY107-17226" fmla="*/ 3361622 h 5292022"/>
              <a:gd name="connsiteX108-17227" fmla="*/ 9829506 w 10693106"/>
              <a:gd name="connsiteY108-17228" fmla="*/ 3378556 h 5292022"/>
              <a:gd name="connsiteX109-17229" fmla="*/ 9727906 w 10693106"/>
              <a:gd name="connsiteY109-17230" fmla="*/ 3420889 h 5292022"/>
              <a:gd name="connsiteX110-17231" fmla="*/ 9634773 w 10693106"/>
              <a:gd name="connsiteY110-17232" fmla="*/ 3446289 h 5292022"/>
              <a:gd name="connsiteX111-17233" fmla="*/ 9456973 w 10693106"/>
              <a:gd name="connsiteY111-17234" fmla="*/ 3539422 h 5292022"/>
              <a:gd name="connsiteX112-17235" fmla="*/ 9313040 w 10693106"/>
              <a:gd name="connsiteY112-17236" fmla="*/ 3666422 h 5292022"/>
              <a:gd name="connsiteX113-17237" fmla="*/ 9279173 w 10693106"/>
              <a:gd name="connsiteY113-17238" fmla="*/ 3683356 h 5292022"/>
              <a:gd name="connsiteX114-17239" fmla="*/ 9067506 w 10693106"/>
              <a:gd name="connsiteY114-17240" fmla="*/ 3861156 h 5292022"/>
              <a:gd name="connsiteX115-17241" fmla="*/ 8999773 w 10693106"/>
              <a:gd name="connsiteY115-17242" fmla="*/ 3928889 h 5292022"/>
              <a:gd name="connsiteX116-17243" fmla="*/ 8813506 w 10693106"/>
              <a:gd name="connsiteY116-17244" fmla="*/ 4064356 h 5292022"/>
              <a:gd name="connsiteX117-17245" fmla="*/ 8728840 w 10693106"/>
              <a:gd name="connsiteY117-17246" fmla="*/ 4106689 h 5292022"/>
              <a:gd name="connsiteX118-17247" fmla="*/ 8373240 w 10693106"/>
              <a:gd name="connsiteY118-17248" fmla="*/ 4140556 h 5292022"/>
              <a:gd name="connsiteX119-17249" fmla="*/ 7966840 w 10693106"/>
              <a:gd name="connsiteY119-17250" fmla="*/ 4233689 h 5292022"/>
              <a:gd name="connsiteX120-17251" fmla="*/ 7687440 w 10693106"/>
              <a:gd name="connsiteY120-17252" fmla="*/ 4394556 h 5292022"/>
              <a:gd name="connsiteX121-17253" fmla="*/ 7551973 w 10693106"/>
              <a:gd name="connsiteY121-17254" fmla="*/ 4479222 h 5292022"/>
              <a:gd name="connsiteX122-17255" fmla="*/ 7374173 w 10693106"/>
              <a:gd name="connsiteY122-17256" fmla="*/ 4657022 h 5292022"/>
              <a:gd name="connsiteX123-17257" fmla="*/ 7374173 w 10693106"/>
              <a:gd name="connsiteY123-17258" fmla="*/ 4657022 h 5292022"/>
              <a:gd name="connsiteX124-17259" fmla="*/ 7221773 w 10693106"/>
              <a:gd name="connsiteY124-17260" fmla="*/ 4775556 h 5292022"/>
              <a:gd name="connsiteX125-17261" fmla="*/ 7027040 w 10693106"/>
              <a:gd name="connsiteY125-17262" fmla="*/ 4902556 h 5292022"/>
              <a:gd name="connsiteX126-17263" fmla="*/ 6883106 w 10693106"/>
              <a:gd name="connsiteY126-17264" fmla="*/ 4970289 h 5292022"/>
              <a:gd name="connsiteX127-17265" fmla="*/ 6815373 w 10693106"/>
              <a:gd name="connsiteY127-17266" fmla="*/ 5012622 h 5292022"/>
              <a:gd name="connsiteX128-17267" fmla="*/ 6646040 w 10693106"/>
              <a:gd name="connsiteY128-17268" fmla="*/ 5105756 h 5292022"/>
              <a:gd name="connsiteX129-17269" fmla="*/ 6527506 w 10693106"/>
              <a:gd name="connsiteY129-17270" fmla="*/ 5165022 h 5292022"/>
              <a:gd name="connsiteX130-17271" fmla="*/ 6298906 w 10693106"/>
              <a:gd name="connsiteY130-17272" fmla="*/ 5241222 h 5292022"/>
              <a:gd name="connsiteX131-17273" fmla="*/ 6197306 w 10693106"/>
              <a:gd name="connsiteY131-17274" fmla="*/ 5266622 h 5292022"/>
              <a:gd name="connsiteX132-17275" fmla="*/ 6061840 w 10693106"/>
              <a:gd name="connsiteY132-17276" fmla="*/ 5275089 h 5292022"/>
              <a:gd name="connsiteX133-17277" fmla="*/ 5917906 w 10693106"/>
              <a:gd name="connsiteY133-17278" fmla="*/ 5292022 h 5292022"/>
              <a:gd name="connsiteX134-17279" fmla="*/ 5748573 w 10693106"/>
              <a:gd name="connsiteY134-17280" fmla="*/ 5283556 h 5292022"/>
              <a:gd name="connsiteX135-17281" fmla="*/ 5282906 w 10693106"/>
              <a:gd name="connsiteY135-17282" fmla="*/ 5173489 h 5292022"/>
              <a:gd name="connsiteX136-17283" fmla="*/ 5138973 w 10693106"/>
              <a:gd name="connsiteY136-17284" fmla="*/ 5071889 h 5292022"/>
              <a:gd name="connsiteX137-17285" fmla="*/ 4959480 w 10693106"/>
              <a:gd name="connsiteY137-17286" fmla="*/ 4988069 h 5292022"/>
              <a:gd name="connsiteX138-17287" fmla="*/ 4842216 w 10693106"/>
              <a:gd name="connsiteY138-17288" fmla="*/ 4953779 h 5292022"/>
              <a:gd name="connsiteX139-17289" fmla="*/ 4797343 w 10693106"/>
              <a:gd name="connsiteY139-17290" fmla="*/ 4878426 h 5292022"/>
              <a:gd name="connsiteX140-17291" fmla="*/ 4686853 w 10693106"/>
              <a:gd name="connsiteY140-17292" fmla="*/ 4788256 h 5292022"/>
              <a:gd name="connsiteX141-17293" fmla="*/ 4536146 w 10693106"/>
              <a:gd name="connsiteY141-17294" fmla="*/ 4712902 h 5292022"/>
              <a:gd name="connsiteX142-17295" fmla="*/ 4365120 w 10693106"/>
              <a:gd name="connsiteY142-17296" fmla="*/ 4616382 h 5292022"/>
              <a:gd name="connsiteX143-17297" fmla="*/ 4187743 w 10693106"/>
              <a:gd name="connsiteY143-17298" fmla="*/ 4521556 h 5292022"/>
              <a:gd name="connsiteX144-17299" fmla="*/ 4125936 w 10693106"/>
              <a:gd name="connsiteY144-17300" fmla="*/ 4386724 h 5292022"/>
              <a:gd name="connsiteX145-17301" fmla="*/ 3995973 w 10693106"/>
              <a:gd name="connsiteY145-17302" fmla="*/ 4232419 h 5292022"/>
              <a:gd name="connsiteX146-17303" fmla="*/ 3962530 w 10693106"/>
              <a:gd name="connsiteY146-17304" fmla="*/ 4135052 h 5292022"/>
              <a:gd name="connsiteX147-17305" fmla="*/ 3895643 w 10693106"/>
              <a:gd name="connsiteY147-17306" fmla="*/ 4059699 h 5292022"/>
              <a:gd name="connsiteX148-17307" fmla="*/ 3919773 w 10693106"/>
              <a:gd name="connsiteY148-17308" fmla="*/ 3920422 h 5292022"/>
              <a:gd name="connsiteX149-17309" fmla="*/ 3877440 w 10693106"/>
              <a:gd name="connsiteY149-17310" fmla="*/ 3624089 h 5292022"/>
              <a:gd name="connsiteX150-17311" fmla="*/ 3852040 w 10693106"/>
              <a:gd name="connsiteY150-17312" fmla="*/ 3530956 h 5292022"/>
              <a:gd name="connsiteX151-17313" fmla="*/ 3801240 w 10693106"/>
              <a:gd name="connsiteY151-17314" fmla="*/ 3420889 h 5292022"/>
              <a:gd name="connsiteX152-17315" fmla="*/ 3733506 w 10693106"/>
              <a:gd name="connsiteY152-17316" fmla="*/ 3319289 h 5292022"/>
              <a:gd name="connsiteX153-17317" fmla="*/ 3242440 w 10693106"/>
              <a:gd name="connsiteY153-17318" fmla="*/ 3099156 h 5292022"/>
              <a:gd name="connsiteX154-17319" fmla="*/ 3123906 w 10693106"/>
              <a:gd name="connsiteY154-17320" fmla="*/ 2997556 h 5292022"/>
              <a:gd name="connsiteX155-17321" fmla="*/ 2988440 w 10693106"/>
              <a:gd name="connsiteY155-17322" fmla="*/ 2802822 h 5292022"/>
              <a:gd name="connsiteX156-17323" fmla="*/ 2971506 w 10693106"/>
              <a:gd name="connsiteY156-17324" fmla="*/ 2743556 h 5292022"/>
              <a:gd name="connsiteX157-17325" fmla="*/ 2996906 w 10693106"/>
              <a:gd name="connsiteY157-17326" fmla="*/ 2531889 h 5292022"/>
              <a:gd name="connsiteX158-17327" fmla="*/ 3013840 w 10693106"/>
              <a:gd name="connsiteY158-17328" fmla="*/ 2430289 h 5292022"/>
              <a:gd name="connsiteX159-17329" fmla="*/ 3005373 w 10693106"/>
              <a:gd name="connsiteY159-17330" fmla="*/ 2311756 h 5292022"/>
              <a:gd name="connsiteX160-17331" fmla="*/ 2988440 w 10693106"/>
              <a:gd name="connsiteY160-17332" fmla="*/ 2260956 h 5292022"/>
              <a:gd name="connsiteX161-17333" fmla="*/ 2802173 w 10693106"/>
              <a:gd name="connsiteY161-17334" fmla="*/ 2006956 h 5292022"/>
              <a:gd name="connsiteX162-17335" fmla="*/ 2641306 w 10693106"/>
              <a:gd name="connsiteY162-17336" fmla="*/ 1863022 h 5292022"/>
              <a:gd name="connsiteX163-17337" fmla="*/ 2590506 w 10693106"/>
              <a:gd name="connsiteY163-17338" fmla="*/ 1837622 h 5292022"/>
              <a:gd name="connsiteX164-17339" fmla="*/ 2531240 w 10693106"/>
              <a:gd name="connsiteY164-17340" fmla="*/ 1829156 h 5292022"/>
              <a:gd name="connsiteX165-17341" fmla="*/ 2446573 w 10693106"/>
              <a:gd name="connsiteY165-17342" fmla="*/ 1812222 h 5292022"/>
              <a:gd name="connsiteX166-17343" fmla="*/ 2251840 w 10693106"/>
              <a:gd name="connsiteY166-17344" fmla="*/ 1837622 h 5292022"/>
              <a:gd name="connsiteX167-17345" fmla="*/ 2167173 w 10693106"/>
              <a:gd name="connsiteY167-17346" fmla="*/ 1879956 h 5292022"/>
              <a:gd name="connsiteX168-17347" fmla="*/ 1980906 w 10693106"/>
              <a:gd name="connsiteY168-17348" fmla="*/ 1939222 h 5292022"/>
              <a:gd name="connsiteX169-17349" fmla="*/ 1904706 w 10693106"/>
              <a:gd name="connsiteY169-17350" fmla="*/ 1973089 h 5292022"/>
              <a:gd name="connsiteX170-17351" fmla="*/ 1828506 w 10693106"/>
              <a:gd name="connsiteY170-17352" fmla="*/ 1990022 h 5292022"/>
              <a:gd name="connsiteX171-17353" fmla="*/ 1726906 w 10693106"/>
              <a:gd name="connsiteY171-17354" fmla="*/ 2040822 h 5292022"/>
              <a:gd name="connsiteX172-17355" fmla="*/ 1659173 w 10693106"/>
              <a:gd name="connsiteY172-17356" fmla="*/ 2074689 h 5292022"/>
              <a:gd name="connsiteX173-17357" fmla="*/ 1498306 w 10693106"/>
              <a:gd name="connsiteY173-17358" fmla="*/ 2100089 h 5292022"/>
              <a:gd name="connsiteX174-17359" fmla="*/ 914106 w 10693106"/>
              <a:gd name="connsiteY174-17360" fmla="*/ 2032356 h 5292022"/>
              <a:gd name="connsiteX175-17361" fmla="*/ 617773 w 10693106"/>
              <a:gd name="connsiteY175-17362" fmla="*/ 1922289 h 5292022"/>
              <a:gd name="connsiteX176-17363" fmla="*/ 516173 w 10693106"/>
              <a:gd name="connsiteY176-17364" fmla="*/ 1837622 h 5292022"/>
              <a:gd name="connsiteX177-17365" fmla="*/ 355306 w 10693106"/>
              <a:gd name="connsiteY177-17366" fmla="*/ 1625956 h 5292022"/>
              <a:gd name="connsiteX178-17367" fmla="*/ 296040 w 10693106"/>
              <a:gd name="connsiteY178-17368" fmla="*/ 1524356 h 5292022"/>
              <a:gd name="connsiteX179-17369" fmla="*/ 253706 w 10693106"/>
              <a:gd name="connsiteY179-17370" fmla="*/ 1346556 h 5292022"/>
              <a:gd name="connsiteX180-17371" fmla="*/ 245240 w 10693106"/>
              <a:gd name="connsiteY180-17372" fmla="*/ 1219556 h 5292022"/>
              <a:gd name="connsiteX181-17373" fmla="*/ 236773 w 10693106"/>
              <a:gd name="connsiteY181-17374" fmla="*/ 1117956 h 5292022"/>
              <a:gd name="connsiteX182-17375" fmla="*/ 245240 w 10693106"/>
              <a:gd name="connsiteY182-17376" fmla="*/ 847022 h 5292022"/>
              <a:gd name="connsiteX183-17377" fmla="*/ 236773 w 10693106"/>
              <a:gd name="connsiteY183-17378" fmla="*/ 703089 h 5292022"/>
              <a:gd name="connsiteX184-17379" fmla="*/ 109773 w 10693106"/>
              <a:gd name="connsiteY184-17380" fmla="*/ 559156 h 5292022"/>
              <a:gd name="connsiteX185-17381" fmla="*/ 58973 w 10693106"/>
              <a:gd name="connsiteY185-17382" fmla="*/ 482956 h 5292022"/>
              <a:gd name="connsiteX186-17383" fmla="*/ 16640 w 10693106"/>
              <a:gd name="connsiteY186-17384" fmla="*/ 432156 h 5292022"/>
              <a:gd name="connsiteX187-17385" fmla="*/ 8173 w 10693106"/>
              <a:gd name="connsiteY187-17386" fmla="*/ 389822 h 5292022"/>
              <a:gd name="connsiteX188-17387" fmla="*/ 16640 w 10693106"/>
              <a:gd name="connsiteY188-17388" fmla="*/ 339022 h 5292022"/>
              <a:gd name="connsiteX0-17389" fmla="*/ 16640 w 10693106"/>
              <a:gd name="connsiteY0-17390" fmla="*/ 339022 h 5292022"/>
              <a:gd name="connsiteX1-17391" fmla="*/ 58973 w 10693106"/>
              <a:gd name="connsiteY1-17392" fmla="*/ 245889 h 5292022"/>
              <a:gd name="connsiteX2-17393" fmla="*/ 109773 w 10693106"/>
              <a:gd name="connsiteY2-17394" fmla="*/ 178156 h 5292022"/>
              <a:gd name="connsiteX3-17395" fmla="*/ 202906 w 10693106"/>
              <a:gd name="connsiteY3-17396" fmla="*/ 93489 h 5292022"/>
              <a:gd name="connsiteX4-17397" fmla="*/ 236773 w 10693106"/>
              <a:gd name="connsiteY4-17398" fmla="*/ 68089 h 5292022"/>
              <a:gd name="connsiteX5-17399" fmla="*/ 335410 w 10693106"/>
              <a:gd name="connsiteY5-17400" fmla="*/ 58352 h 5292022"/>
              <a:gd name="connsiteX6-17401" fmla="*/ 382400 w 10693106"/>
              <a:gd name="connsiteY6-17402" fmla="*/ 51156 h 5292022"/>
              <a:gd name="connsiteX7-17403" fmla="*/ 434912 w 10693106"/>
              <a:gd name="connsiteY7-17404" fmla="*/ 70071 h 5292022"/>
              <a:gd name="connsiteX8-17405" fmla="*/ 492697 w 10693106"/>
              <a:gd name="connsiteY8-17406" fmla="*/ 74247 h 5292022"/>
              <a:gd name="connsiteX9-17407" fmla="*/ 822897 w 10693106"/>
              <a:gd name="connsiteY9-17408" fmla="*/ 82713 h 5292022"/>
              <a:gd name="connsiteX10-17409" fmla="*/ 1091906 w 10693106"/>
              <a:gd name="connsiteY10-17410" fmla="*/ 356 h 5292022"/>
              <a:gd name="connsiteX11-17411" fmla="*/ 1235840 w 10693106"/>
              <a:gd name="connsiteY11-17412" fmla="*/ 59622 h 5292022"/>
              <a:gd name="connsiteX12-17413" fmla="*/ 1337440 w 10693106"/>
              <a:gd name="connsiteY12-17414" fmla="*/ 135822 h 5292022"/>
              <a:gd name="connsiteX13-17415" fmla="*/ 1422106 w 10693106"/>
              <a:gd name="connsiteY13-17416" fmla="*/ 245889 h 5292022"/>
              <a:gd name="connsiteX14-17417" fmla="*/ 1481373 w 10693106"/>
              <a:gd name="connsiteY14-17418" fmla="*/ 313622 h 5292022"/>
              <a:gd name="connsiteX15-17419" fmla="*/ 1532173 w 10693106"/>
              <a:gd name="connsiteY15-17420" fmla="*/ 347489 h 5292022"/>
              <a:gd name="connsiteX16-17421" fmla="*/ 1684573 w 10693106"/>
              <a:gd name="connsiteY16-17422" fmla="*/ 406756 h 5292022"/>
              <a:gd name="connsiteX17-17423" fmla="*/ 1760773 w 10693106"/>
              <a:gd name="connsiteY17-17424" fmla="*/ 423689 h 5292022"/>
              <a:gd name="connsiteX18-17425" fmla="*/ 1997840 w 10693106"/>
              <a:gd name="connsiteY18-17426" fmla="*/ 415222 h 5292022"/>
              <a:gd name="connsiteX19-17427" fmla="*/ 2116373 w 10693106"/>
              <a:gd name="connsiteY19-17428" fmla="*/ 398289 h 5292022"/>
              <a:gd name="connsiteX20-17429" fmla="*/ 2260306 w 10693106"/>
              <a:gd name="connsiteY20-17430" fmla="*/ 381356 h 5292022"/>
              <a:gd name="connsiteX21-17431" fmla="*/ 2404240 w 10693106"/>
              <a:gd name="connsiteY21-17432" fmla="*/ 355956 h 5292022"/>
              <a:gd name="connsiteX22-17433" fmla="*/ 2455040 w 10693106"/>
              <a:gd name="connsiteY22-17434" fmla="*/ 330556 h 5292022"/>
              <a:gd name="connsiteX23-17435" fmla="*/ 2531240 w 10693106"/>
              <a:gd name="connsiteY23-17436" fmla="*/ 305156 h 5292022"/>
              <a:gd name="connsiteX24-17437" fmla="*/ 2649350 w 10693106"/>
              <a:gd name="connsiteY24-17438" fmla="*/ 225781 h 5292022"/>
              <a:gd name="connsiteX25-17439" fmla="*/ 2742906 w 10693106"/>
              <a:gd name="connsiteY25-17440" fmla="*/ 186622 h 5292022"/>
              <a:gd name="connsiteX26-17441" fmla="*/ 2764920 w 10693106"/>
              <a:gd name="connsiteY26-17442" fmla="*/ 173076 h 5292022"/>
              <a:gd name="connsiteX27-17443" fmla="*/ 2832653 w 10693106"/>
              <a:gd name="connsiteY27-17444" fmla="*/ 167996 h 5292022"/>
              <a:gd name="connsiteX28-17445" fmla="*/ 3002294 w 10693106"/>
              <a:gd name="connsiteY28-17446" fmla="*/ 154680 h 5292022"/>
              <a:gd name="connsiteX29-17447" fmla="*/ 3142763 w 10693106"/>
              <a:gd name="connsiteY29-17448" fmla="*/ 110421 h 5292022"/>
              <a:gd name="connsiteX30-17449" fmla="*/ 3398918 w 10693106"/>
              <a:gd name="connsiteY30-17450" fmla="*/ 72322 h 5292022"/>
              <a:gd name="connsiteX31-17451" fmla="*/ 3606506 w 10693106"/>
              <a:gd name="connsiteY31-17452" fmla="*/ 60393 h 5292022"/>
              <a:gd name="connsiteX32-17453" fmla="*/ 3682706 w 10693106"/>
              <a:gd name="connsiteY32-17454" fmla="*/ 79942 h 5292022"/>
              <a:gd name="connsiteX33-17455" fmla="*/ 3741973 w 10693106"/>
              <a:gd name="connsiteY33-17456" fmla="*/ 86561 h 5292022"/>
              <a:gd name="connsiteX34-17457" fmla="*/ 3794678 w 10693106"/>
              <a:gd name="connsiteY34-17458" fmla="*/ 101321 h 5292022"/>
              <a:gd name="connsiteX35-17459" fmla="*/ 3833625 w 10693106"/>
              <a:gd name="connsiteY35-17460" fmla="*/ 110846 h 5292022"/>
              <a:gd name="connsiteX36-17461" fmla="*/ 3892487 w 10693106"/>
              <a:gd name="connsiteY36-17462" fmla="*/ 116984 h 5292022"/>
              <a:gd name="connsiteX37-17463" fmla="*/ 3933108 w 10693106"/>
              <a:gd name="connsiteY37-17464" fmla="*/ 128837 h 5292022"/>
              <a:gd name="connsiteX38-17465" fmla="*/ 3976923 w 10693106"/>
              <a:gd name="connsiteY38-17466" fmla="*/ 135187 h 5292022"/>
              <a:gd name="connsiteX39-17467" fmla="*/ 4021373 w 10693106"/>
              <a:gd name="connsiteY39-17468" fmla="*/ 144289 h 5292022"/>
              <a:gd name="connsiteX40-17469" fmla="*/ 4055240 w 10693106"/>
              <a:gd name="connsiteY40-17470" fmla="*/ 152756 h 5292022"/>
              <a:gd name="connsiteX41-17471" fmla="*/ 4275373 w 10693106"/>
              <a:gd name="connsiteY41-17472" fmla="*/ 195089 h 5292022"/>
              <a:gd name="connsiteX42-17473" fmla="*/ 4402373 w 10693106"/>
              <a:gd name="connsiteY42-17474" fmla="*/ 228956 h 5292022"/>
              <a:gd name="connsiteX43-17475" fmla="*/ 4529373 w 10693106"/>
              <a:gd name="connsiteY43-17476" fmla="*/ 271289 h 5292022"/>
              <a:gd name="connsiteX44-17477" fmla="*/ 4859573 w 10693106"/>
              <a:gd name="connsiteY44-17478" fmla="*/ 347489 h 5292022"/>
              <a:gd name="connsiteX45-17479" fmla="*/ 5045840 w 10693106"/>
              <a:gd name="connsiteY45-17480" fmla="*/ 423689 h 5292022"/>
              <a:gd name="connsiteX46-17481" fmla="*/ 5325240 w 10693106"/>
              <a:gd name="connsiteY46-17482" fmla="*/ 584556 h 5292022"/>
              <a:gd name="connsiteX47-17483" fmla="*/ 5494573 w 10693106"/>
              <a:gd name="connsiteY47-17484" fmla="*/ 736956 h 5292022"/>
              <a:gd name="connsiteX48-17485" fmla="*/ 5562306 w 10693106"/>
              <a:gd name="connsiteY48-17486" fmla="*/ 813156 h 5292022"/>
              <a:gd name="connsiteX49-17487" fmla="*/ 5621573 w 10693106"/>
              <a:gd name="connsiteY49-17488" fmla="*/ 863956 h 5292022"/>
              <a:gd name="connsiteX50-17489" fmla="*/ 5672373 w 10693106"/>
              <a:gd name="connsiteY50-17490" fmla="*/ 931689 h 5292022"/>
              <a:gd name="connsiteX51-17491" fmla="*/ 5757040 w 10693106"/>
              <a:gd name="connsiteY51-17492" fmla="*/ 1033289 h 5292022"/>
              <a:gd name="connsiteX52-17493" fmla="*/ 5833240 w 10693106"/>
              <a:gd name="connsiteY52-17494" fmla="*/ 1126422 h 5292022"/>
              <a:gd name="connsiteX53-17495" fmla="*/ 6087240 w 10693106"/>
              <a:gd name="connsiteY53-17496" fmla="*/ 1380422 h 5292022"/>
              <a:gd name="connsiteX54-17497" fmla="*/ 6171906 w 10693106"/>
              <a:gd name="connsiteY54-17498" fmla="*/ 1482022 h 5292022"/>
              <a:gd name="connsiteX55-17499" fmla="*/ 6451306 w 10693106"/>
              <a:gd name="connsiteY55-17500" fmla="*/ 1693689 h 5292022"/>
              <a:gd name="connsiteX56-17501" fmla="*/ 6519040 w 10693106"/>
              <a:gd name="connsiteY56-17502" fmla="*/ 1702156 h 5292022"/>
              <a:gd name="connsiteX57-17503" fmla="*/ 6603706 w 10693106"/>
              <a:gd name="connsiteY57-17504" fmla="*/ 1736022 h 5292022"/>
              <a:gd name="connsiteX58-17505" fmla="*/ 6671440 w 10693106"/>
              <a:gd name="connsiteY58-17506" fmla="*/ 1769889 h 5292022"/>
              <a:gd name="connsiteX59-17507" fmla="*/ 6866173 w 10693106"/>
              <a:gd name="connsiteY59-17508" fmla="*/ 1795289 h 5292022"/>
              <a:gd name="connsiteX60-17509" fmla="*/ 7196373 w 10693106"/>
              <a:gd name="connsiteY60-17510" fmla="*/ 1778356 h 5292022"/>
              <a:gd name="connsiteX61-17511" fmla="*/ 7509640 w 10693106"/>
              <a:gd name="connsiteY61-17512" fmla="*/ 1702156 h 5292022"/>
              <a:gd name="connsiteX62-17513" fmla="*/ 7628173 w 10693106"/>
              <a:gd name="connsiteY62-17514" fmla="*/ 1676756 h 5292022"/>
              <a:gd name="connsiteX63-17515" fmla="*/ 7704373 w 10693106"/>
              <a:gd name="connsiteY63-17516" fmla="*/ 1634422 h 5292022"/>
              <a:gd name="connsiteX64-17517" fmla="*/ 7755173 w 10693106"/>
              <a:gd name="connsiteY64-17518" fmla="*/ 1625956 h 5292022"/>
              <a:gd name="connsiteX65-17519" fmla="*/ 7797506 w 10693106"/>
              <a:gd name="connsiteY65-17520" fmla="*/ 1592089 h 5292022"/>
              <a:gd name="connsiteX66-17521" fmla="*/ 7856773 w 10693106"/>
              <a:gd name="connsiteY66-17522" fmla="*/ 1575156 h 5292022"/>
              <a:gd name="connsiteX67-17523" fmla="*/ 7958373 w 10693106"/>
              <a:gd name="connsiteY67-17524" fmla="*/ 1507422 h 5292022"/>
              <a:gd name="connsiteX68-17525" fmla="*/ 8009173 w 10693106"/>
              <a:gd name="connsiteY68-17526" fmla="*/ 1456622 h 5292022"/>
              <a:gd name="connsiteX69-17527" fmla="*/ 8339373 w 10693106"/>
              <a:gd name="connsiteY69-17528" fmla="*/ 1211089 h 5292022"/>
              <a:gd name="connsiteX70-17529" fmla="*/ 8576440 w 10693106"/>
              <a:gd name="connsiteY70-17530" fmla="*/ 957089 h 5292022"/>
              <a:gd name="connsiteX71-17531" fmla="*/ 8652640 w 10693106"/>
              <a:gd name="connsiteY71-17532" fmla="*/ 677689 h 5292022"/>
              <a:gd name="connsiteX72-17533" fmla="*/ 8847373 w 10693106"/>
              <a:gd name="connsiteY72-17534" fmla="*/ 491422 h 5292022"/>
              <a:gd name="connsiteX73-17535" fmla="*/ 8982840 w 10693106"/>
              <a:gd name="connsiteY73-17536" fmla="*/ 398289 h 5292022"/>
              <a:gd name="connsiteX74-17537" fmla="*/ 9084440 w 10693106"/>
              <a:gd name="connsiteY74-17538" fmla="*/ 364422 h 5292022"/>
              <a:gd name="connsiteX75-17539" fmla="*/ 9152173 w 10693106"/>
              <a:gd name="connsiteY75-17540" fmla="*/ 339022 h 5292022"/>
              <a:gd name="connsiteX76-17541" fmla="*/ 9380773 w 10693106"/>
              <a:gd name="connsiteY76-17542" fmla="*/ 355956 h 5292022"/>
              <a:gd name="connsiteX77-17543" fmla="*/ 9744840 w 10693106"/>
              <a:gd name="connsiteY77-17544" fmla="*/ 466022 h 5292022"/>
              <a:gd name="connsiteX78-17545" fmla="*/ 9888773 w 10693106"/>
              <a:gd name="connsiteY78-17546" fmla="*/ 508356 h 5292022"/>
              <a:gd name="connsiteX79-17547" fmla="*/ 9998840 w 10693106"/>
              <a:gd name="connsiteY79-17548" fmla="*/ 559156 h 5292022"/>
              <a:gd name="connsiteX80-17549" fmla="*/ 10083506 w 10693106"/>
              <a:gd name="connsiteY80-17550" fmla="*/ 618422 h 5292022"/>
              <a:gd name="connsiteX81-17551" fmla="*/ 10286706 w 10693106"/>
              <a:gd name="connsiteY81-17552" fmla="*/ 686156 h 5292022"/>
              <a:gd name="connsiteX82-17553" fmla="*/ 10388306 w 10693106"/>
              <a:gd name="connsiteY82-17554" fmla="*/ 889356 h 5292022"/>
              <a:gd name="connsiteX83-17555" fmla="*/ 10540706 w 10693106"/>
              <a:gd name="connsiteY83-17556" fmla="*/ 1261889 h 5292022"/>
              <a:gd name="connsiteX84-17557" fmla="*/ 10557640 w 10693106"/>
              <a:gd name="connsiteY84-17558" fmla="*/ 1346556 h 5292022"/>
              <a:gd name="connsiteX85-17559" fmla="*/ 10583040 w 10693106"/>
              <a:gd name="connsiteY85-17560" fmla="*/ 1448156 h 5292022"/>
              <a:gd name="connsiteX86-17561" fmla="*/ 10616906 w 10693106"/>
              <a:gd name="connsiteY86-17562" fmla="*/ 1651356 h 5292022"/>
              <a:gd name="connsiteX87-17563" fmla="*/ 10633840 w 10693106"/>
              <a:gd name="connsiteY87-17564" fmla="*/ 1736022 h 5292022"/>
              <a:gd name="connsiteX88-17565" fmla="*/ 10650773 w 10693106"/>
              <a:gd name="connsiteY88-17566" fmla="*/ 1769889 h 5292022"/>
              <a:gd name="connsiteX89-17567" fmla="*/ 10676173 w 10693106"/>
              <a:gd name="connsiteY89-17568" fmla="*/ 1854556 h 5292022"/>
              <a:gd name="connsiteX90-17569" fmla="*/ 10693106 w 10693106"/>
              <a:gd name="connsiteY90-17570" fmla="*/ 2006956 h 5292022"/>
              <a:gd name="connsiteX91-17571" fmla="*/ 10625373 w 10693106"/>
              <a:gd name="connsiteY91-17572" fmla="*/ 2227089 h 5292022"/>
              <a:gd name="connsiteX92-17573" fmla="*/ 10608440 w 10693106"/>
              <a:gd name="connsiteY92-17574" fmla="*/ 2252489 h 5292022"/>
              <a:gd name="connsiteX93-17575" fmla="*/ 10540706 w 10693106"/>
              <a:gd name="connsiteY93-17576" fmla="*/ 2396422 h 5292022"/>
              <a:gd name="connsiteX94-17577" fmla="*/ 10498373 w 10693106"/>
              <a:gd name="connsiteY94-17578" fmla="*/ 2481089 h 5292022"/>
              <a:gd name="connsiteX95-17579" fmla="*/ 10439106 w 10693106"/>
              <a:gd name="connsiteY95-17580" fmla="*/ 2667356 h 5292022"/>
              <a:gd name="connsiteX96-17581" fmla="*/ 10430640 w 10693106"/>
              <a:gd name="connsiteY96-17582" fmla="*/ 2709689 h 5292022"/>
              <a:gd name="connsiteX97-17583" fmla="*/ 10405240 w 10693106"/>
              <a:gd name="connsiteY97-17584" fmla="*/ 2785889 h 5292022"/>
              <a:gd name="connsiteX98-17585" fmla="*/ 10396773 w 10693106"/>
              <a:gd name="connsiteY98-17586" fmla="*/ 2819756 h 5292022"/>
              <a:gd name="connsiteX99-17587" fmla="*/ 10362906 w 10693106"/>
              <a:gd name="connsiteY99-17588" fmla="*/ 2912889 h 5292022"/>
              <a:gd name="connsiteX100-17589" fmla="*/ 10329040 w 10693106"/>
              <a:gd name="connsiteY100-17590" fmla="*/ 2955222 h 5292022"/>
              <a:gd name="connsiteX101-17591" fmla="*/ 10227440 w 10693106"/>
              <a:gd name="connsiteY101-17592" fmla="*/ 3056822 h 5292022"/>
              <a:gd name="connsiteX102-17593" fmla="*/ 10168173 w 10693106"/>
              <a:gd name="connsiteY102-17594" fmla="*/ 3124556 h 5292022"/>
              <a:gd name="connsiteX103-17595" fmla="*/ 10117373 w 10693106"/>
              <a:gd name="connsiteY103-17596" fmla="*/ 3175356 h 5292022"/>
              <a:gd name="connsiteX104-17597" fmla="*/ 10032706 w 10693106"/>
              <a:gd name="connsiteY104-17598" fmla="*/ 3276956 h 5292022"/>
              <a:gd name="connsiteX105-17599" fmla="*/ 9948040 w 10693106"/>
              <a:gd name="connsiteY105-17600" fmla="*/ 3336222 h 5292022"/>
              <a:gd name="connsiteX106-17601" fmla="*/ 9905706 w 10693106"/>
              <a:gd name="connsiteY106-17602" fmla="*/ 3361622 h 5292022"/>
              <a:gd name="connsiteX107-17603" fmla="*/ 9829506 w 10693106"/>
              <a:gd name="connsiteY107-17604" fmla="*/ 3378556 h 5292022"/>
              <a:gd name="connsiteX108-17605" fmla="*/ 9727906 w 10693106"/>
              <a:gd name="connsiteY108-17606" fmla="*/ 3420889 h 5292022"/>
              <a:gd name="connsiteX109-17607" fmla="*/ 9634773 w 10693106"/>
              <a:gd name="connsiteY109-17608" fmla="*/ 3446289 h 5292022"/>
              <a:gd name="connsiteX110-17609" fmla="*/ 9456973 w 10693106"/>
              <a:gd name="connsiteY110-17610" fmla="*/ 3539422 h 5292022"/>
              <a:gd name="connsiteX111-17611" fmla="*/ 9313040 w 10693106"/>
              <a:gd name="connsiteY111-17612" fmla="*/ 3666422 h 5292022"/>
              <a:gd name="connsiteX112-17613" fmla="*/ 9279173 w 10693106"/>
              <a:gd name="connsiteY112-17614" fmla="*/ 3683356 h 5292022"/>
              <a:gd name="connsiteX113-17615" fmla="*/ 9067506 w 10693106"/>
              <a:gd name="connsiteY113-17616" fmla="*/ 3861156 h 5292022"/>
              <a:gd name="connsiteX114-17617" fmla="*/ 8999773 w 10693106"/>
              <a:gd name="connsiteY114-17618" fmla="*/ 3928889 h 5292022"/>
              <a:gd name="connsiteX115-17619" fmla="*/ 8813506 w 10693106"/>
              <a:gd name="connsiteY115-17620" fmla="*/ 4064356 h 5292022"/>
              <a:gd name="connsiteX116-17621" fmla="*/ 8728840 w 10693106"/>
              <a:gd name="connsiteY116-17622" fmla="*/ 4106689 h 5292022"/>
              <a:gd name="connsiteX117-17623" fmla="*/ 8373240 w 10693106"/>
              <a:gd name="connsiteY117-17624" fmla="*/ 4140556 h 5292022"/>
              <a:gd name="connsiteX118-17625" fmla="*/ 7966840 w 10693106"/>
              <a:gd name="connsiteY118-17626" fmla="*/ 4233689 h 5292022"/>
              <a:gd name="connsiteX119-17627" fmla="*/ 7687440 w 10693106"/>
              <a:gd name="connsiteY119-17628" fmla="*/ 4394556 h 5292022"/>
              <a:gd name="connsiteX120-17629" fmla="*/ 7551973 w 10693106"/>
              <a:gd name="connsiteY120-17630" fmla="*/ 4479222 h 5292022"/>
              <a:gd name="connsiteX121-17631" fmla="*/ 7374173 w 10693106"/>
              <a:gd name="connsiteY121-17632" fmla="*/ 4657022 h 5292022"/>
              <a:gd name="connsiteX122-17633" fmla="*/ 7374173 w 10693106"/>
              <a:gd name="connsiteY122-17634" fmla="*/ 4657022 h 5292022"/>
              <a:gd name="connsiteX123-17635" fmla="*/ 7221773 w 10693106"/>
              <a:gd name="connsiteY123-17636" fmla="*/ 4775556 h 5292022"/>
              <a:gd name="connsiteX124-17637" fmla="*/ 7027040 w 10693106"/>
              <a:gd name="connsiteY124-17638" fmla="*/ 4902556 h 5292022"/>
              <a:gd name="connsiteX125-17639" fmla="*/ 6883106 w 10693106"/>
              <a:gd name="connsiteY125-17640" fmla="*/ 4970289 h 5292022"/>
              <a:gd name="connsiteX126-17641" fmla="*/ 6815373 w 10693106"/>
              <a:gd name="connsiteY126-17642" fmla="*/ 5012622 h 5292022"/>
              <a:gd name="connsiteX127-17643" fmla="*/ 6646040 w 10693106"/>
              <a:gd name="connsiteY127-17644" fmla="*/ 5105756 h 5292022"/>
              <a:gd name="connsiteX128-17645" fmla="*/ 6527506 w 10693106"/>
              <a:gd name="connsiteY128-17646" fmla="*/ 5165022 h 5292022"/>
              <a:gd name="connsiteX129-17647" fmla="*/ 6298906 w 10693106"/>
              <a:gd name="connsiteY129-17648" fmla="*/ 5241222 h 5292022"/>
              <a:gd name="connsiteX130-17649" fmla="*/ 6197306 w 10693106"/>
              <a:gd name="connsiteY130-17650" fmla="*/ 5266622 h 5292022"/>
              <a:gd name="connsiteX131-17651" fmla="*/ 6061840 w 10693106"/>
              <a:gd name="connsiteY131-17652" fmla="*/ 5275089 h 5292022"/>
              <a:gd name="connsiteX132-17653" fmla="*/ 5917906 w 10693106"/>
              <a:gd name="connsiteY132-17654" fmla="*/ 5292022 h 5292022"/>
              <a:gd name="connsiteX133-17655" fmla="*/ 5748573 w 10693106"/>
              <a:gd name="connsiteY133-17656" fmla="*/ 5283556 h 5292022"/>
              <a:gd name="connsiteX134-17657" fmla="*/ 5282906 w 10693106"/>
              <a:gd name="connsiteY134-17658" fmla="*/ 5173489 h 5292022"/>
              <a:gd name="connsiteX135-17659" fmla="*/ 5138973 w 10693106"/>
              <a:gd name="connsiteY135-17660" fmla="*/ 5071889 h 5292022"/>
              <a:gd name="connsiteX136-17661" fmla="*/ 4959480 w 10693106"/>
              <a:gd name="connsiteY136-17662" fmla="*/ 4988069 h 5292022"/>
              <a:gd name="connsiteX137-17663" fmla="*/ 4842216 w 10693106"/>
              <a:gd name="connsiteY137-17664" fmla="*/ 4953779 h 5292022"/>
              <a:gd name="connsiteX138-17665" fmla="*/ 4797343 w 10693106"/>
              <a:gd name="connsiteY138-17666" fmla="*/ 4878426 h 5292022"/>
              <a:gd name="connsiteX139-17667" fmla="*/ 4686853 w 10693106"/>
              <a:gd name="connsiteY139-17668" fmla="*/ 4788256 h 5292022"/>
              <a:gd name="connsiteX140-17669" fmla="*/ 4536146 w 10693106"/>
              <a:gd name="connsiteY140-17670" fmla="*/ 4712902 h 5292022"/>
              <a:gd name="connsiteX141-17671" fmla="*/ 4365120 w 10693106"/>
              <a:gd name="connsiteY141-17672" fmla="*/ 4616382 h 5292022"/>
              <a:gd name="connsiteX142-17673" fmla="*/ 4187743 w 10693106"/>
              <a:gd name="connsiteY142-17674" fmla="*/ 4521556 h 5292022"/>
              <a:gd name="connsiteX143-17675" fmla="*/ 4125936 w 10693106"/>
              <a:gd name="connsiteY143-17676" fmla="*/ 4386724 h 5292022"/>
              <a:gd name="connsiteX144-17677" fmla="*/ 3995973 w 10693106"/>
              <a:gd name="connsiteY144-17678" fmla="*/ 4232419 h 5292022"/>
              <a:gd name="connsiteX145-17679" fmla="*/ 3962530 w 10693106"/>
              <a:gd name="connsiteY145-17680" fmla="*/ 4135052 h 5292022"/>
              <a:gd name="connsiteX146-17681" fmla="*/ 3895643 w 10693106"/>
              <a:gd name="connsiteY146-17682" fmla="*/ 4059699 h 5292022"/>
              <a:gd name="connsiteX147-17683" fmla="*/ 3919773 w 10693106"/>
              <a:gd name="connsiteY147-17684" fmla="*/ 3920422 h 5292022"/>
              <a:gd name="connsiteX148-17685" fmla="*/ 3877440 w 10693106"/>
              <a:gd name="connsiteY148-17686" fmla="*/ 3624089 h 5292022"/>
              <a:gd name="connsiteX149-17687" fmla="*/ 3852040 w 10693106"/>
              <a:gd name="connsiteY149-17688" fmla="*/ 3530956 h 5292022"/>
              <a:gd name="connsiteX150-17689" fmla="*/ 3801240 w 10693106"/>
              <a:gd name="connsiteY150-17690" fmla="*/ 3420889 h 5292022"/>
              <a:gd name="connsiteX151-17691" fmla="*/ 3733506 w 10693106"/>
              <a:gd name="connsiteY151-17692" fmla="*/ 3319289 h 5292022"/>
              <a:gd name="connsiteX152-17693" fmla="*/ 3242440 w 10693106"/>
              <a:gd name="connsiteY152-17694" fmla="*/ 3099156 h 5292022"/>
              <a:gd name="connsiteX153-17695" fmla="*/ 3123906 w 10693106"/>
              <a:gd name="connsiteY153-17696" fmla="*/ 2997556 h 5292022"/>
              <a:gd name="connsiteX154-17697" fmla="*/ 2988440 w 10693106"/>
              <a:gd name="connsiteY154-17698" fmla="*/ 2802822 h 5292022"/>
              <a:gd name="connsiteX155-17699" fmla="*/ 2971506 w 10693106"/>
              <a:gd name="connsiteY155-17700" fmla="*/ 2743556 h 5292022"/>
              <a:gd name="connsiteX156-17701" fmla="*/ 2996906 w 10693106"/>
              <a:gd name="connsiteY156-17702" fmla="*/ 2531889 h 5292022"/>
              <a:gd name="connsiteX157-17703" fmla="*/ 3013840 w 10693106"/>
              <a:gd name="connsiteY157-17704" fmla="*/ 2430289 h 5292022"/>
              <a:gd name="connsiteX158-17705" fmla="*/ 3005373 w 10693106"/>
              <a:gd name="connsiteY158-17706" fmla="*/ 2311756 h 5292022"/>
              <a:gd name="connsiteX159-17707" fmla="*/ 2988440 w 10693106"/>
              <a:gd name="connsiteY159-17708" fmla="*/ 2260956 h 5292022"/>
              <a:gd name="connsiteX160-17709" fmla="*/ 2802173 w 10693106"/>
              <a:gd name="connsiteY160-17710" fmla="*/ 2006956 h 5292022"/>
              <a:gd name="connsiteX161-17711" fmla="*/ 2641306 w 10693106"/>
              <a:gd name="connsiteY161-17712" fmla="*/ 1863022 h 5292022"/>
              <a:gd name="connsiteX162-17713" fmla="*/ 2590506 w 10693106"/>
              <a:gd name="connsiteY162-17714" fmla="*/ 1837622 h 5292022"/>
              <a:gd name="connsiteX163-17715" fmla="*/ 2531240 w 10693106"/>
              <a:gd name="connsiteY163-17716" fmla="*/ 1829156 h 5292022"/>
              <a:gd name="connsiteX164-17717" fmla="*/ 2446573 w 10693106"/>
              <a:gd name="connsiteY164-17718" fmla="*/ 1812222 h 5292022"/>
              <a:gd name="connsiteX165-17719" fmla="*/ 2251840 w 10693106"/>
              <a:gd name="connsiteY165-17720" fmla="*/ 1837622 h 5292022"/>
              <a:gd name="connsiteX166-17721" fmla="*/ 2167173 w 10693106"/>
              <a:gd name="connsiteY166-17722" fmla="*/ 1879956 h 5292022"/>
              <a:gd name="connsiteX167-17723" fmla="*/ 1980906 w 10693106"/>
              <a:gd name="connsiteY167-17724" fmla="*/ 1939222 h 5292022"/>
              <a:gd name="connsiteX168-17725" fmla="*/ 1904706 w 10693106"/>
              <a:gd name="connsiteY168-17726" fmla="*/ 1973089 h 5292022"/>
              <a:gd name="connsiteX169-17727" fmla="*/ 1828506 w 10693106"/>
              <a:gd name="connsiteY169-17728" fmla="*/ 1990022 h 5292022"/>
              <a:gd name="connsiteX170-17729" fmla="*/ 1726906 w 10693106"/>
              <a:gd name="connsiteY170-17730" fmla="*/ 2040822 h 5292022"/>
              <a:gd name="connsiteX171-17731" fmla="*/ 1659173 w 10693106"/>
              <a:gd name="connsiteY171-17732" fmla="*/ 2074689 h 5292022"/>
              <a:gd name="connsiteX172-17733" fmla="*/ 1498306 w 10693106"/>
              <a:gd name="connsiteY172-17734" fmla="*/ 2100089 h 5292022"/>
              <a:gd name="connsiteX173-17735" fmla="*/ 914106 w 10693106"/>
              <a:gd name="connsiteY173-17736" fmla="*/ 2032356 h 5292022"/>
              <a:gd name="connsiteX174-17737" fmla="*/ 617773 w 10693106"/>
              <a:gd name="connsiteY174-17738" fmla="*/ 1922289 h 5292022"/>
              <a:gd name="connsiteX175-17739" fmla="*/ 516173 w 10693106"/>
              <a:gd name="connsiteY175-17740" fmla="*/ 1837622 h 5292022"/>
              <a:gd name="connsiteX176-17741" fmla="*/ 355306 w 10693106"/>
              <a:gd name="connsiteY176-17742" fmla="*/ 1625956 h 5292022"/>
              <a:gd name="connsiteX177-17743" fmla="*/ 296040 w 10693106"/>
              <a:gd name="connsiteY177-17744" fmla="*/ 1524356 h 5292022"/>
              <a:gd name="connsiteX178-17745" fmla="*/ 253706 w 10693106"/>
              <a:gd name="connsiteY178-17746" fmla="*/ 1346556 h 5292022"/>
              <a:gd name="connsiteX179-17747" fmla="*/ 245240 w 10693106"/>
              <a:gd name="connsiteY179-17748" fmla="*/ 1219556 h 5292022"/>
              <a:gd name="connsiteX180-17749" fmla="*/ 236773 w 10693106"/>
              <a:gd name="connsiteY180-17750" fmla="*/ 1117956 h 5292022"/>
              <a:gd name="connsiteX181-17751" fmla="*/ 245240 w 10693106"/>
              <a:gd name="connsiteY181-17752" fmla="*/ 847022 h 5292022"/>
              <a:gd name="connsiteX182-17753" fmla="*/ 236773 w 10693106"/>
              <a:gd name="connsiteY182-17754" fmla="*/ 703089 h 5292022"/>
              <a:gd name="connsiteX183-17755" fmla="*/ 109773 w 10693106"/>
              <a:gd name="connsiteY183-17756" fmla="*/ 559156 h 5292022"/>
              <a:gd name="connsiteX184-17757" fmla="*/ 58973 w 10693106"/>
              <a:gd name="connsiteY184-17758" fmla="*/ 482956 h 5292022"/>
              <a:gd name="connsiteX185-17759" fmla="*/ 16640 w 10693106"/>
              <a:gd name="connsiteY185-17760" fmla="*/ 432156 h 5292022"/>
              <a:gd name="connsiteX186-17761" fmla="*/ 8173 w 10693106"/>
              <a:gd name="connsiteY186-17762" fmla="*/ 389822 h 5292022"/>
              <a:gd name="connsiteX187-17763" fmla="*/ 16640 w 10693106"/>
              <a:gd name="connsiteY187-17764" fmla="*/ 339022 h 5292022"/>
              <a:gd name="connsiteX0-17765" fmla="*/ 16640 w 10693106"/>
              <a:gd name="connsiteY0-17766" fmla="*/ 339022 h 5292022"/>
              <a:gd name="connsiteX1-17767" fmla="*/ 58973 w 10693106"/>
              <a:gd name="connsiteY1-17768" fmla="*/ 245889 h 5292022"/>
              <a:gd name="connsiteX2-17769" fmla="*/ 109773 w 10693106"/>
              <a:gd name="connsiteY2-17770" fmla="*/ 178156 h 5292022"/>
              <a:gd name="connsiteX3-17771" fmla="*/ 202906 w 10693106"/>
              <a:gd name="connsiteY3-17772" fmla="*/ 93489 h 5292022"/>
              <a:gd name="connsiteX4-17773" fmla="*/ 236773 w 10693106"/>
              <a:gd name="connsiteY4-17774" fmla="*/ 68089 h 5292022"/>
              <a:gd name="connsiteX5-17775" fmla="*/ 335410 w 10693106"/>
              <a:gd name="connsiteY5-17776" fmla="*/ 58352 h 5292022"/>
              <a:gd name="connsiteX6-17777" fmla="*/ 382400 w 10693106"/>
              <a:gd name="connsiteY6-17778" fmla="*/ 51156 h 5292022"/>
              <a:gd name="connsiteX7-17779" fmla="*/ 434912 w 10693106"/>
              <a:gd name="connsiteY7-17780" fmla="*/ 70071 h 5292022"/>
              <a:gd name="connsiteX8-17781" fmla="*/ 492697 w 10693106"/>
              <a:gd name="connsiteY8-17782" fmla="*/ 74247 h 5292022"/>
              <a:gd name="connsiteX9-17783" fmla="*/ 822897 w 10693106"/>
              <a:gd name="connsiteY9-17784" fmla="*/ 82713 h 5292022"/>
              <a:gd name="connsiteX10-17785" fmla="*/ 1091906 w 10693106"/>
              <a:gd name="connsiteY10-17786" fmla="*/ 356 h 5292022"/>
              <a:gd name="connsiteX11-17787" fmla="*/ 1235840 w 10693106"/>
              <a:gd name="connsiteY11-17788" fmla="*/ 59622 h 5292022"/>
              <a:gd name="connsiteX12-17789" fmla="*/ 1337440 w 10693106"/>
              <a:gd name="connsiteY12-17790" fmla="*/ 135822 h 5292022"/>
              <a:gd name="connsiteX13-17791" fmla="*/ 1422106 w 10693106"/>
              <a:gd name="connsiteY13-17792" fmla="*/ 245889 h 5292022"/>
              <a:gd name="connsiteX14-17793" fmla="*/ 1481373 w 10693106"/>
              <a:gd name="connsiteY14-17794" fmla="*/ 313622 h 5292022"/>
              <a:gd name="connsiteX15-17795" fmla="*/ 1532173 w 10693106"/>
              <a:gd name="connsiteY15-17796" fmla="*/ 347489 h 5292022"/>
              <a:gd name="connsiteX16-17797" fmla="*/ 1684573 w 10693106"/>
              <a:gd name="connsiteY16-17798" fmla="*/ 406756 h 5292022"/>
              <a:gd name="connsiteX17-17799" fmla="*/ 1760773 w 10693106"/>
              <a:gd name="connsiteY17-17800" fmla="*/ 423689 h 5292022"/>
              <a:gd name="connsiteX18-17801" fmla="*/ 1997840 w 10693106"/>
              <a:gd name="connsiteY18-17802" fmla="*/ 415222 h 5292022"/>
              <a:gd name="connsiteX19-17803" fmla="*/ 2116373 w 10693106"/>
              <a:gd name="connsiteY19-17804" fmla="*/ 398289 h 5292022"/>
              <a:gd name="connsiteX20-17805" fmla="*/ 2260306 w 10693106"/>
              <a:gd name="connsiteY20-17806" fmla="*/ 381356 h 5292022"/>
              <a:gd name="connsiteX21-17807" fmla="*/ 2404240 w 10693106"/>
              <a:gd name="connsiteY21-17808" fmla="*/ 355956 h 5292022"/>
              <a:gd name="connsiteX22-17809" fmla="*/ 2455040 w 10693106"/>
              <a:gd name="connsiteY22-17810" fmla="*/ 330556 h 5292022"/>
              <a:gd name="connsiteX23-17811" fmla="*/ 2531240 w 10693106"/>
              <a:gd name="connsiteY23-17812" fmla="*/ 305156 h 5292022"/>
              <a:gd name="connsiteX24-17813" fmla="*/ 2649350 w 10693106"/>
              <a:gd name="connsiteY24-17814" fmla="*/ 225781 h 5292022"/>
              <a:gd name="connsiteX25-17815" fmla="*/ 2742906 w 10693106"/>
              <a:gd name="connsiteY25-17816" fmla="*/ 186622 h 5292022"/>
              <a:gd name="connsiteX26-17817" fmla="*/ 2764920 w 10693106"/>
              <a:gd name="connsiteY26-17818" fmla="*/ 173076 h 5292022"/>
              <a:gd name="connsiteX27-17819" fmla="*/ 2832653 w 10693106"/>
              <a:gd name="connsiteY27-17820" fmla="*/ 167996 h 5292022"/>
              <a:gd name="connsiteX28-17821" fmla="*/ 3002294 w 10693106"/>
              <a:gd name="connsiteY28-17822" fmla="*/ 154680 h 5292022"/>
              <a:gd name="connsiteX29-17823" fmla="*/ 3142763 w 10693106"/>
              <a:gd name="connsiteY29-17824" fmla="*/ 110421 h 5292022"/>
              <a:gd name="connsiteX30-17825" fmla="*/ 3398918 w 10693106"/>
              <a:gd name="connsiteY30-17826" fmla="*/ 72322 h 5292022"/>
              <a:gd name="connsiteX31-17827" fmla="*/ 3606506 w 10693106"/>
              <a:gd name="connsiteY31-17828" fmla="*/ 60393 h 5292022"/>
              <a:gd name="connsiteX32-17829" fmla="*/ 3682706 w 10693106"/>
              <a:gd name="connsiteY32-17830" fmla="*/ 79942 h 5292022"/>
              <a:gd name="connsiteX33-17831" fmla="*/ 3741973 w 10693106"/>
              <a:gd name="connsiteY33-17832" fmla="*/ 86561 h 5292022"/>
              <a:gd name="connsiteX34-17833" fmla="*/ 3794678 w 10693106"/>
              <a:gd name="connsiteY34-17834" fmla="*/ 101321 h 5292022"/>
              <a:gd name="connsiteX35-17835" fmla="*/ 3833625 w 10693106"/>
              <a:gd name="connsiteY35-17836" fmla="*/ 110846 h 5292022"/>
              <a:gd name="connsiteX36-17837" fmla="*/ 3892487 w 10693106"/>
              <a:gd name="connsiteY36-17838" fmla="*/ 116984 h 5292022"/>
              <a:gd name="connsiteX37-17839" fmla="*/ 3933108 w 10693106"/>
              <a:gd name="connsiteY37-17840" fmla="*/ 128837 h 5292022"/>
              <a:gd name="connsiteX38-17841" fmla="*/ 3976923 w 10693106"/>
              <a:gd name="connsiteY38-17842" fmla="*/ 135187 h 5292022"/>
              <a:gd name="connsiteX39-17843" fmla="*/ 4021373 w 10693106"/>
              <a:gd name="connsiteY39-17844" fmla="*/ 144289 h 5292022"/>
              <a:gd name="connsiteX40-17845" fmla="*/ 4055240 w 10693106"/>
              <a:gd name="connsiteY40-17846" fmla="*/ 152756 h 5292022"/>
              <a:gd name="connsiteX41-17847" fmla="*/ 4275373 w 10693106"/>
              <a:gd name="connsiteY41-17848" fmla="*/ 195089 h 5292022"/>
              <a:gd name="connsiteX42-17849" fmla="*/ 4402373 w 10693106"/>
              <a:gd name="connsiteY42-17850" fmla="*/ 228956 h 5292022"/>
              <a:gd name="connsiteX43-17851" fmla="*/ 4529373 w 10693106"/>
              <a:gd name="connsiteY43-17852" fmla="*/ 271289 h 5292022"/>
              <a:gd name="connsiteX44-17853" fmla="*/ 4859573 w 10693106"/>
              <a:gd name="connsiteY44-17854" fmla="*/ 347489 h 5292022"/>
              <a:gd name="connsiteX45-17855" fmla="*/ 5045840 w 10693106"/>
              <a:gd name="connsiteY45-17856" fmla="*/ 423689 h 5292022"/>
              <a:gd name="connsiteX46-17857" fmla="*/ 5325240 w 10693106"/>
              <a:gd name="connsiteY46-17858" fmla="*/ 584556 h 5292022"/>
              <a:gd name="connsiteX47-17859" fmla="*/ 5494573 w 10693106"/>
              <a:gd name="connsiteY47-17860" fmla="*/ 736956 h 5292022"/>
              <a:gd name="connsiteX48-17861" fmla="*/ 5562306 w 10693106"/>
              <a:gd name="connsiteY48-17862" fmla="*/ 813156 h 5292022"/>
              <a:gd name="connsiteX49-17863" fmla="*/ 5621573 w 10693106"/>
              <a:gd name="connsiteY49-17864" fmla="*/ 863956 h 5292022"/>
              <a:gd name="connsiteX50-17865" fmla="*/ 5672373 w 10693106"/>
              <a:gd name="connsiteY50-17866" fmla="*/ 931689 h 5292022"/>
              <a:gd name="connsiteX51-17867" fmla="*/ 5757040 w 10693106"/>
              <a:gd name="connsiteY51-17868" fmla="*/ 1033289 h 5292022"/>
              <a:gd name="connsiteX52-17869" fmla="*/ 5833240 w 10693106"/>
              <a:gd name="connsiteY52-17870" fmla="*/ 1126422 h 5292022"/>
              <a:gd name="connsiteX53-17871" fmla="*/ 6171906 w 10693106"/>
              <a:gd name="connsiteY53-17872" fmla="*/ 1482022 h 5292022"/>
              <a:gd name="connsiteX54-17873" fmla="*/ 6451306 w 10693106"/>
              <a:gd name="connsiteY54-17874" fmla="*/ 1693689 h 5292022"/>
              <a:gd name="connsiteX55-17875" fmla="*/ 6519040 w 10693106"/>
              <a:gd name="connsiteY55-17876" fmla="*/ 1702156 h 5292022"/>
              <a:gd name="connsiteX56-17877" fmla="*/ 6603706 w 10693106"/>
              <a:gd name="connsiteY56-17878" fmla="*/ 1736022 h 5292022"/>
              <a:gd name="connsiteX57-17879" fmla="*/ 6671440 w 10693106"/>
              <a:gd name="connsiteY57-17880" fmla="*/ 1769889 h 5292022"/>
              <a:gd name="connsiteX58-17881" fmla="*/ 6866173 w 10693106"/>
              <a:gd name="connsiteY58-17882" fmla="*/ 1795289 h 5292022"/>
              <a:gd name="connsiteX59-17883" fmla="*/ 7196373 w 10693106"/>
              <a:gd name="connsiteY59-17884" fmla="*/ 1778356 h 5292022"/>
              <a:gd name="connsiteX60-17885" fmla="*/ 7509640 w 10693106"/>
              <a:gd name="connsiteY60-17886" fmla="*/ 1702156 h 5292022"/>
              <a:gd name="connsiteX61-17887" fmla="*/ 7628173 w 10693106"/>
              <a:gd name="connsiteY61-17888" fmla="*/ 1676756 h 5292022"/>
              <a:gd name="connsiteX62-17889" fmla="*/ 7704373 w 10693106"/>
              <a:gd name="connsiteY62-17890" fmla="*/ 1634422 h 5292022"/>
              <a:gd name="connsiteX63-17891" fmla="*/ 7755173 w 10693106"/>
              <a:gd name="connsiteY63-17892" fmla="*/ 1625956 h 5292022"/>
              <a:gd name="connsiteX64-17893" fmla="*/ 7797506 w 10693106"/>
              <a:gd name="connsiteY64-17894" fmla="*/ 1592089 h 5292022"/>
              <a:gd name="connsiteX65-17895" fmla="*/ 7856773 w 10693106"/>
              <a:gd name="connsiteY65-17896" fmla="*/ 1575156 h 5292022"/>
              <a:gd name="connsiteX66-17897" fmla="*/ 7958373 w 10693106"/>
              <a:gd name="connsiteY66-17898" fmla="*/ 1507422 h 5292022"/>
              <a:gd name="connsiteX67-17899" fmla="*/ 8009173 w 10693106"/>
              <a:gd name="connsiteY67-17900" fmla="*/ 1456622 h 5292022"/>
              <a:gd name="connsiteX68-17901" fmla="*/ 8339373 w 10693106"/>
              <a:gd name="connsiteY68-17902" fmla="*/ 1211089 h 5292022"/>
              <a:gd name="connsiteX69-17903" fmla="*/ 8576440 w 10693106"/>
              <a:gd name="connsiteY69-17904" fmla="*/ 957089 h 5292022"/>
              <a:gd name="connsiteX70-17905" fmla="*/ 8652640 w 10693106"/>
              <a:gd name="connsiteY70-17906" fmla="*/ 677689 h 5292022"/>
              <a:gd name="connsiteX71-17907" fmla="*/ 8847373 w 10693106"/>
              <a:gd name="connsiteY71-17908" fmla="*/ 491422 h 5292022"/>
              <a:gd name="connsiteX72-17909" fmla="*/ 8982840 w 10693106"/>
              <a:gd name="connsiteY72-17910" fmla="*/ 398289 h 5292022"/>
              <a:gd name="connsiteX73-17911" fmla="*/ 9084440 w 10693106"/>
              <a:gd name="connsiteY73-17912" fmla="*/ 364422 h 5292022"/>
              <a:gd name="connsiteX74-17913" fmla="*/ 9152173 w 10693106"/>
              <a:gd name="connsiteY74-17914" fmla="*/ 339022 h 5292022"/>
              <a:gd name="connsiteX75-17915" fmla="*/ 9380773 w 10693106"/>
              <a:gd name="connsiteY75-17916" fmla="*/ 355956 h 5292022"/>
              <a:gd name="connsiteX76-17917" fmla="*/ 9744840 w 10693106"/>
              <a:gd name="connsiteY76-17918" fmla="*/ 466022 h 5292022"/>
              <a:gd name="connsiteX77-17919" fmla="*/ 9888773 w 10693106"/>
              <a:gd name="connsiteY77-17920" fmla="*/ 508356 h 5292022"/>
              <a:gd name="connsiteX78-17921" fmla="*/ 9998840 w 10693106"/>
              <a:gd name="connsiteY78-17922" fmla="*/ 559156 h 5292022"/>
              <a:gd name="connsiteX79-17923" fmla="*/ 10083506 w 10693106"/>
              <a:gd name="connsiteY79-17924" fmla="*/ 618422 h 5292022"/>
              <a:gd name="connsiteX80-17925" fmla="*/ 10286706 w 10693106"/>
              <a:gd name="connsiteY80-17926" fmla="*/ 686156 h 5292022"/>
              <a:gd name="connsiteX81-17927" fmla="*/ 10388306 w 10693106"/>
              <a:gd name="connsiteY81-17928" fmla="*/ 889356 h 5292022"/>
              <a:gd name="connsiteX82-17929" fmla="*/ 10540706 w 10693106"/>
              <a:gd name="connsiteY82-17930" fmla="*/ 1261889 h 5292022"/>
              <a:gd name="connsiteX83-17931" fmla="*/ 10557640 w 10693106"/>
              <a:gd name="connsiteY83-17932" fmla="*/ 1346556 h 5292022"/>
              <a:gd name="connsiteX84-17933" fmla="*/ 10583040 w 10693106"/>
              <a:gd name="connsiteY84-17934" fmla="*/ 1448156 h 5292022"/>
              <a:gd name="connsiteX85-17935" fmla="*/ 10616906 w 10693106"/>
              <a:gd name="connsiteY85-17936" fmla="*/ 1651356 h 5292022"/>
              <a:gd name="connsiteX86-17937" fmla="*/ 10633840 w 10693106"/>
              <a:gd name="connsiteY86-17938" fmla="*/ 1736022 h 5292022"/>
              <a:gd name="connsiteX87-17939" fmla="*/ 10650773 w 10693106"/>
              <a:gd name="connsiteY87-17940" fmla="*/ 1769889 h 5292022"/>
              <a:gd name="connsiteX88-17941" fmla="*/ 10676173 w 10693106"/>
              <a:gd name="connsiteY88-17942" fmla="*/ 1854556 h 5292022"/>
              <a:gd name="connsiteX89-17943" fmla="*/ 10693106 w 10693106"/>
              <a:gd name="connsiteY89-17944" fmla="*/ 2006956 h 5292022"/>
              <a:gd name="connsiteX90-17945" fmla="*/ 10625373 w 10693106"/>
              <a:gd name="connsiteY90-17946" fmla="*/ 2227089 h 5292022"/>
              <a:gd name="connsiteX91-17947" fmla="*/ 10608440 w 10693106"/>
              <a:gd name="connsiteY91-17948" fmla="*/ 2252489 h 5292022"/>
              <a:gd name="connsiteX92-17949" fmla="*/ 10540706 w 10693106"/>
              <a:gd name="connsiteY92-17950" fmla="*/ 2396422 h 5292022"/>
              <a:gd name="connsiteX93-17951" fmla="*/ 10498373 w 10693106"/>
              <a:gd name="connsiteY93-17952" fmla="*/ 2481089 h 5292022"/>
              <a:gd name="connsiteX94-17953" fmla="*/ 10439106 w 10693106"/>
              <a:gd name="connsiteY94-17954" fmla="*/ 2667356 h 5292022"/>
              <a:gd name="connsiteX95-17955" fmla="*/ 10430640 w 10693106"/>
              <a:gd name="connsiteY95-17956" fmla="*/ 2709689 h 5292022"/>
              <a:gd name="connsiteX96-17957" fmla="*/ 10405240 w 10693106"/>
              <a:gd name="connsiteY96-17958" fmla="*/ 2785889 h 5292022"/>
              <a:gd name="connsiteX97-17959" fmla="*/ 10396773 w 10693106"/>
              <a:gd name="connsiteY97-17960" fmla="*/ 2819756 h 5292022"/>
              <a:gd name="connsiteX98-17961" fmla="*/ 10362906 w 10693106"/>
              <a:gd name="connsiteY98-17962" fmla="*/ 2912889 h 5292022"/>
              <a:gd name="connsiteX99-17963" fmla="*/ 10329040 w 10693106"/>
              <a:gd name="connsiteY99-17964" fmla="*/ 2955222 h 5292022"/>
              <a:gd name="connsiteX100-17965" fmla="*/ 10227440 w 10693106"/>
              <a:gd name="connsiteY100-17966" fmla="*/ 3056822 h 5292022"/>
              <a:gd name="connsiteX101-17967" fmla="*/ 10168173 w 10693106"/>
              <a:gd name="connsiteY101-17968" fmla="*/ 3124556 h 5292022"/>
              <a:gd name="connsiteX102-17969" fmla="*/ 10117373 w 10693106"/>
              <a:gd name="connsiteY102-17970" fmla="*/ 3175356 h 5292022"/>
              <a:gd name="connsiteX103-17971" fmla="*/ 10032706 w 10693106"/>
              <a:gd name="connsiteY103-17972" fmla="*/ 3276956 h 5292022"/>
              <a:gd name="connsiteX104-17973" fmla="*/ 9948040 w 10693106"/>
              <a:gd name="connsiteY104-17974" fmla="*/ 3336222 h 5292022"/>
              <a:gd name="connsiteX105-17975" fmla="*/ 9905706 w 10693106"/>
              <a:gd name="connsiteY105-17976" fmla="*/ 3361622 h 5292022"/>
              <a:gd name="connsiteX106-17977" fmla="*/ 9829506 w 10693106"/>
              <a:gd name="connsiteY106-17978" fmla="*/ 3378556 h 5292022"/>
              <a:gd name="connsiteX107-17979" fmla="*/ 9727906 w 10693106"/>
              <a:gd name="connsiteY107-17980" fmla="*/ 3420889 h 5292022"/>
              <a:gd name="connsiteX108-17981" fmla="*/ 9634773 w 10693106"/>
              <a:gd name="connsiteY108-17982" fmla="*/ 3446289 h 5292022"/>
              <a:gd name="connsiteX109-17983" fmla="*/ 9456973 w 10693106"/>
              <a:gd name="connsiteY109-17984" fmla="*/ 3539422 h 5292022"/>
              <a:gd name="connsiteX110-17985" fmla="*/ 9313040 w 10693106"/>
              <a:gd name="connsiteY110-17986" fmla="*/ 3666422 h 5292022"/>
              <a:gd name="connsiteX111-17987" fmla="*/ 9279173 w 10693106"/>
              <a:gd name="connsiteY111-17988" fmla="*/ 3683356 h 5292022"/>
              <a:gd name="connsiteX112-17989" fmla="*/ 9067506 w 10693106"/>
              <a:gd name="connsiteY112-17990" fmla="*/ 3861156 h 5292022"/>
              <a:gd name="connsiteX113-17991" fmla="*/ 8999773 w 10693106"/>
              <a:gd name="connsiteY113-17992" fmla="*/ 3928889 h 5292022"/>
              <a:gd name="connsiteX114-17993" fmla="*/ 8813506 w 10693106"/>
              <a:gd name="connsiteY114-17994" fmla="*/ 4064356 h 5292022"/>
              <a:gd name="connsiteX115-17995" fmla="*/ 8728840 w 10693106"/>
              <a:gd name="connsiteY115-17996" fmla="*/ 4106689 h 5292022"/>
              <a:gd name="connsiteX116-17997" fmla="*/ 8373240 w 10693106"/>
              <a:gd name="connsiteY116-17998" fmla="*/ 4140556 h 5292022"/>
              <a:gd name="connsiteX117-17999" fmla="*/ 7966840 w 10693106"/>
              <a:gd name="connsiteY117-18000" fmla="*/ 4233689 h 5292022"/>
              <a:gd name="connsiteX118-18001" fmla="*/ 7687440 w 10693106"/>
              <a:gd name="connsiteY118-18002" fmla="*/ 4394556 h 5292022"/>
              <a:gd name="connsiteX119-18003" fmla="*/ 7551973 w 10693106"/>
              <a:gd name="connsiteY119-18004" fmla="*/ 4479222 h 5292022"/>
              <a:gd name="connsiteX120-18005" fmla="*/ 7374173 w 10693106"/>
              <a:gd name="connsiteY120-18006" fmla="*/ 4657022 h 5292022"/>
              <a:gd name="connsiteX121-18007" fmla="*/ 7374173 w 10693106"/>
              <a:gd name="connsiteY121-18008" fmla="*/ 4657022 h 5292022"/>
              <a:gd name="connsiteX122-18009" fmla="*/ 7221773 w 10693106"/>
              <a:gd name="connsiteY122-18010" fmla="*/ 4775556 h 5292022"/>
              <a:gd name="connsiteX123-18011" fmla="*/ 7027040 w 10693106"/>
              <a:gd name="connsiteY123-18012" fmla="*/ 4902556 h 5292022"/>
              <a:gd name="connsiteX124-18013" fmla="*/ 6883106 w 10693106"/>
              <a:gd name="connsiteY124-18014" fmla="*/ 4970289 h 5292022"/>
              <a:gd name="connsiteX125-18015" fmla="*/ 6815373 w 10693106"/>
              <a:gd name="connsiteY125-18016" fmla="*/ 5012622 h 5292022"/>
              <a:gd name="connsiteX126-18017" fmla="*/ 6646040 w 10693106"/>
              <a:gd name="connsiteY126-18018" fmla="*/ 5105756 h 5292022"/>
              <a:gd name="connsiteX127-18019" fmla="*/ 6527506 w 10693106"/>
              <a:gd name="connsiteY127-18020" fmla="*/ 5165022 h 5292022"/>
              <a:gd name="connsiteX128-18021" fmla="*/ 6298906 w 10693106"/>
              <a:gd name="connsiteY128-18022" fmla="*/ 5241222 h 5292022"/>
              <a:gd name="connsiteX129-18023" fmla="*/ 6197306 w 10693106"/>
              <a:gd name="connsiteY129-18024" fmla="*/ 5266622 h 5292022"/>
              <a:gd name="connsiteX130-18025" fmla="*/ 6061840 w 10693106"/>
              <a:gd name="connsiteY130-18026" fmla="*/ 5275089 h 5292022"/>
              <a:gd name="connsiteX131-18027" fmla="*/ 5917906 w 10693106"/>
              <a:gd name="connsiteY131-18028" fmla="*/ 5292022 h 5292022"/>
              <a:gd name="connsiteX132-18029" fmla="*/ 5748573 w 10693106"/>
              <a:gd name="connsiteY132-18030" fmla="*/ 5283556 h 5292022"/>
              <a:gd name="connsiteX133-18031" fmla="*/ 5282906 w 10693106"/>
              <a:gd name="connsiteY133-18032" fmla="*/ 5173489 h 5292022"/>
              <a:gd name="connsiteX134-18033" fmla="*/ 5138973 w 10693106"/>
              <a:gd name="connsiteY134-18034" fmla="*/ 5071889 h 5292022"/>
              <a:gd name="connsiteX135-18035" fmla="*/ 4959480 w 10693106"/>
              <a:gd name="connsiteY135-18036" fmla="*/ 4988069 h 5292022"/>
              <a:gd name="connsiteX136-18037" fmla="*/ 4842216 w 10693106"/>
              <a:gd name="connsiteY136-18038" fmla="*/ 4953779 h 5292022"/>
              <a:gd name="connsiteX137-18039" fmla="*/ 4797343 w 10693106"/>
              <a:gd name="connsiteY137-18040" fmla="*/ 4878426 h 5292022"/>
              <a:gd name="connsiteX138-18041" fmla="*/ 4686853 w 10693106"/>
              <a:gd name="connsiteY138-18042" fmla="*/ 4788256 h 5292022"/>
              <a:gd name="connsiteX139-18043" fmla="*/ 4536146 w 10693106"/>
              <a:gd name="connsiteY139-18044" fmla="*/ 4712902 h 5292022"/>
              <a:gd name="connsiteX140-18045" fmla="*/ 4365120 w 10693106"/>
              <a:gd name="connsiteY140-18046" fmla="*/ 4616382 h 5292022"/>
              <a:gd name="connsiteX141-18047" fmla="*/ 4187743 w 10693106"/>
              <a:gd name="connsiteY141-18048" fmla="*/ 4521556 h 5292022"/>
              <a:gd name="connsiteX142-18049" fmla="*/ 4125936 w 10693106"/>
              <a:gd name="connsiteY142-18050" fmla="*/ 4386724 h 5292022"/>
              <a:gd name="connsiteX143-18051" fmla="*/ 3995973 w 10693106"/>
              <a:gd name="connsiteY143-18052" fmla="*/ 4232419 h 5292022"/>
              <a:gd name="connsiteX144-18053" fmla="*/ 3962530 w 10693106"/>
              <a:gd name="connsiteY144-18054" fmla="*/ 4135052 h 5292022"/>
              <a:gd name="connsiteX145-18055" fmla="*/ 3895643 w 10693106"/>
              <a:gd name="connsiteY145-18056" fmla="*/ 4059699 h 5292022"/>
              <a:gd name="connsiteX146-18057" fmla="*/ 3919773 w 10693106"/>
              <a:gd name="connsiteY146-18058" fmla="*/ 3920422 h 5292022"/>
              <a:gd name="connsiteX147-18059" fmla="*/ 3877440 w 10693106"/>
              <a:gd name="connsiteY147-18060" fmla="*/ 3624089 h 5292022"/>
              <a:gd name="connsiteX148-18061" fmla="*/ 3852040 w 10693106"/>
              <a:gd name="connsiteY148-18062" fmla="*/ 3530956 h 5292022"/>
              <a:gd name="connsiteX149-18063" fmla="*/ 3801240 w 10693106"/>
              <a:gd name="connsiteY149-18064" fmla="*/ 3420889 h 5292022"/>
              <a:gd name="connsiteX150-18065" fmla="*/ 3733506 w 10693106"/>
              <a:gd name="connsiteY150-18066" fmla="*/ 3319289 h 5292022"/>
              <a:gd name="connsiteX151-18067" fmla="*/ 3242440 w 10693106"/>
              <a:gd name="connsiteY151-18068" fmla="*/ 3099156 h 5292022"/>
              <a:gd name="connsiteX152-18069" fmla="*/ 3123906 w 10693106"/>
              <a:gd name="connsiteY152-18070" fmla="*/ 2997556 h 5292022"/>
              <a:gd name="connsiteX153-18071" fmla="*/ 2988440 w 10693106"/>
              <a:gd name="connsiteY153-18072" fmla="*/ 2802822 h 5292022"/>
              <a:gd name="connsiteX154-18073" fmla="*/ 2971506 w 10693106"/>
              <a:gd name="connsiteY154-18074" fmla="*/ 2743556 h 5292022"/>
              <a:gd name="connsiteX155-18075" fmla="*/ 2996906 w 10693106"/>
              <a:gd name="connsiteY155-18076" fmla="*/ 2531889 h 5292022"/>
              <a:gd name="connsiteX156-18077" fmla="*/ 3013840 w 10693106"/>
              <a:gd name="connsiteY156-18078" fmla="*/ 2430289 h 5292022"/>
              <a:gd name="connsiteX157-18079" fmla="*/ 3005373 w 10693106"/>
              <a:gd name="connsiteY157-18080" fmla="*/ 2311756 h 5292022"/>
              <a:gd name="connsiteX158-18081" fmla="*/ 2988440 w 10693106"/>
              <a:gd name="connsiteY158-18082" fmla="*/ 2260956 h 5292022"/>
              <a:gd name="connsiteX159-18083" fmla="*/ 2802173 w 10693106"/>
              <a:gd name="connsiteY159-18084" fmla="*/ 2006956 h 5292022"/>
              <a:gd name="connsiteX160-18085" fmla="*/ 2641306 w 10693106"/>
              <a:gd name="connsiteY160-18086" fmla="*/ 1863022 h 5292022"/>
              <a:gd name="connsiteX161-18087" fmla="*/ 2590506 w 10693106"/>
              <a:gd name="connsiteY161-18088" fmla="*/ 1837622 h 5292022"/>
              <a:gd name="connsiteX162-18089" fmla="*/ 2531240 w 10693106"/>
              <a:gd name="connsiteY162-18090" fmla="*/ 1829156 h 5292022"/>
              <a:gd name="connsiteX163-18091" fmla="*/ 2446573 w 10693106"/>
              <a:gd name="connsiteY163-18092" fmla="*/ 1812222 h 5292022"/>
              <a:gd name="connsiteX164-18093" fmla="*/ 2251840 w 10693106"/>
              <a:gd name="connsiteY164-18094" fmla="*/ 1837622 h 5292022"/>
              <a:gd name="connsiteX165-18095" fmla="*/ 2167173 w 10693106"/>
              <a:gd name="connsiteY165-18096" fmla="*/ 1879956 h 5292022"/>
              <a:gd name="connsiteX166-18097" fmla="*/ 1980906 w 10693106"/>
              <a:gd name="connsiteY166-18098" fmla="*/ 1939222 h 5292022"/>
              <a:gd name="connsiteX167-18099" fmla="*/ 1904706 w 10693106"/>
              <a:gd name="connsiteY167-18100" fmla="*/ 1973089 h 5292022"/>
              <a:gd name="connsiteX168-18101" fmla="*/ 1828506 w 10693106"/>
              <a:gd name="connsiteY168-18102" fmla="*/ 1990022 h 5292022"/>
              <a:gd name="connsiteX169-18103" fmla="*/ 1726906 w 10693106"/>
              <a:gd name="connsiteY169-18104" fmla="*/ 2040822 h 5292022"/>
              <a:gd name="connsiteX170-18105" fmla="*/ 1659173 w 10693106"/>
              <a:gd name="connsiteY170-18106" fmla="*/ 2074689 h 5292022"/>
              <a:gd name="connsiteX171-18107" fmla="*/ 1498306 w 10693106"/>
              <a:gd name="connsiteY171-18108" fmla="*/ 2100089 h 5292022"/>
              <a:gd name="connsiteX172-18109" fmla="*/ 914106 w 10693106"/>
              <a:gd name="connsiteY172-18110" fmla="*/ 2032356 h 5292022"/>
              <a:gd name="connsiteX173-18111" fmla="*/ 617773 w 10693106"/>
              <a:gd name="connsiteY173-18112" fmla="*/ 1922289 h 5292022"/>
              <a:gd name="connsiteX174-18113" fmla="*/ 516173 w 10693106"/>
              <a:gd name="connsiteY174-18114" fmla="*/ 1837622 h 5292022"/>
              <a:gd name="connsiteX175-18115" fmla="*/ 355306 w 10693106"/>
              <a:gd name="connsiteY175-18116" fmla="*/ 1625956 h 5292022"/>
              <a:gd name="connsiteX176-18117" fmla="*/ 296040 w 10693106"/>
              <a:gd name="connsiteY176-18118" fmla="*/ 1524356 h 5292022"/>
              <a:gd name="connsiteX177-18119" fmla="*/ 253706 w 10693106"/>
              <a:gd name="connsiteY177-18120" fmla="*/ 1346556 h 5292022"/>
              <a:gd name="connsiteX178-18121" fmla="*/ 245240 w 10693106"/>
              <a:gd name="connsiteY178-18122" fmla="*/ 1219556 h 5292022"/>
              <a:gd name="connsiteX179-18123" fmla="*/ 236773 w 10693106"/>
              <a:gd name="connsiteY179-18124" fmla="*/ 1117956 h 5292022"/>
              <a:gd name="connsiteX180-18125" fmla="*/ 245240 w 10693106"/>
              <a:gd name="connsiteY180-18126" fmla="*/ 847022 h 5292022"/>
              <a:gd name="connsiteX181-18127" fmla="*/ 236773 w 10693106"/>
              <a:gd name="connsiteY181-18128" fmla="*/ 703089 h 5292022"/>
              <a:gd name="connsiteX182-18129" fmla="*/ 109773 w 10693106"/>
              <a:gd name="connsiteY182-18130" fmla="*/ 559156 h 5292022"/>
              <a:gd name="connsiteX183-18131" fmla="*/ 58973 w 10693106"/>
              <a:gd name="connsiteY183-18132" fmla="*/ 482956 h 5292022"/>
              <a:gd name="connsiteX184-18133" fmla="*/ 16640 w 10693106"/>
              <a:gd name="connsiteY184-18134" fmla="*/ 432156 h 5292022"/>
              <a:gd name="connsiteX185-18135" fmla="*/ 8173 w 10693106"/>
              <a:gd name="connsiteY185-18136" fmla="*/ 389822 h 5292022"/>
              <a:gd name="connsiteX186-18137" fmla="*/ 16640 w 10693106"/>
              <a:gd name="connsiteY186-18138" fmla="*/ 339022 h 5292022"/>
              <a:gd name="connsiteX0-18139" fmla="*/ 16640 w 10693106"/>
              <a:gd name="connsiteY0-18140" fmla="*/ 339022 h 5292022"/>
              <a:gd name="connsiteX1-18141" fmla="*/ 58973 w 10693106"/>
              <a:gd name="connsiteY1-18142" fmla="*/ 245889 h 5292022"/>
              <a:gd name="connsiteX2-18143" fmla="*/ 109773 w 10693106"/>
              <a:gd name="connsiteY2-18144" fmla="*/ 178156 h 5292022"/>
              <a:gd name="connsiteX3-18145" fmla="*/ 202906 w 10693106"/>
              <a:gd name="connsiteY3-18146" fmla="*/ 93489 h 5292022"/>
              <a:gd name="connsiteX4-18147" fmla="*/ 236773 w 10693106"/>
              <a:gd name="connsiteY4-18148" fmla="*/ 68089 h 5292022"/>
              <a:gd name="connsiteX5-18149" fmla="*/ 335410 w 10693106"/>
              <a:gd name="connsiteY5-18150" fmla="*/ 58352 h 5292022"/>
              <a:gd name="connsiteX6-18151" fmla="*/ 382400 w 10693106"/>
              <a:gd name="connsiteY6-18152" fmla="*/ 51156 h 5292022"/>
              <a:gd name="connsiteX7-18153" fmla="*/ 434912 w 10693106"/>
              <a:gd name="connsiteY7-18154" fmla="*/ 70071 h 5292022"/>
              <a:gd name="connsiteX8-18155" fmla="*/ 492697 w 10693106"/>
              <a:gd name="connsiteY8-18156" fmla="*/ 74247 h 5292022"/>
              <a:gd name="connsiteX9-18157" fmla="*/ 822897 w 10693106"/>
              <a:gd name="connsiteY9-18158" fmla="*/ 82713 h 5292022"/>
              <a:gd name="connsiteX10-18159" fmla="*/ 1091906 w 10693106"/>
              <a:gd name="connsiteY10-18160" fmla="*/ 356 h 5292022"/>
              <a:gd name="connsiteX11-18161" fmla="*/ 1235840 w 10693106"/>
              <a:gd name="connsiteY11-18162" fmla="*/ 59622 h 5292022"/>
              <a:gd name="connsiteX12-18163" fmla="*/ 1337440 w 10693106"/>
              <a:gd name="connsiteY12-18164" fmla="*/ 135822 h 5292022"/>
              <a:gd name="connsiteX13-18165" fmla="*/ 1422106 w 10693106"/>
              <a:gd name="connsiteY13-18166" fmla="*/ 245889 h 5292022"/>
              <a:gd name="connsiteX14-18167" fmla="*/ 1481373 w 10693106"/>
              <a:gd name="connsiteY14-18168" fmla="*/ 313622 h 5292022"/>
              <a:gd name="connsiteX15-18169" fmla="*/ 1532173 w 10693106"/>
              <a:gd name="connsiteY15-18170" fmla="*/ 347489 h 5292022"/>
              <a:gd name="connsiteX16-18171" fmla="*/ 1684573 w 10693106"/>
              <a:gd name="connsiteY16-18172" fmla="*/ 406756 h 5292022"/>
              <a:gd name="connsiteX17-18173" fmla="*/ 1760773 w 10693106"/>
              <a:gd name="connsiteY17-18174" fmla="*/ 423689 h 5292022"/>
              <a:gd name="connsiteX18-18175" fmla="*/ 1997840 w 10693106"/>
              <a:gd name="connsiteY18-18176" fmla="*/ 415222 h 5292022"/>
              <a:gd name="connsiteX19-18177" fmla="*/ 2116373 w 10693106"/>
              <a:gd name="connsiteY19-18178" fmla="*/ 398289 h 5292022"/>
              <a:gd name="connsiteX20-18179" fmla="*/ 2260306 w 10693106"/>
              <a:gd name="connsiteY20-18180" fmla="*/ 381356 h 5292022"/>
              <a:gd name="connsiteX21-18181" fmla="*/ 2404240 w 10693106"/>
              <a:gd name="connsiteY21-18182" fmla="*/ 355956 h 5292022"/>
              <a:gd name="connsiteX22-18183" fmla="*/ 2455040 w 10693106"/>
              <a:gd name="connsiteY22-18184" fmla="*/ 330556 h 5292022"/>
              <a:gd name="connsiteX23-18185" fmla="*/ 2531240 w 10693106"/>
              <a:gd name="connsiteY23-18186" fmla="*/ 305156 h 5292022"/>
              <a:gd name="connsiteX24-18187" fmla="*/ 2649350 w 10693106"/>
              <a:gd name="connsiteY24-18188" fmla="*/ 225781 h 5292022"/>
              <a:gd name="connsiteX25-18189" fmla="*/ 2742906 w 10693106"/>
              <a:gd name="connsiteY25-18190" fmla="*/ 186622 h 5292022"/>
              <a:gd name="connsiteX26-18191" fmla="*/ 2764920 w 10693106"/>
              <a:gd name="connsiteY26-18192" fmla="*/ 173076 h 5292022"/>
              <a:gd name="connsiteX27-18193" fmla="*/ 2832653 w 10693106"/>
              <a:gd name="connsiteY27-18194" fmla="*/ 167996 h 5292022"/>
              <a:gd name="connsiteX28-18195" fmla="*/ 3002294 w 10693106"/>
              <a:gd name="connsiteY28-18196" fmla="*/ 154680 h 5292022"/>
              <a:gd name="connsiteX29-18197" fmla="*/ 3142763 w 10693106"/>
              <a:gd name="connsiteY29-18198" fmla="*/ 110421 h 5292022"/>
              <a:gd name="connsiteX30-18199" fmla="*/ 3398918 w 10693106"/>
              <a:gd name="connsiteY30-18200" fmla="*/ 72322 h 5292022"/>
              <a:gd name="connsiteX31-18201" fmla="*/ 3606506 w 10693106"/>
              <a:gd name="connsiteY31-18202" fmla="*/ 60393 h 5292022"/>
              <a:gd name="connsiteX32-18203" fmla="*/ 3682706 w 10693106"/>
              <a:gd name="connsiteY32-18204" fmla="*/ 79942 h 5292022"/>
              <a:gd name="connsiteX33-18205" fmla="*/ 3741973 w 10693106"/>
              <a:gd name="connsiteY33-18206" fmla="*/ 86561 h 5292022"/>
              <a:gd name="connsiteX34-18207" fmla="*/ 3794678 w 10693106"/>
              <a:gd name="connsiteY34-18208" fmla="*/ 101321 h 5292022"/>
              <a:gd name="connsiteX35-18209" fmla="*/ 3833625 w 10693106"/>
              <a:gd name="connsiteY35-18210" fmla="*/ 110846 h 5292022"/>
              <a:gd name="connsiteX36-18211" fmla="*/ 3892487 w 10693106"/>
              <a:gd name="connsiteY36-18212" fmla="*/ 116984 h 5292022"/>
              <a:gd name="connsiteX37-18213" fmla="*/ 3933108 w 10693106"/>
              <a:gd name="connsiteY37-18214" fmla="*/ 128837 h 5292022"/>
              <a:gd name="connsiteX38-18215" fmla="*/ 3976923 w 10693106"/>
              <a:gd name="connsiteY38-18216" fmla="*/ 135187 h 5292022"/>
              <a:gd name="connsiteX39-18217" fmla="*/ 4021373 w 10693106"/>
              <a:gd name="connsiteY39-18218" fmla="*/ 144289 h 5292022"/>
              <a:gd name="connsiteX40-18219" fmla="*/ 4055240 w 10693106"/>
              <a:gd name="connsiteY40-18220" fmla="*/ 152756 h 5292022"/>
              <a:gd name="connsiteX41-18221" fmla="*/ 4275373 w 10693106"/>
              <a:gd name="connsiteY41-18222" fmla="*/ 195089 h 5292022"/>
              <a:gd name="connsiteX42-18223" fmla="*/ 4402373 w 10693106"/>
              <a:gd name="connsiteY42-18224" fmla="*/ 228956 h 5292022"/>
              <a:gd name="connsiteX43-18225" fmla="*/ 4529373 w 10693106"/>
              <a:gd name="connsiteY43-18226" fmla="*/ 271289 h 5292022"/>
              <a:gd name="connsiteX44-18227" fmla="*/ 4859573 w 10693106"/>
              <a:gd name="connsiteY44-18228" fmla="*/ 347489 h 5292022"/>
              <a:gd name="connsiteX45-18229" fmla="*/ 5045840 w 10693106"/>
              <a:gd name="connsiteY45-18230" fmla="*/ 423689 h 5292022"/>
              <a:gd name="connsiteX46-18231" fmla="*/ 5325240 w 10693106"/>
              <a:gd name="connsiteY46-18232" fmla="*/ 584556 h 5292022"/>
              <a:gd name="connsiteX47-18233" fmla="*/ 5494573 w 10693106"/>
              <a:gd name="connsiteY47-18234" fmla="*/ 736956 h 5292022"/>
              <a:gd name="connsiteX48-18235" fmla="*/ 5562306 w 10693106"/>
              <a:gd name="connsiteY48-18236" fmla="*/ 813156 h 5292022"/>
              <a:gd name="connsiteX49-18237" fmla="*/ 5621573 w 10693106"/>
              <a:gd name="connsiteY49-18238" fmla="*/ 863956 h 5292022"/>
              <a:gd name="connsiteX50-18239" fmla="*/ 5672373 w 10693106"/>
              <a:gd name="connsiteY50-18240" fmla="*/ 931689 h 5292022"/>
              <a:gd name="connsiteX51-18241" fmla="*/ 5757040 w 10693106"/>
              <a:gd name="connsiteY51-18242" fmla="*/ 1033289 h 5292022"/>
              <a:gd name="connsiteX52-18243" fmla="*/ 5833240 w 10693106"/>
              <a:gd name="connsiteY52-18244" fmla="*/ 1126422 h 5292022"/>
              <a:gd name="connsiteX53-18245" fmla="*/ 6451306 w 10693106"/>
              <a:gd name="connsiteY53-18246" fmla="*/ 1693689 h 5292022"/>
              <a:gd name="connsiteX54-18247" fmla="*/ 6519040 w 10693106"/>
              <a:gd name="connsiteY54-18248" fmla="*/ 1702156 h 5292022"/>
              <a:gd name="connsiteX55-18249" fmla="*/ 6603706 w 10693106"/>
              <a:gd name="connsiteY55-18250" fmla="*/ 1736022 h 5292022"/>
              <a:gd name="connsiteX56-18251" fmla="*/ 6671440 w 10693106"/>
              <a:gd name="connsiteY56-18252" fmla="*/ 1769889 h 5292022"/>
              <a:gd name="connsiteX57-18253" fmla="*/ 6866173 w 10693106"/>
              <a:gd name="connsiteY57-18254" fmla="*/ 1795289 h 5292022"/>
              <a:gd name="connsiteX58-18255" fmla="*/ 7196373 w 10693106"/>
              <a:gd name="connsiteY58-18256" fmla="*/ 1778356 h 5292022"/>
              <a:gd name="connsiteX59-18257" fmla="*/ 7509640 w 10693106"/>
              <a:gd name="connsiteY59-18258" fmla="*/ 1702156 h 5292022"/>
              <a:gd name="connsiteX60-18259" fmla="*/ 7628173 w 10693106"/>
              <a:gd name="connsiteY60-18260" fmla="*/ 1676756 h 5292022"/>
              <a:gd name="connsiteX61-18261" fmla="*/ 7704373 w 10693106"/>
              <a:gd name="connsiteY61-18262" fmla="*/ 1634422 h 5292022"/>
              <a:gd name="connsiteX62-18263" fmla="*/ 7755173 w 10693106"/>
              <a:gd name="connsiteY62-18264" fmla="*/ 1625956 h 5292022"/>
              <a:gd name="connsiteX63-18265" fmla="*/ 7797506 w 10693106"/>
              <a:gd name="connsiteY63-18266" fmla="*/ 1592089 h 5292022"/>
              <a:gd name="connsiteX64-18267" fmla="*/ 7856773 w 10693106"/>
              <a:gd name="connsiteY64-18268" fmla="*/ 1575156 h 5292022"/>
              <a:gd name="connsiteX65-18269" fmla="*/ 7958373 w 10693106"/>
              <a:gd name="connsiteY65-18270" fmla="*/ 1507422 h 5292022"/>
              <a:gd name="connsiteX66-18271" fmla="*/ 8009173 w 10693106"/>
              <a:gd name="connsiteY66-18272" fmla="*/ 1456622 h 5292022"/>
              <a:gd name="connsiteX67-18273" fmla="*/ 8339373 w 10693106"/>
              <a:gd name="connsiteY67-18274" fmla="*/ 1211089 h 5292022"/>
              <a:gd name="connsiteX68-18275" fmla="*/ 8576440 w 10693106"/>
              <a:gd name="connsiteY68-18276" fmla="*/ 957089 h 5292022"/>
              <a:gd name="connsiteX69-18277" fmla="*/ 8652640 w 10693106"/>
              <a:gd name="connsiteY69-18278" fmla="*/ 677689 h 5292022"/>
              <a:gd name="connsiteX70-18279" fmla="*/ 8847373 w 10693106"/>
              <a:gd name="connsiteY70-18280" fmla="*/ 491422 h 5292022"/>
              <a:gd name="connsiteX71-18281" fmla="*/ 8982840 w 10693106"/>
              <a:gd name="connsiteY71-18282" fmla="*/ 398289 h 5292022"/>
              <a:gd name="connsiteX72-18283" fmla="*/ 9084440 w 10693106"/>
              <a:gd name="connsiteY72-18284" fmla="*/ 364422 h 5292022"/>
              <a:gd name="connsiteX73-18285" fmla="*/ 9152173 w 10693106"/>
              <a:gd name="connsiteY73-18286" fmla="*/ 339022 h 5292022"/>
              <a:gd name="connsiteX74-18287" fmla="*/ 9380773 w 10693106"/>
              <a:gd name="connsiteY74-18288" fmla="*/ 355956 h 5292022"/>
              <a:gd name="connsiteX75-18289" fmla="*/ 9744840 w 10693106"/>
              <a:gd name="connsiteY75-18290" fmla="*/ 466022 h 5292022"/>
              <a:gd name="connsiteX76-18291" fmla="*/ 9888773 w 10693106"/>
              <a:gd name="connsiteY76-18292" fmla="*/ 508356 h 5292022"/>
              <a:gd name="connsiteX77-18293" fmla="*/ 9998840 w 10693106"/>
              <a:gd name="connsiteY77-18294" fmla="*/ 559156 h 5292022"/>
              <a:gd name="connsiteX78-18295" fmla="*/ 10083506 w 10693106"/>
              <a:gd name="connsiteY78-18296" fmla="*/ 618422 h 5292022"/>
              <a:gd name="connsiteX79-18297" fmla="*/ 10286706 w 10693106"/>
              <a:gd name="connsiteY79-18298" fmla="*/ 686156 h 5292022"/>
              <a:gd name="connsiteX80-18299" fmla="*/ 10388306 w 10693106"/>
              <a:gd name="connsiteY80-18300" fmla="*/ 889356 h 5292022"/>
              <a:gd name="connsiteX81-18301" fmla="*/ 10540706 w 10693106"/>
              <a:gd name="connsiteY81-18302" fmla="*/ 1261889 h 5292022"/>
              <a:gd name="connsiteX82-18303" fmla="*/ 10557640 w 10693106"/>
              <a:gd name="connsiteY82-18304" fmla="*/ 1346556 h 5292022"/>
              <a:gd name="connsiteX83-18305" fmla="*/ 10583040 w 10693106"/>
              <a:gd name="connsiteY83-18306" fmla="*/ 1448156 h 5292022"/>
              <a:gd name="connsiteX84-18307" fmla="*/ 10616906 w 10693106"/>
              <a:gd name="connsiteY84-18308" fmla="*/ 1651356 h 5292022"/>
              <a:gd name="connsiteX85-18309" fmla="*/ 10633840 w 10693106"/>
              <a:gd name="connsiteY85-18310" fmla="*/ 1736022 h 5292022"/>
              <a:gd name="connsiteX86-18311" fmla="*/ 10650773 w 10693106"/>
              <a:gd name="connsiteY86-18312" fmla="*/ 1769889 h 5292022"/>
              <a:gd name="connsiteX87-18313" fmla="*/ 10676173 w 10693106"/>
              <a:gd name="connsiteY87-18314" fmla="*/ 1854556 h 5292022"/>
              <a:gd name="connsiteX88-18315" fmla="*/ 10693106 w 10693106"/>
              <a:gd name="connsiteY88-18316" fmla="*/ 2006956 h 5292022"/>
              <a:gd name="connsiteX89-18317" fmla="*/ 10625373 w 10693106"/>
              <a:gd name="connsiteY89-18318" fmla="*/ 2227089 h 5292022"/>
              <a:gd name="connsiteX90-18319" fmla="*/ 10608440 w 10693106"/>
              <a:gd name="connsiteY90-18320" fmla="*/ 2252489 h 5292022"/>
              <a:gd name="connsiteX91-18321" fmla="*/ 10540706 w 10693106"/>
              <a:gd name="connsiteY91-18322" fmla="*/ 2396422 h 5292022"/>
              <a:gd name="connsiteX92-18323" fmla="*/ 10498373 w 10693106"/>
              <a:gd name="connsiteY92-18324" fmla="*/ 2481089 h 5292022"/>
              <a:gd name="connsiteX93-18325" fmla="*/ 10439106 w 10693106"/>
              <a:gd name="connsiteY93-18326" fmla="*/ 2667356 h 5292022"/>
              <a:gd name="connsiteX94-18327" fmla="*/ 10430640 w 10693106"/>
              <a:gd name="connsiteY94-18328" fmla="*/ 2709689 h 5292022"/>
              <a:gd name="connsiteX95-18329" fmla="*/ 10405240 w 10693106"/>
              <a:gd name="connsiteY95-18330" fmla="*/ 2785889 h 5292022"/>
              <a:gd name="connsiteX96-18331" fmla="*/ 10396773 w 10693106"/>
              <a:gd name="connsiteY96-18332" fmla="*/ 2819756 h 5292022"/>
              <a:gd name="connsiteX97-18333" fmla="*/ 10362906 w 10693106"/>
              <a:gd name="connsiteY97-18334" fmla="*/ 2912889 h 5292022"/>
              <a:gd name="connsiteX98-18335" fmla="*/ 10329040 w 10693106"/>
              <a:gd name="connsiteY98-18336" fmla="*/ 2955222 h 5292022"/>
              <a:gd name="connsiteX99-18337" fmla="*/ 10227440 w 10693106"/>
              <a:gd name="connsiteY99-18338" fmla="*/ 3056822 h 5292022"/>
              <a:gd name="connsiteX100-18339" fmla="*/ 10168173 w 10693106"/>
              <a:gd name="connsiteY100-18340" fmla="*/ 3124556 h 5292022"/>
              <a:gd name="connsiteX101-18341" fmla="*/ 10117373 w 10693106"/>
              <a:gd name="connsiteY101-18342" fmla="*/ 3175356 h 5292022"/>
              <a:gd name="connsiteX102-18343" fmla="*/ 10032706 w 10693106"/>
              <a:gd name="connsiteY102-18344" fmla="*/ 3276956 h 5292022"/>
              <a:gd name="connsiteX103-18345" fmla="*/ 9948040 w 10693106"/>
              <a:gd name="connsiteY103-18346" fmla="*/ 3336222 h 5292022"/>
              <a:gd name="connsiteX104-18347" fmla="*/ 9905706 w 10693106"/>
              <a:gd name="connsiteY104-18348" fmla="*/ 3361622 h 5292022"/>
              <a:gd name="connsiteX105-18349" fmla="*/ 9829506 w 10693106"/>
              <a:gd name="connsiteY105-18350" fmla="*/ 3378556 h 5292022"/>
              <a:gd name="connsiteX106-18351" fmla="*/ 9727906 w 10693106"/>
              <a:gd name="connsiteY106-18352" fmla="*/ 3420889 h 5292022"/>
              <a:gd name="connsiteX107-18353" fmla="*/ 9634773 w 10693106"/>
              <a:gd name="connsiteY107-18354" fmla="*/ 3446289 h 5292022"/>
              <a:gd name="connsiteX108-18355" fmla="*/ 9456973 w 10693106"/>
              <a:gd name="connsiteY108-18356" fmla="*/ 3539422 h 5292022"/>
              <a:gd name="connsiteX109-18357" fmla="*/ 9313040 w 10693106"/>
              <a:gd name="connsiteY109-18358" fmla="*/ 3666422 h 5292022"/>
              <a:gd name="connsiteX110-18359" fmla="*/ 9279173 w 10693106"/>
              <a:gd name="connsiteY110-18360" fmla="*/ 3683356 h 5292022"/>
              <a:gd name="connsiteX111-18361" fmla="*/ 9067506 w 10693106"/>
              <a:gd name="connsiteY111-18362" fmla="*/ 3861156 h 5292022"/>
              <a:gd name="connsiteX112-18363" fmla="*/ 8999773 w 10693106"/>
              <a:gd name="connsiteY112-18364" fmla="*/ 3928889 h 5292022"/>
              <a:gd name="connsiteX113-18365" fmla="*/ 8813506 w 10693106"/>
              <a:gd name="connsiteY113-18366" fmla="*/ 4064356 h 5292022"/>
              <a:gd name="connsiteX114-18367" fmla="*/ 8728840 w 10693106"/>
              <a:gd name="connsiteY114-18368" fmla="*/ 4106689 h 5292022"/>
              <a:gd name="connsiteX115-18369" fmla="*/ 8373240 w 10693106"/>
              <a:gd name="connsiteY115-18370" fmla="*/ 4140556 h 5292022"/>
              <a:gd name="connsiteX116-18371" fmla="*/ 7966840 w 10693106"/>
              <a:gd name="connsiteY116-18372" fmla="*/ 4233689 h 5292022"/>
              <a:gd name="connsiteX117-18373" fmla="*/ 7687440 w 10693106"/>
              <a:gd name="connsiteY117-18374" fmla="*/ 4394556 h 5292022"/>
              <a:gd name="connsiteX118-18375" fmla="*/ 7551973 w 10693106"/>
              <a:gd name="connsiteY118-18376" fmla="*/ 4479222 h 5292022"/>
              <a:gd name="connsiteX119-18377" fmla="*/ 7374173 w 10693106"/>
              <a:gd name="connsiteY119-18378" fmla="*/ 4657022 h 5292022"/>
              <a:gd name="connsiteX120-18379" fmla="*/ 7374173 w 10693106"/>
              <a:gd name="connsiteY120-18380" fmla="*/ 4657022 h 5292022"/>
              <a:gd name="connsiteX121-18381" fmla="*/ 7221773 w 10693106"/>
              <a:gd name="connsiteY121-18382" fmla="*/ 4775556 h 5292022"/>
              <a:gd name="connsiteX122-18383" fmla="*/ 7027040 w 10693106"/>
              <a:gd name="connsiteY122-18384" fmla="*/ 4902556 h 5292022"/>
              <a:gd name="connsiteX123-18385" fmla="*/ 6883106 w 10693106"/>
              <a:gd name="connsiteY123-18386" fmla="*/ 4970289 h 5292022"/>
              <a:gd name="connsiteX124-18387" fmla="*/ 6815373 w 10693106"/>
              <a:gd name="connsiteY124-18388" fmla="*/ 5012622 h 5292022"/>
              <a:gd name="connsiteX125-18389" fmla="*/ 6646040 w 10693106"/>
              <a:gd name="connsiteY125-18390" fmla="*/ 5105756 h 5292022"/>
              <a:gd name="connsiteX126-18391" fmla="*/ 6527506 w 10693106"/>
              <a:gd name="connsiteY126-18392" fmla="*/ 5165022 h 5292022"/>
              <a:gd name="connsiteX127-18393" fmla="*/ 6298906 w 10693106"/>
              <a:gd name="connsiteY127-18394" fmla="*/ 5241222 h 5292022"/>
              <a:gd name="connsiteX128-18395" fmla="*/ 6197306 w 10693106"/>
              <a:gd name="connsiteY128-18396" fmla="*/ 5266622 h 5292022"/>
              <a:gd name="connsiteX129-18397" fmla="*/ 6061840 w 10693106"/>
              <a:gd name="connsiteY129-18398" fmla="*/ 5275089 h 5292022"/>
              <a:gd name="connsiteX130-18399" fmla="*/ 5917906 w 10693106"/>
              <a:gd name="connsiteY130-18400" fmla="*/ 5292022 h 5292022"/>
              <a:gd name="connsiteX131-18401" fmla="*/ 5748573 w 10693106"/>
              <a:gd name="connsiteY131-18402" fmla="*/ 5283556 h 5292022"/>
              <a:gd name="connsiteX132-18403" fmla="*/ 5282906 w 10693106"/>
              <a:gd name="connsiteY132-18404" fmla="*/ 5173489 h 5292022"/>
              <a:gd name="connsiteX133-18405" fmla="*/ 5138973 w 10693106"/>
              <a:gd name="connsiteY133-18406" fmla="*/ 5071889 h 5292022"/>
              <a:gd name="connsiteX134-18407" fmla="*/ 4959480 w 10693106"/>
              <a:gd name="connsiteY134-18408" fmla="*/ 4988069 h 5292022"/>
              <a:gd name="connsiteX135-18409" fmla="*/ 4842216 w 10693106"/>
              <a:gd name="connsiteY135-18410" fmla="*/ 4953779 h 5292022"/>
              <a:gd name="connsiteX136-18411" fmla="*/ 4797343 w 10693106"/>
              <a:gd name="connsiteY136-18412" fmla="*/ 4878426 h 5292022"/>
              <a:gd name="connsiteX137-18413" fmla="*/ 4686853 w 10693106"/>
              <a:gd name="connsiteY137-18414" fmla="*/ 4788256 h 5292022"/>
              <a:gd name="connsiteX138-18415" fmla="*/ 4536146 w 10693106"/>
              <a:gd name="connsiteY138-18416" fmla="*/ 4712902 h 5292022"/>
              <a:gd name="connsiteX139-18417" fmla="*/ 4365120 w 10693106"/>
              <a:gd name="connsiteY139-18418" fmla="*/ 4616382 h 5292022"/>
              <a:gd name="connsiteX140-18419" fmla="*/ 4187743 w 10693106"/>
              <a:gd name="connsiteY140-18420" fmla="*/ 4521556 h 5292022"/>
              <a:gd name="connsiteX141-18421" fmla="*/ 4125936 w 10693106"/>
              <a:gd name="connsiteY141-18422" fmla="*/ 4386724 h 5292022"/>
              <a:gd name="connsiteX142-18423" fmla="*/ 3995973 w 10693106"/>
              <a:gd name="connsiteY142-18424" fmla="*/ 4232419 h 5292022"/>
              <a:gd name="connsiteX143-18425" fmla="*/ 3962530 w 10693106"/>
              <a:gd name="connsiteY143-18426" fmla="*/ 4135052 h 5292022"/>
              <a:gd name="connsiteX144-18427" fmla="*/ 3895643 w 10693106"/>
              <a:gd name="connsiteY144-18428" fmla="*/ 4059699 h 5292022"/>
              <a:gd name="connsiteX145-18429" fmla="*/ 3919773 w 10693106"/>
              <a:gd name="connsiteY145-18430" fmla="*/ 3920422 h 5292022"/>
              <a:gd name="connsiteX146-18431" fmla="*/ 3877440 w 10693106"/>
              <a:gd name="connsiteY146-18432" fmla="*/ 3624089 h 5292022"/>
              <a:gd name="connsiteX147-18433" fmla="*/ 3852040 w 10693106"/>
              <a:gd name="connsiteY147-18434" fmla="*/ 3530956 h 5292022"/>
              <a:gd name="connsiteX148-18435" fmla="*/ 3801240 w 10693106"/>
              <a:gd name="connsiteY148-18436" fmla="*/ 3420889 h 5292022"/>
              <a:gd name="connsiteX149-18437" fmla="*/ 3733506 w 10693106"/>
              <a:gd name="connsiteY149-18438" fmla="*/ 3319289 h 5292022"/>
              <a:gd name="connsiteX150-18439" fmla="*/ 3242440 w 10693106"/>
              <a:gd name="connsiteY150-18440" fmla="*/ 3099156 h 5292022"/>
              <a:gd name="connsiteX151-18441" fmla="*/ 3123906 w 10693106"/>
              <a:gd name="connsiteY151-18442" fmla="*/ 2997556 h 5292022"/>
              <a:gd name="connsiteX152-18443" fmla="*/ 2988440 w 10693106"/>
              <a:gd name="connsiteY152-18444" fmla="*/ 2802822 h 5292022"/>
              <a:gd name="connsiteX153-18445" fmla="*/ 2971506 w 10693106"/>
              <a:gd name="connsiteY153-18446" fmla="*/ 2743556 h 5292022"/>
              <a:gd name="connsiteX154-18447" fmla="*/ 2996906 w 10693106"/>
              <a:gd name="connsiteY154-18448" fmla="*/ 2531889 h 5292022"/>
              <a:gd name="connsiteX155-18449" fmla="*/ 3013840 w 10693106"/>
              <a:gd name="connsiteY155-18450" fmla="*/ 2430289 h 5292022"/>
              <a:gd name="connsiteX156-18451" fmla="*/ 3005373 w 10693106"/>
              <a:gd name="connsiteY156-18452" fmla="*/ 2311756 h 5292022"/>
              <a:gd name="connsiteX157-18453" fmla="*/ 2988440 w 10693106"/>
              <a:gd name="connsiteY157-18454" fmla="*/ 2260956 h 5292022"/>
              <a:gd name="connsiteX158-18455" fmla="*/ 2802173 w 10693106"/>
              <a:gd name="connsiteY158-18456" fmla="*/ 2006956 h 5292022"/>
              <a:gd name="connsiteX159-18457" fmla="*/ 2641306 w 10693106"/>
              <a:gd name="connsiteY159-18458" fmla="*/ 1863022 h 5292022"/>
              <a:gd name="connsiteX160-18459" fmla="*/ 2590506 w 10693106"/>
              <a:gd name="connsiteY160-18460" fmla="*/ 1837622 h 5292022"/>
              <a:gd name="connsiteX161-18461" fmla="*/ 2531240 w 10693106"/>
              <a:gd name="connsiteY161-18462" fmla="*/ 1829156 h 5292022"/>
              <a:gd name="connsiteX162-18463" fmla="*/ 2446573 w 10693106"/>
              <a:gd name="connsiteY162-18464" fmla="*/ 1812222 h 5292022"/>
              <a:gd name="connsiteX163-18465" fmla="*/ 2251840 w 10693106"/>
              <a:gd name="connsiteY163-18466" fmla="*/ 1837622 h 5292022"/>
              <a:gd name="connsiteX164-18467" fmla="*/ 2167173 w 10693106"/>
              <a:gd name="connsiteY164-18468" fmla="*/ 1879956 h 5292022"/>
              <a:gd name="connsiteX165-18469" fmla="*/ 1980906 w 10693106"/>
              <a:gd name="connsiteY165-18470" fmla="*/ 1939222 h 5292022"/>
              <a:gd name="connsiteX166-18471" fmla="*/ 1904706 w 10693106"/>
              <a:gd name="connsiteY166-18472" fmla="*/ 1973089 h 5292022"/>
              <a:gd name="connsiteX167-18473" fmla="*/ 1828506 w 10693106"/>
              <a:gd name="connsiteY167-18474" fmla="*/ 1990022 h 5292022"/>
              <a:gd name="connsiteX168-18475" fmla="*/ 1726906 w 10693106"/>
              <a:gd name="connsiteY168-18476" fmla="*/ 2040822 h 5292022"/>
              <a:gd name="connsiteX169-18477" fmla="*/ 1659173 w 10693106"/>
              <a:gd name="connsiteY169-18478" fmla="*/ 2074689 h 5292022"/>
              <a:gd name="connsiteX170-18479" fmla="*/ 1498306 w 10693106"/>
              <a:gd name="connsiteY170-18480" fmla="*/ 2100089 h 5292022"/>
              <a:gd name="connsiteX171-18481" fmla="*/ 914106 w 10693106"/>
              <a:gd name="connsiteY171-18482" fmla="*/ 2032356 h 5292022"/>
              <a:gd name="connsiteX172-18483" fmla="*/ 617773 w 10693106"/>
              <a:gd name="connsiteY172-18484" fmla="*/ 1922289 h 5292022"/>
              <a:gd name="connsiteX173-18485" fmla="*/ 516173 w 10693106"/>
              <a:gd name="connsiteY173-18486" fmla="*/ 1837622 h 5292022"/>
              <a:gd name="connsiteX174-18487" fmla="*/ 355306 w 10693106"/>
              <a:gd name="connsiteY174-18488" fmla="*/ 1625956 h 5292022"/>
              <a:gd name="connsiteX175-18489" fmla="*/ 296040 w 10693106"/>
              <a:gd name="connsiteY175-18490" fmla="*/ 1524356 h 5292022"/>
              <a:gd name="connsiteX176-18491" fmla="*/ 253706 w 10693106"/>
              <a:gd name="connsiteY176-18492" fmla="*/ 1346556 h 5292022"/>
              <a:gd name="connsiteX177-18493" fmla="*/ 245240 w 10693106"/>
              <a:gd name="connsiteY177-18494" fmla="*/ 1219556 h 5292022"/>
              <a:gd name="connsiteX178-18495" fmla="*/ 236773 w 10693106"/>
              <a:gd name="connsiteY178-18496" fmla="*/ 1117956 h 5292022"/>
              <a:gd name="connsiteX179-18497" fmla="*/ 245240 w 10693106"/>
              <a:gd name="connsiteY179-18498" fmla="*/ 847022 h 5292022"/>
              <a:gd name="connsiteX180-18499" fmla="*/ 236773 w 10693106"/>
              <a:gd name="connsiteY180-18500" fmla="*/ 703089 h 5292022"/>
              <a:gd name="connsiteX181-18501" fmla="*/ 109773 w 10693106"/>
              <a:gd name="connsiteY181-18502" fmla="*/ 559156 h 5292022"/>
              <a:gd name="connsiteX182-18503" fmla="*/ 58973 w 10693106"/>
              <a:gd name="connsiteY182-18504" fmla="*/ 482956 h 5292022"/>
              <a:gd name="connsiteX183-18505" fmla="*/ 16640 w 10693106"/>
              <a:gd name="connsiteY183-18506" fmla="*/ 432156 h 5292022"/>
              <a:gd name="connsiteX184-18507" fmla="*/ 8173 w 10693106"/>
              <a:gd name="connsiteY184-18508" fmla="*/ 389822 h 5292022"/>
              <a:gd name="connsiteX185-18509" fmla="*/ 16640 w 10693106"/>
              <a:gd name="connsiteY185-18510" fmla="*/ 339022 h 5292022"/>
              <a:gd name="connsiteX0-18511" fmla="*/ 16640 w 10693106"/>
              <a:gd name="connsiteY0-18512" fmla="*/ 339022 h 5292022"/>
              <a:gd name="connsiteX1-18513" fmla="*/ 58973 w 10693106"/>
              <a:gd name="connsiteY1-18514" fmla="*/ 245889 h 5292022"/>
              <a:gd name="connsiteX2-18515" fmla="*/ 109773 w 10693106"/>
              <a:gd name="connsiteY2-18516" fmla="*/ 178156 h 5292022"/>
              <a:gd name="connsiteX3-18517" fmla="*/ 202906 w 10693106"/>
              <a:gd name="connsiteY3-18518" fmla="*/ 93489 h 5292022"/>
              <a:gd name="connsiteX4-18519" fmla="*/ 236773 w 10693106"/>
              <a:gd name="connsiteY4-18520" fmla="*/ 68089 h 5292022"/>
              <a:gd name="connsiteX5-18521" fmla="*/ 335410 w 10693106"/>
              <a:gd name="connsiteY5-18522" fmla="*/ 58352 h 5292022"/>
              <a:gd name="connsiteX6-18523" fmla="*/ 382400 w 10693106"/>
              <a:gd name="connsiteY6-18524" fmla="*/ 51156 h 5292022"/>
              <a:gd name="connsiteX7-18525" fmla="*/ 434912 w 10693106"/>
              <a:gd name="connsiteY7-18526" fmla="*/ 70071 h 5292022"/>
              <a:gd name="connsiteX8-18527" fmla="*/ 492697 w 10693106"/>
              <a:gd name="connsiteY8-18528" fmla="*/ 74247 h 5292022"/>
              <a:gd name="connsiteX9-18529" fmla="*/ 822897 w 10693106"/>
              <a:gd name="connsiteY9-18530" fmla="*/ 82713 h 5292022"/>
              <a:gd name="connsiteX10-18531" fmla="*/ 1091906 w 10693106"/>
              <a:gd name="connsiteY10-18532" fmla="*/ 356 h 5292022"/>
              <a:gd name="connsiteX11-18533" fmla="*/ 1235840 w 10693106"/>
              <a:gd name="connsiteY11-18534" fmla="*/ 59622 h 5292022"/>
              <a:gd name="connsiteX12-18535" fmla="*/ 1337440 w 10693106"/>
              <a:gd name="connsiteY12-18536" fmla="*/ 135822 h 5292022"/>
              <a:gd name="connsiteX13-18537" fmla="*/ 1422106 w 10693106"/>
              <a:gd name="connsiteY13-18538" fmla="*/ 245889 h 5292022"/>
              <a:gd name="connsiteX14-18539" fmla="*/ 1481373 w 10693106"/>
              <a:gd name="connsiteY14-18540" fmla="*/ 313622 h 5292022"/>
              <a:gd name="connsiteX15-18541" fmla="*/ 1532173 w 10693106"/>
              <a:gd name="connsiteY15-18542" fmla="*/ 347489 h 5292022"/>
              <a:gd name="connsiteX16-18543" fmla="*/ 1684573 w 10693106"/>
              <a:gd name="connsiteY16-18544" fmla="*/ 406756 h 5292022"/>
              <a:gd name="connsiteX17-18545" fmla="*/ 1760773 w 10693106"/>
              <a:gd name="connsiteY17-18546" fmla="*/ 423689 h 5292022"/>
              <a:gd name="connsiteX18-18547" fmla="*/ 1997840 w 10693106"/>
              <a:gd name="connsiteY18-18548" fmla="*/ 415222 h 5292022"/>
              <a:gd name="connsiteX19-18549" fmla="*/ 2116373 w 10693106"/>
              <a:gd name="connsiteY19-18550" fmla="*/ 398289 h 5292022"/>
              <a:gd name="connsiteX20-18551" fmla="*/ 2260306 w 10693106"/>
              <a:gd name="connsiteY20-18552" fmla="*/ 381356 h 5292022"/>
              <a:gd name="connsiteX21-18553" fmla="*/ 2404240 w 10693106"/>
              <a:gd name="connsiteY21-18554" fmla="*/ 355956 h 5292022"/>
              <a:gd name="connsiteX22-18555" fmla="*/ 2455040 w 10693106"/>
              <a:gd name="connsiteY22-18556" fmla="*/ 330556 h 5292022"/>
              <a:gd name="connsiteX23-18557" fmla="*/ 2531240 w 10693106"/>
              <a:gd name="connsiteY23-18558" fmla="*/ 305156 h 5292022"/>
              <a:gd name="connsiteX24-18559" fmla="*/ 2649350 w 10693106"/>
              <a:gd name="connsiteY24-18560" fmla="*/ 225781 h 5292022"/>
              <a:gd name="connsiteX25-18561" fmla="*/ 2742906 w 10693106"/>
              <a:gd name="connsiteY25-18562" fmla="*/ 186622 h 5292022"/>
              <a:gd name="connsiteX26-18563" fmla="*/ 2764920 w 10693106"/>
              <a:gd name="connsiteY26-18564" fmla="*/ 173076 h 5292022"/>
              <a:gd name="connsiteX27-18565" fmla="*/ 2832653 w 10693106"/>
              <a:gd name="connsiteY27-18566" fmla="*/ 167996 h 5292022"/>
              <a:gd name="connsiteX28-18567" fmla="*/ 3002294 w 10693106"/>
              <a:gd name="connsiteY28-18568" fmla="*/ 154680 h 5292022"/>
              <a:gd name="connsiteX29-18569" fmla="*/ 3142763 w 10693106"/>
              <a:gd name="connsiteY29-18570" fmla="*/ 110421 h 5292022"/>
              <a:gd name="connsiteX30-18571" fmla="*/ 3398918 w 10693106"/>
              <a:gd name="connsiteY30-18572" fmla="*/ 72322 h 5292022"/>
              <a:gd name="connsiteX31-18573" fmla="*/ 3606506 w 10693106"/>
              <a:gd name="connsiteY31-18574" fmla="*/ 60393 h 5292022"/>
              <a:gd name="connsiteX32-18575" fmla="*/ 3682706 w 10693106"/>
              <a:gd name="connsiteY32-18576" fmla="*/ 79942 h 5292022"/>
              <a:gd name="connsiteX33-18577" fmla="*/ 3741973 w 10693106"/>
              <a:gd name="connsiteY33-18578" fmla="*/ 86561 h 5292022"/>
              <a:gd name="connsiteX34-18579" fmla="*/ 3794678 w 10693106"/>
              <a:gd name="connsiteY34-18580" fmla="*/ 101321 h 5292022"/>
              <a:gd name="connsiteX35-18581" fmla="*/ 3833625 w 10693106"/>
              <a:gd name="connsiteY35-18582" fmla="*/ 110846 h 5292022"/>
              <a:gd name="connsiteX36-18583" fmla="*/ 3892487 w 10693106"/>
              <a:gd name="connsiteY36-18584" fmla="*/ 116984 h 5292022"/>
              <a:gd name="connsiteX37-18585" fmla="*/ 3933108 w 10693106"/>
              <a:gd name="connsiteY37-18586" fmla="*/ 128837 h 5292022"/>
              <a:gd name="connsiteX38-18587" fmla="*/ 3976923 w 10693106"/>
              <a:gd name="connsiteY38-18588" fmla="*/ 135187 h 5292022"/>
              <a:gd name="connsiteX39-18589" fmla="*/ 4021373 w 10693106"/>
              <a:gd name="connsiteY39-18590" fmla="*/ 144289 h 5292022"/>
              <a:gd name="connsiteX40-18591" fmla="*/ 4055240 w 10693106"/>
              <a:gd name="connsiteY40-18592" fmla="*/ 152756 h 5292022"/>
              <a:gd name="connsiteX41-18593" fmla="*/ 4275373 w 10693106"/>
              <a:gd name="connsiteY41-18594" fmla="*/ 195089 h 5292022"/>
              <a:gd name="connsiteX42-18595" fmla="*/ 4402373 w 10693106"/>
              <a:gd name="connsiteY42-18596" fmla="*/ 228956 h 5292022"/>
              <a:gd name="connsiteX43-18597" fmla="*/ 4529373 w 10693106"/>
              <a:gd name="connsiteY43-18598" fmla="*/ 271289 h 5292022"/>
              <a:gd name="connsiteX44-18599" fmla="*/ 4859573 w 10693106"/>
              <a:gd name="connsiteY44-18600" fmla="*/ 347489 h 5292022"/>
              <a:gd name="connsiteX45-18601" fmla="*/ 5045840 w 10693106"/>
              <a:gd name="connsiteY45-18602" fmla="*/ 423689 h 5292022"/>
              <a:gd name="connsiteX46-18603" fmla="*/ 5325240 w 10693106"/>
              <a:gd name="connsiteY46-18604" fmla="*/ 584556 h 5292022"/>
              <a:gd name="connsiteX47-18605" fmla="*/ 5494573 w 10693106"/>
              <a:gd name="connsiteY47-18606" fmla="*/ 736956 h 5292022"/>
              <a:gd name="connsiteX48-18607" fmla="*/ 5562306 w 10693106"/>
              <a:gd name="connsiteY48-18608" fmla="*/ 813156 h 5292022"/>
              <a:gd name="connsiteX49-18609" fmla="*/ 5621573 w 10693106"/>
              <a:gd name="connsiteY49-18610" fmla="*/ 863956 h 5292022"/>
              <a:gd name="connsiteX50-18611" fmla="*/ 5672373 w 10693106"/>
              <a:gd name="connsiteY50-18612" fmla="*/ 931689 h 5292022"/>
              <a:gd name="connsiteX51-18613" fmla="*/ 5757040 w 10693106"/>
              <a:gd name="connsiteY51-18614" fmla="*/ 1033289 h 5292022"/>
              <a:gd name="connsiteX52-18615" fmla="*/ 5833240 w 10693106"/>
              <a:gd name="connsiteY52-18616" fmla="*/ 1126422 h 5292022"/>
              <a:gd name="connsiteX53-18617" fmla="*/ 6519040 w 10693106"/>
              <a:gd name="connsiteY53-18618" fmla="*/ 1702156 h 5292022"/>
              <a:gd name="connsiteX54-18619" fmla="*/ 6603706 w 10693106"/>
              <a:gd name="connsiteY54-18620" fmla="*/ 1736022 h 5292022"/>
              <a:gd name="connsiteX55-18621" fmla="*/ 6671440 w 10693106"/>
              <a:gd name="connsiteY55-18622" fmla="*/ 1769889 h 5292022"/>
              <a:gd name="connsiteX56-18623" fmla="*/ 6866173 w 10693106"/>
              <a:gd name="connsiteY56-18624" fmla="*/ 1795289 h 5292022"/>
              <a:gd name="connsiteX57-18625" fmla="*/ 7196373 w 10693106"/>
              <a:gd name="connsiteY57-18626" fmla="*/ 1778356 h 5292022"/>
              <a:gd name="connsiteX58-18627" fmla="*/ 7509640 w 10693106"/>
              <a:gd name="connsiteY58-18628" fmla="*/ 1702156 h 5292022"/>
              <a:gd name="connsiteX59-18629" fmla="*/ 7628173 w 10693106"/>
              <a:gd name="connsiteY59-18630" fmla="*/ 1676756 h 5292022"/>
              <a:gd name="connsiteX60-18631" fmla="*/ 7704373 w 10693106"/>
              <a:gd name="connsiteY60-18632" fmla="*/ 1634422 h 5292022"/>
              <a:gd name="connsiteX61-18633" fmla="*/ 7755173 w 10693106"/>
              <a:gd name="connsiteY61-18634" fmla="*/ 1625956 h 5292022"/>
              <a:gd name="connsiteX62-18635" fmla="*/ 7797506 w 10693106"/>
              <a:gd name="connsiteY62-18636" fmla="*/ 1592089 h 5292022"/>
              <a:gd name="connsiteX63-18637" fmla="*/ 7856773 w 10693106"/>
              <a:gd name="connsiteY63-18638" fmla="*/ 1575156 h 5292022"/>
              <a:gd name="connsiteX64-18639" fmla="*/ 7958373 w 10693106"/>
              <a:gd name="connsiteY64-18640" fmla="*/ 1507422 h 5292022"/>
              <a:gd name="connsiteX65-18641" fmla="*/ 8009173 w 10693106"/>
              <a:gd name="connsiteY65-18642" fmla="*/ 1456622 h 5292022"/>
              <a:gd name="connsiteX66-18643" fmla="*/ 8339373 w 10693106"/>
              <a:gd name="connsiteY66-18644" fmla="*/ 1211089 h 5292022"/>
              <a:gd name="connsiteX67-18645" fmla="*/ 8576440 w 10693106"/>
              <a:gd name="connsiteY67-18646" fmla="*/ 957089 h 5292022"/>
              <a:gd name="connsiteX68-18647" fmla="*/ 8652640 w 10693106"/>
              <a:gd name="connsiteY68-18648" fmla="*/ 677689 h 5292022"/>
              <a:gd name="connsiteX69-18649" fmla="*/ 8847373 w 10693106"/>
              <a:gd name="connsiteY69-18650" fmla="*/ 491422 h 5292022"/>
              <a:gd name="connsiteX70-18651" fmla="*/ 8982840 w 10693106"/>
              <a:gd name="connsiteY70-18652" fmla="*/ 398289 h 5292022"/>
              <a:gd name="connsiteX71-18653" fmla="*/ 9084440 w 10693106"/>
              <a:gd name="connsiteY71-18654" fmla="*/ 364422 h 5292022"/>
              <a:gd name="connsiteX72-18655" fmla="*/ 9152173 w 10693106"/>
              <a:gd name="connsiteY72-18656" fmla="*/ 339022 h 5292022"/>
              <a:gd name="connsiteX73-18657" fmla="*/ 9380773 w 10693106"/>
              <a:gd name="connsiteY73-18658" fmla="*/ 355956 h 5292022"/>
              <a:gd name="connsiteX74-18659" fmla="*/ 9744840 w 10693106"/>
              <a:gd name="connsiteY74-18660" fmla="*/ 466022 h 5292022"/>
              <a:gd name="connsiteX75-18661" fmla="*/ 9888773 w 10693106"/>
              <a:gd name="connsiteY75-18662" fmla="*/ 508356 h 5292022"/>
              <a:gd name="connsiteX76-18663" fmla="*/ 9998840 w 10693106"/>
              <a:gd name="connsiteY76-18664" fmla="*/ 559156 h 5292022"/>
              <a:gd name="connsiteX77-18665" fmla="*/ 10083506 w 10693106"/>
              <a:gd name="connsiteY77-18666" fmla="*/ 618422 h 5292022"/>
              <a:gd name="connsiteX78-18667" fmla="*/ 10286706 w 10693106"/>
              <a:gd name="connsiteY78-18668" fmla="*/ 686156 h 5292022"/>
              <a:gd name="connsiteX79-18669" fmla="*/ 10388306 w 10693106"/>
              <a:gd name="connsiteY79-18670" fmla="*/ 889356 h 5292022"/>
              <a:gd name="connsiteX80-18671" fmla="*/ 10540706 w 10693106"/>
              <a:gd name="connsiteY80-18672" fmla="*/ 1261889 h 5292022"/>
              <a:gd name="connsiteX81-18673" fmla="*/ 10557640 w 10693106"/>
              <a:gd name="connsiteY81-18674" fmla="*/ 1346556 h 5292022"/>
              <a:gd name="connsiteX82-18675" fmla="*/ 10583040 w 10693106"/>
              <a:gd name="connsiteY82-18676" fmla="*/ 1448156 h 5292022"/>
              <a:gd name="connsiteX83-18677" fmla="*/ 10616906 w 10693106"/>
              <a:gd name="connsiteY83-18678" fmla="*/ 1651356 h 5292022"/>
              <a:gd name="connsiteX84-18679" fmla="*/ 10633840 w 10693106"/>
              <a:gd name="connsiteY84-18680" fmla="*/ 1736022 h 5292022"/>
              <a:gd name="connsiteX85-18681" fmla="*/ 10650773 w 10693106"/>
              <a:gd name="connsiteY85-18682" fmla="*/ 1769889 h 5292022"/>
              <a:gd name="connsiteX86-18683" fmla="*/ 10676173 w 10693106"/>
              <a:gd name="connsiteY86-18684" fmla="*/ 1854556 h 5292022"/>
              <a:gd name="connsiteX87-18685" fmla="*/ 10693106 w 10693106"/>
              <a:gd name="connsiteY87-18686" fmla="*/ 2006956 h 5292022"/>
              <a:gd name="connsiteX88-18687" fmla="*/ 10625373 w 10693106"/>
              <a:gd name="connsiteY88-18688" fmla="*/ 2227089 h 5292022"/>
              <a:gd name="connsiteX89-18689" fmla="*/ 10608440 w 10693106"/>
              <a:gd name="connsiteY89-18690" fmla="*/ 2252489 h 5292022"/>
              <a:gd name="connsiteX90-18691" fmla="*/ 10540706 w 10693106"/>
              <a:gd name="connsiteY90-18692" fmla="*/ 2396422 h 5292022"/>
              <a:gd name="connsiteX91-18693" fmla="*/ 10498373 w 10693106"/>
              <a:gd name="connsiteY91-18694" fmla="*/ 2481089 h 5292022"/>
              <a:gd name="connsiteX92-18695" fmla="*/ 10439106 w 10693106"/>
              <a:gd name="connsiteY92-18696" fmla="*/ 2667356 h 5292022"/>
              <a:gd name="connsiteX93-18697" fmla="*/ 10430640 w 10693106"/>
              <a:gd name="connsiteY93-18698" fmla="*/ 2709689 h 5292022"/>
              <a:gd name="connsiteX94-18699" fmla="*/ 10405240 w 10693106"/>
              <a:gd name="connsiteY94-18700" fmla="*/ 2785889 h 5292022"/>
              <a:gd name="connsiteX95-18701" fmla="*/ 10396773 w 10693106"/>
              <a:gd name="connsiteY95-18702" fmla="*/ 2819756 h 5292022"/>
              <a:gd name="connsiteX96-18703" fmla="*/ 10362906 w 10693106"/>
              <a:gd name="connsiteY96-18704" fmla="*/ 2912889 h 5292022"/>
              <a:gd name="connsiteX97-18705" fmla="*/ 10329040 w 10693106"/>
              <a:gd name="connsiteY97-18706" fmla="*/ 2955222 h 5292022"/>
              <a:gd name="connsiteX98-18707" fmla="*/ 10227440 w 10693106"/>
              <a:gd name="connsiteY98-18708" fmla="*/ 3056822 h 5292022"/>
              <a:gd name="connsiteX99-18709" fmla="*/ 10168173 w 10693106"/>
              <a:gd name="connsiteY99-18710" fmla="*/ 3124556 h 5292022"/>
              <a:gd name="connsiteX100-18711" fmla="*/ 10117373 w 10693106"/>
              <a:gd name="connsiteY100-18712" fmla="*/ 3175356 h 5292022"/>
              <a:gd name="connsiteX101-18713" fmla="*/ 10032706 w 10693106"/>
              <a:gd name="connsiteY101-18714" fmla="*/ 3276956 h 5292022"/>
              <a:gd name="connsiteX102-18715" fmla="*/ 9948040 w 10693106"/>
              <a:gd name="connsiteY102-18716" fmla="*/ 3336222 h 5292022"/>
              <a:gd name="connsiteX103-18717" fmla="*/ 9905706 w 10693106"/>
              <a:gd name="connsiteY103-18718" fmla="*/ 3361622 h 5292022"/>
              <a:gd name="connsiteX104-18719" fmla="*/ 9829506 w 10693106"/>
              <a:gd name="connsiteY104-18720" fmla="*/ 3378556 h 5292022"/>
              <a:gd name="connsiteX105-18721" fmla="*/ 9727906 w 10693106"/>
              <a:gd name="connsiteY105-18722" fmla="*/ 3420889 h 5292022"/>
              <a:gd name="connsiteX106-18723" fmla="*/ 9634773 w 10693106"/>
              <a:gd name="connsiteY106-18724" fmla="*/ 3446289 h 5292022"/>
              <a:gd name="connsiteX107-18725" fmla="*/ 9456973 w 10693106"/>
              <a:gd name="connsiteY107-18726" fmla="*/ 3539422 h 5292022"/>
              <a:gd name="connsiteX108-18727" fmla="*/ 9313040 w 10693106"/>
              <a:gd name="connsiteY108-18728" fmla="*/ 3666422 h 5292022"/>
              <a:gd name="connsiteX109-18729" fmla="*/ 9279173 w 10693106"/>
              <a:gd name="connsiteY109-18730" fmla="*/ 3683356 h 5292022"/>
              <a:gd name="connsiteX110-18731" fmla="*/ 9067506 w 10693106"/>
              <a:gd name="connsiteY110-18732" fmla="*/ 3861156 h 5292022"/>
              <a:gd name="connsiteX111-18733" fmla="*/ 8999773 w 10693106"/>
              <a:gd name="connsiteY111-18734" fmla="*/ 3928889 h 5292022"/>
              <a:gd name="connsiteX112-18735" fmla="*/ 8813506 w 10693106"/>
              <a:gd name="connsiteY112-18736" fmla="*/ 4064356 h 5292022"/>
              <a:gd name="connsiteX113-18737" fmla="*/ 8728840 w 10693106"/>
              <a:gd name="connsiteY113-18738" fmla="*/ 4106689 h 5292022"/>
              <a:gd name="connsiteX114-18739" fmla="*/ 8373240 w 10693106"/>
              <a:gd name="connsiteY114-18740" fmla="*/ 4140556 h 5292022"/>
              <a:gd name="connsiteX115-18741" fmla="*/ 7966840 w 10693106"/>
              <a:gd name="connsiteY115-18742" fmla="*/ 4233689 h 5292022"/>
              <a:gd name="connsiteX116-18743" fmla="*/ 7687440 w 10693106"/>
              <a:gd name="connsiteY116-18744" fmla="*/ 4394556 h 5292022"/>
              <a:gd name="connsiteX117-18745" fmla="*/ 7551973 w 10693106"/>
              <a:gd name="connsiteY117-18746" fmla="*/ 4479222 h 5292022"/>
              <a:gd name="connsiteX118-18747" fmla="*/ 7374173 w 10693106"/>
              <a:gd name="connsiteY118-18748" fmla="*/ 4657022 h 5292022"/>
              <a:gd name="connsiteX119-18749" fmla="*/ 7374173 w 10693106"/>
              <a:gd name="connsiteY119-18750" fmla="*/ 4657022 h 5292022"/>
              <a:gd name="connsiteX120-18751" fmla="*/ 7221773 w 10693106"/>
              <a:gd name="connsiteY120-18752" fmla="*/ 4775556 h 5292022"/>
              <a:gd name="connsiteX121-18753" fmla="*/ 7027040 w 10693106"/>
              <a:gd name="connsiteY121-18754" fmla="*/ 4902556 h 5292022"/>
              <a:gd name="connsiteX122-18755" fmla="*/ 6883106 w 10693106"/>
              <a:gd name="connsiteY122-18756" fmla="*/ 4970289 h 5292022"/>
              <a:gd name="connsiteX123-18757" fmla="*/ 6815373 w 10693106"/>
              <a:gd name="connsiteY123-18758" fmla="*/ 5012622 h 5292022"/>
              <a:gd name="connsiteX124-18759" fmla="*/ 6646040 w 10693106"/>
              <a:gd name="connsiteY124-18760" fmla="*/ 5105756 h 5292022"/>
              <a:gd name="connsiteX125-18761" fmla="*/ 6527506 w 10693106"/>
              <a:gd name="connsiteY125-18762" fmla="*/ 5165022 h 5292022"/>
              <a:gd name="connsiteX126-18763" fmla="*/ 6298906 w 10693106"/>
              <a:gd name="connsiteY126-18764" fmla="*/ 5241222 h 5292022"/>
              <a:gd name="connsiteX127-18765" fmla="*/ 6197306 w 10693106"/>
              <a:gd name="connsiteY127-18766" fmla="*/ 5266622 h 5292022"/>
              <a:gd name="connsiteX128-18767" fmla="*/ 6061840 w 10693106"/>
              <a:gd name="connsiteY128-18768" fmla="*/ 5275089 h 5292022"/>
              <a:gd name="connsiteX129-18769" fmla="*/ 5917906 w 10693106"/>
              <a:gd name="connsiteY129-18770" fmla="*/ 5292022 h 5292022"/>
              <a:gd name="connsiteX130-18771" fmla="*/ 5748573 w 10693106"/>
              <a:gd name="connsiteY130-18772" fmla="*/ 5283556 h 5292022"/>
              <a:gd name="connsiteX131-18773" fmla="*/ 5282906 w 10693106"/>
              <a:gd name="connsiteY131-18774" fmla="*/ 5173489 h 5292022"/>
              <a:gd name="connsiteX132-18775" fmla="*/ 5138973 w 10693106"/>
              <a:gd name="connsiteY132-18776" fmla="*/ 5071889 h 5292022"/>
              <a:gd name="connsiteX133-18777" fmla="*/ 4959480 w 10693106"/>
              <a:gd name="connsiteY133-18778" fmla="*/ 4988069 h 5292022"/>
              <a:gd name="connsiteX134-18779" fmla="*/ 4842216 w 10693106"/>
              <a:gd name="connsiteY134-18780" fmla="*/ 4953779 h 5292022"/>
              <a:gd name="connsiteX135-18781" fmla="*/ 4797343 w 10693106"/>
              <a:gd name="connsiteY135-18782" fmla="*/ 4878426 h 5292022"/>
              <a:gd name="connsiteX136-18783" fmla="*/ 4686853 w 10693106"/>
              <a:gd name="connsiteY136-18784" fmla="*/ 4788256 h 5292022"/>
              <a:gd name="connsiteX137-18785" fmla="*/ 4536146 w 10693106"/>
              <a:gd name="connsiteY137-18786" fmla="*/ 4712902 h 5292022"/>
              <a:gd name="connsiteX138-18787" fmla="*/ 4365120 w 10693106"/>
              <a:gd name="connsiteY138-18788" fmla="*/ 4616382 h 5292022"/>
              <a:gd name="connsiteX139-18789" fmla="*/ 4187743 w 10693106"/>
              <a:gd name="connsiteY139-18790" fmla="*/ 4521556 h 5292022"/>
              <a:gd name="connsiteX140-18791" fmla="*/ 4125936 w 10693106"/>
              <a:gd name="connsiteY140-18792" fmla="*/ 4386724 h 5292022"/>
              <a:gd name="connsiteX141-18793" fmla="*/ 3995973 w 10693106"/>
              <a:gd name="connsiteY141-18794" fmla="*/ 4232419 h 5292022"/>
              <a:gd name="connsiteX142-18795" fmla="*/ 3962530 w 10693106"/>
              <a:gd name="connsiteY142-18796" fmla="*/ 4135052 h 5292022"/>
              <a:gd name="connsiteX143-18797" fmla="*/ 3895643 w 10693106"/>
              <a:gd name="connsiteY143-18798" fmla="*/ 4059699 h 5292022"/>
              <a:gd name="connsiteX144-18799" fmla="*/ 3919773 w 10693106"/>
              <a:gd name="connsiteY144-18800" fmla="*/ 3920422 h 5292022"/>
              <a:gd name="connsiteX145-18801" fmla="*/ 3877440 w 10693106"/>
              <a:gd name="connsiteY145-18802" fmla="*/ 3624089 h 5292022"/>
              <a:gd name="connsiteX146-18803" fmla="*/ 3852040 w 10693106"/>
              <a:gd name="connsiteY146-18804" fmla="*/ 3530956 h 5292022"/>
              <a:gd name="connsiteX147-18805" fmla="*/ 3801240 w 10693106"/>
              <a:gd name="connsiteY147-18806" fmla="*/ 3420889 h 5292022"/>
              <a:gd name="connsiteX148-18807" fmla="*/ 3733506 w 10693106"/>
              <a:gd name="connsiteY148-18808" fmla="*/ 3319289 h 5292022"/>
              <a:gd name="connsiteX149-18809" fmla="*/ 3242440 w 10693106"/>
              <a:gd name="connsiteY149-18810" fmla="*/ 3099156 h 5292022"/>
              <a:gd name="connsiteX150-18811" fmla="*/ 3123906 w 10693106"/>
              <a:gd name="connsiteY150-18812" fmla="*/ 2997556 h 5292022"/>
              <a:gd name="connsiteX151-18813" fmla="*/ 2988440 w 10693106"/>
              <a:gd name="connsiteY151-18814" fmla="*/ 2802822 h 5292022"/>
              <a:gd name="connsiteX152-18815" fmla="*/ 2971506 w 10693106"/>
              <a:gd name="connsiteY152-18816" fmla="*/ 2743556 h 5292022"/>
              <a:gd name="connsiteX153-18817" fmla="*/ 2996906 w 10693106"/>
              <a:gd name="connsiteY153-18818" fmla="*/ 2531889 h 5292022"/>
              <a:gd name="connsiteX154-18819" fmla="*/ 3013840 w 10693106"/>
              <a:gd name="connsiteY154-18820" fmla="*/ 2430289 h 5292022"/>
              <a:gd name="connsiteX155-18821" fmla="*/ 3005373 w 10693106"/>
              <a:gd name="connsiteY155-18822" fmla="*/ 2311756 h 5292022"/>
              <a:gd name="connsiteX156-18823" fmla="*/ 2988440 w 10693106"/>
              <a:gd name="connsiteY156-18824" fmla="*/ 2260956 h 5292022"/>
              <a:gd name="connsiteX157-18825" fmla="*/ 2802173 w 10693106"/>
              <a:gd name="connsiteY157-18826" fmla="*/ 2006956 h 5292022"/>
              <a:gd name="connsiteX158-18827" fmla="*/ 2641306 w 10693106"/>
              <a:gd name="connsiteY158-18828" fmla="*/ 1863022 h 5292022"/>
              <a:gd name="connsiteX159-18829" fmla="*/ 2590506 w 10693106"/>
              <a:gd name="connsiteY159-18830" fmla="*/ 1837622 h 5292022"/>
              <a:gd name="connsiteX160-18831" fmla="*/ 2531240 w 10693106"/>
              <a:gd name="connsiteY160-18832" fmla="*/ 1829156 h 5292022"/>
              <a:gd name="connsiteX161-18833" fmla="*/ 2446573 w 10693106"/>
              <a:gd name="connsiteY161-18834" fmla="*/ 1812222 h 5292022"/>
              <a:gd name="connsiteX162-18835" fmla="*/ 2251840 w 10693106"/>
              <a:gd name="connsiteY162-18836" fmla="*/ 1837622 h 5292022"/>
              <a:gd name="connsiteX163-18837" fmla="*/ 2167173 w 10693106"/>
              <a:gd name="connsiteY163-18838" fmla="*/ 1879956 h 5292022"/>
              <a:gd name="connsiteX164-18839" fmla="*/ 1980906 w 10693106"/>
              <a:gd name="connsiteY164-18840" fmla="*/ 1939222 h 5292022"/>
              <a:gd name="connsiteX165-18841" fmla="*/ 1904706 w 10693106"/>
              <a:gd name="connsiteY165-18842" fmla="*/ 1973089 h 5292022"/>
              <a:gd name="connsiteX166-18843" fmla="*/ 1828506 w 10693106"/>
              <a:gd name="connsiteY166-18844" fmla="*/ 1990022 h 5292022"/>
              <a:gd name="connsiteX167-18845" fmla="*/ 1726906 w 10693106"/>
              <a:gd name="connsiteY167-18846" fmla="*/ 2040822 h 5292022"/>
              <a:gd name="connsiteX168-18847" fmla="*/ 1659173 w 10693106"/>
              <a:gd name="connsiteY168-18848" fmla="*/ 2074689 h 5292022"/>
              <a:gd name="connsiteX169-18849" fmla="*/ 1498306 w 10693106"/>
              <a:gd name="connsiteY169-18850" fmla="*/ 2100089 h 5292022"/>
              <a:gd name="connsiteX170-18851" fmla="*/ 914106 w 10693106"/>
              <a:gd name="connsiteY170-18852" fmla="*/ 2032356 h 5292022"/>
              <a:gd name="connsiteX171-18853" fmla="*/ 617773 w 10693106"/>
              <a:gd name="connsiteY171-18854" fmla="*/ 1922289 h 5292022"/>
              <a:gd name="connsiteX172-18855" fmla="*/ 516173 w 10693106"/>
              <a:gd name="connsiteY172-18856" fmla="*/ 1837622 h 5292022"/>
              <a:gd name="connsiteX173-18857" fmla="*/ 355306 w 10693106"/>
              <a:gd name="connsiteY173-18858" fmla="*/ 1625956 h 5292022"/>
              <a:gd name="connsiteX174-18859" fmla="*/ 296040 w 10693106"/>
              <a:gd name="connsiteY174-18860" fmla="*/ 1524356 h 5292022"/>
              <a:gd name="connsiteX175-18861" fmla="*/ 253706 w 10693106"/>
              <a:gd name="connsiteY175-18862" fmla="*/ 1346556 h 5292022"/>
              <a:gd name="connsiteX176-18863" fmla="*/ 245240 w 10693106"/>
              <a:gd name="connsiteY176-18864" fmla="*/ 1219556 h 5292022"/>
              <a:gd name="connsiteX177-18865" fmla="*/ 236773 w 10693106"/>
              <a:gd name="connsiteY177-18866" fmla="*/ 1117956 h 5292022"/>
              <a:gd name="connsiteX178-18867" fmla="*/ 245240 w 10693106"/>
              <a:gd name="connsiteY178-18868" fmla="*/ 847022 h 5292022"/>
              <a:gd name="connsiteX179-18869" fmla="*/ 236773 w 10693106"/>
              <a:gd name="connsiteY179-18870" fmla="*/ 703089 h 5292022"/>
              <a:gd name="connsiteX180-18871" fmla="*/ 109773 w 10693106"/>
              <a:gd name="connsiteY180-18872" fmla="*/ 559156 h 5292022"/>
              <a:gd name="connsiteX181-18873" fmla="*/ 58973 w 10693106"/>
              <a:gd name="connsiteY181-18874" fmla="*/ 482956 h 5292022"/>
              <a:gd name="connsiteX182-18875" fmla="*/ 16640 w 10693106"/>
              <a:gd name="connsiteY182-18876" fmla="*/ 432156 h 5292022"/>
              <a:gd name="connsiteX183-18877" fmla="*/ 8173 w 10693106"/>
              <a:gd name="connsiteY183-18878" fmla="*/ 389822 h 5292022"/>
              <a:gd name="connsiteX184-18879" fmla="*/ 16640 w 10693106"/>
              <a:gd name="connsiteY184-18880" fmla="*/ 339022 h 5292022"/>
              <a:gd name="connsiteX0-18881" fmla="*/ 16640 w 10693106"/>
              <a:gd name="connsiteY0-18882" fmla="*/ 339022 h 5292022"/>
              <a:gd name="connsiteX1-18883" fmla="*/ 58973 w 10693106"/>
              <a:gd name="connsiteY1-18884" fmla="*/ 245889 h 5292022"/>
              <a:gd name="connsiteX2-18885" fmla="*/ 109773 w 10693106"/>
              <a:gd name="connsiteY2-18886" fmla="*/ 178156 h 5292022"/>
              <a:gd name="connsiteX3-18887" fmla="*/ 202906 w 10693106"/>
              <a:gd name="connsiteY3-18888" fmla="*/ 93489 h 5292022"/>
              <a:gd name="connsiteX4-18889" fmla="*/ 236773 w 10693106"/>
              <a:gd name="connsiteY4-18890" fmla="*/ 68089 h 5292022"/>
              <a:gd name="connsiteX5-18891" fmla="*/ 335410 w 10693106"/>
              <a:gd name="connsiteY5-18892" fmla="*/ 58352 h 5292022"/>
              <a:gd name="connsiteX6-18893" fmla="*/ 382400 w 10693106"/>
              <a:gd name="connsiteY6-18894" fmla="*/ 51156 h 5292022"/>
              <a:gd name="connsiteX7-18895" fmla="*/ 434912 w 10693106"/>
              <a:gd name="connsiteY7-18896" fmla="*/ 70071 h 5292022"/>
              <a:gd name="connsiteX8-18897" fmla="*/ 492697 w 10693106"/>
              <a:gd name="connsiteY8-18898" fmla="*/ 74247 h 5292022"/>
              <a:gd name="connsiteX9-18899" fmla="*/ 822897 w 10693106"/>
              <a:gd name="connsiteY9-18900" fmla="*/ 82713 h 5292022"/>
              <a:gd name="connsiteX10-18901" fmla="*/ 1091906 w 10693106"/>
              <a:gd name="connsiteY10-18902" fmla="*/ 356 h 5292022"/>
              <a:gd name="connsiteX11-18903" fmla="*/ 1235840 w 10693106"/>
              <a:gd name="connsiteY11-18904" fmla="*/ 59622 h 5292022"/>
              <a:gd name="connsiteX12-18905" fmla="*/ 1337440 w 10693106"/>
              <a:gd name="connsiteY12-18906" fmla="*/ 135822 h 5292022"/>
              <a:gd name="connsiteX13-18907" fmla="*/ 1422106 w 10693106"/>
              <a:gd name="connsiteY13-18908" fmla="*/ 245889 h 5292022"/>
              <a:gd name="connsiteX14-18909" fmla="*/ 1481373 w 10693106"/>
              <a:gd name="connsiteY14-18910" fmla="*/ 313622 h 5292022"/>
              <a:gd name="connsiteX15-18911" fmla="*/ 1532173 w 10693106"/>
              <a:gd name="connsiteY15-18912" fmla="*/ 347489 h 5292022"/>
              <a:gd name="connsiteX16-18913" fmla="*/ 1684573 w 10693106"/>
              <a:gd name="connsiteY16-18914" fmla="*/ 406756 h 5292022"/>
              <a:gd name="connsiteX17-18915" fmla="*/ 1760773 w 10693106"/>
              <a:gd name="connsiteY17-18916" fmla="*/ 423689 h 5292022"/>
              <a:gd name="connsiteX18-18917" fmla="*/ 1997840 w 10693106"/>
              <a:gd name="connsiteY18-18918" fmla="*/ 415222 h 5292022"/>
              <a:gd name="connsiteX19-18919" fmla="*/ 2116373 w 10693106"/>
              <a:gd name="connsiteY19-18920" fmla="*/ 398289 h 5292022"/>
              <a:gd name="connsiteX20-18921" fmla="*/ 2260306 w 10693106"/>
              <a:gd name="connsiteY20-18922" fmla="*/ 381356 h 5292022"/>
              <a:gd name="connsiteX21-18923" fmla="*/ 2404240 w 10693106"/>
              <a:gd name="connsiteY21-18924" fmla="*/ 355956 h 5292022"/>
              <a:gd name="connsiteX22-18925" fmla="*/ 2455040 w 10693106"/>
              <a:gd name="connsiteY22-18926" fmla="*/ 330556 h 5292022"/>
              <a:gd name="connsiteX23-18927" fmla="*/ 2531240 w 10693106"/>
              <a:gd name="connsiteY23-18928" fmla="*/ 305156 h 5292022"/>
              <a:gd name="connsiteX24-18929" fmla="*/ 2649350 w 10693106"/>
              <a:gd name="connsiteY24-18930" fmla="*/ 225781 h 5292022"/>
              <a:gd name="connsiteX25-18931" fmla="*/ 2742906 w 10693106"/>
              <a:gd name="connsiteY25-18932" fmla="*/ 186622 h 5292022"/>
              <a:gd name="connsiteX26-18933" fmla="*/ 2764920 w 10693106"/>
              <a:gd name="connsiteY26-18934" fmla="*/ 173076 h 5292022"/>
              <a:gd name="connsiteX27-18935" fmla="*/ 2832653 w 10693106"/>
              <a:gd name="connsiteY27-18936" fmla="*/ 167996 h 5292022"/>
              <a:gd name="connsiteX28-18937" fmla="*/ 3002294 w 10693106"/>
              <a:gd name="connsiteY28-18938" fmla="*/ 154680 h 5292022"/>
              <a:gd name="connsiteX29-18939" fmla="*/ 3142763 w 10693106"/>
              <a:gd name="connsiteY29-18940" fmla="*/ 110421 h 5292022"/>
              <a:gd name="connsiteX30-18941" fmla="*/ 3398918 w 10693106"/>
              <a:gd name="connsiteY30-18942" fmla="*/ 72322 h 5292022"/>
              <a:gd name="connsiteX31-18943" fmla="*/ 3606506 w 10693106"/>
              <a:gd name="connsiteY31-18944" fmla="*/ 60393 h 5292022"/>
              <a:gd name="connsiteX32-18945" fmla="*/ 3682706 w 10693106"/>
              <a:gd name="connsiteY32-18946" fmla="*/ 79942 h 5292022"/>
              <a:gd name="connsiteX33-18947" fmla="*/ 3741973 w 10693106"/>
              <a:gd name="connsiteY33-18948" fmla="*/ 86561 h 5292022"/>
              <a:gd name="connsiteX34-18949" fmla="*/ 3794678 w 10693106"/>
              <a:gd name="connsiteY34-18950" fmla="*/ 101321 h 5292022"/>
              <a:gd name="connsiteX35-18951" fmla="*/ 3833625 w 10693106"/>
              <a:gd name="connsiteY35-18952" fmla="*/ 110846 h 5292022"/>
              <a:gd name="connsiteX36-18953" fmla="*/ 3892487 w 10693106"/>
              <a:gd name="connsiteY36-18954" fmla="*/ 116984 h 5292022"/>
              <a:gd name="connsiteX37-18955" fmla="*/ 3933108 w 10693106"/>
              <a:gd name="connsiteY37-18956" fmla="*/ 128837 h 5292022"/>
              <a:gd name="connsiteX38-18957" fmla="*/ 3976923 w 10693106"/>
              <a:gd name="connsiteY38-18958" fmla="*/ 135187 h 5292022"/>
              <a:gd name="connsiteX39-18959" fmla="*/ 4021373 w 10693106"/>
              <a:gd name="connsiteY39-18960" fmla="*/ 144289 h 5292022"/>
              <a:gd name="connsiteX40-18961" fmla="*/ 4055240 w 10693106"/>
              <a:gd name="connsiteY40-18962" fmla="*/ 152756 h 5292022"/>
              <a:gd name="connsiteX41-18963" fmla="*/ 4275373 w 10693106"/>
              <a:gd name="connsiteY41-18964" fmla="*/ 195089 h 5292022"/>
              <a:gd name="connsiteX42-18965" fmla="*/ 4402373 w 10693106"/>
              <a:gd name="connsiteY42-18966" fmla="*/ 228956 h 5292022"/>
              <a:gd name="connsiteX43-18967" fmla="*/ 4529373 w 10693106"/>
              <a:gd name="connsiteY43-18968" fmla="*/ 271289 h 5292022"/>
              <a:gd name="connsiteX44-18969" fmla="*/ 4859573 w 10693106"/>
              <a:gd name="connsiteY44-18970" fmla="*/ 347489 h 5292022"/>
              <a:gd name="connsiteX45-18971" fmla="*/ 5045840 w 10693106"/>
              <a:gd name="connsiteY45-18972" fmla="*/ 423689 h 5292022"/>
              <a:gd name="connsiteX46-18973" fmla="*/ 5325240 w 10693106"/>
              <a:gd name="connsiteY46-18974" fmla="*/ 584556 h 5292022"/>
              <a:gd name="connsiteX47-18975" fmla="*/ 5494573 w 10693106"/>
              <a:gd name="connsiteY47-18976" fmla="*/ 736956 h 5292022"/>
              <a:gd name="connsiteX48-18977" fmla="*/ 5562306 w 10693106"/>
              <a:gd name="connsiteY48-18978" fmla="*/ 813156 h 5292022"/>
              <a:gd name="connsiteX49-18979" fmla="*/ 5621573 w 10693106"/>
              <a:gd name="connsiteY49-18980" fmla="*/ 863956 h 5292022"/>
              <a:gd name="connsiteX50-18981" fmla="*/ 5672373 w 10693106"/>
              <a:gd name="connsiteY50-18982" fmla="*/ 931689 h 5292022"/>
              <a:gd name="connsiteX51-18983" fmla="*/ 5757040 w 10693106"/>
              <a:gd name="connsiteY51-18984" fmla="*/ 1033289 h 5292022"/>
              <a:gd name="connsiteX52-18985" fmla="*/ 5833240 w 10693106"/>
              <a:gd name="connsiteY52-18986" fmla="*/ 1126422 h 5292022"/>
              <a:gd name="connsiteX53-18987" fmla="*/ 6603706 w 10693106"/>
              <a:gd name="connsiteY53-18988" fmla="*/ 1736022 h 5292022"/>
              <a:gd name="connsiteX54-18989" fmla="*/ 6671440 w 10693106"/>
              <a:gd name="connsiteY54-18990" fmla="*/ 1769889 h 5292022"/>
              <a:gd name="connsiteX55-18991" fmla="*/ 6866173 w 10693106"/>
              <a:gd name="connsiteY55-18992" fmla="*/ 1795289 h 5292022"/>
              <a:gd name="connsiteX56-18993" fmla="*/ 7196373 w 10693106"/>
              <a:gd name="connsiteY56-18994" fmla="*/ 1778356 h 5292022"/>
              <a:gd name="connsiteX57-18995" fmla="*/ 7509640 w 10693106"/>
              <a:gd name="connsiteY57-18996" fmla="*/ 1702156 h 5292022"/>
              <a:gd name="connsiteX58-18997" fmla="*/ 7628173 w 10693106"/>
              <a:gd name="connsiteY58-18998" fmla="*/ 1676756 h 5292022"/>
              <a:gd name="connsiteX59-18999" fmla="*/ 7704373 w 10693106"/>
              <a:gd name="connsiteY59-19000" fmla="*/ 1634422 h 5292022"/>
              <a:gd name="connsiteX60-19001" fmla="*/ 7755173 w 10693106"/>
              <a:gd name="connsiteY60-19002" fmla="*/ 1625956 h 5292022"/>
              <a:gd name="connsiteX61-19003" fmla="*/ 7797506 w 10693106"/>
              <a:gd name="connsiteY61-19004" fmla="*/ 1592089 h 5292022"/>
              <a:gd name="connsiteX62-19005" fmla="*/ 7856773 w 10693106"/>
              <a:gd name="connsiteY62-19006" fmla="*/ 1575156 h 5292022"/>
              <a:gd name="connsiteX63-19007" fmla="*/ 7958373 w 10693106"/>
              <a:gd name="connsiteY63-19008" fmla="*/ 1507422 h 5292022"/>
              <a:gd name="connsiteX64-19009" fmla="*/ 8009173 w 10693106"/>
              <a:gd name="connsiteY64-19010" fmla="*/ 1456622 h 5292022"/>
              <a:gd name="connsiteX65-19011" fmla="*/ 8339373 w 10693106"/>
              <a:gd name="connsiteY65-19012" fmla="*/ 1211089 h 5292022"/>
              <a:gd name="connsiteX66-19013" fmla="*/ 8576440 w 10693106"/>
              <a:gd name="connsiteY66-19014" fmla="*/ 957089 h 5292022"/>
              <a:gd name="connsiteX67-19015" fmla="*/ 8652640 w 10693106"/>
              <a:gd name="connsiteY67-19016" fmla="*/ 677689 h 5292022"/>
              <a:gd name="connsiteX68-19017" fmla="*/ 8847373 w 10693106"/>
              <a:gd name="connsiteY68-19018" fmla="*/ 491422 h 5292022"/>
              <a:gd name="connsiteX69-19019" fmla="*/ 8982840 w 10693106"/>
              <a:gd name="connsiteY69-19020" fmla="*/ 398289 h 5292022"/>
              <a:gd name="connsiteX70-19021" fmla="*/ 9084440 w 10693106"/>
              <a:gd name="connsiteY70-19022" fmla="*/ 364422 h 5292022"/>
              <a:gd name="connsiteX71-19023" fmla="*/ 9152173 w 10693106"/>
              <a:gd name="connsiteY71-19024" fmla="*/ 339022 h 5292022"/>
              <a:gd name="connsiteX72-19025" fmla="*/ 9380773 w 10693106"/>
              <a:gd name="connsiteY72-19026" fmla="*/ 355956 h 5292022"/>
              <a:gd name="connsiteX73-19027" fmla="*/ 9744840 w 10693106"/>
              <a:gd name="connsiteY73-19028" fmla="*/ 466022 h 5292022"/>
              <a:gd name="connsiteX74-19029" fmla="*/ 9888773 w 10693106"/>
              <a:gd name="connsiteY74-19030" fmla="*/ 508356 h 5292022"/>
              <a:gd name="connsiteX75-19031" fmla="*/ 9998840 w 10693106"/>
              <a:gd name="connsiteY75-19032" fmla="*/ 559156 h 5292022"/>
              <a:gd name="connsiteX76-19033" fmla="*/ 10083506 w 10693106"/>
              <a:gd name="connsiteY76-19034" fmla="*/ 618422 h 5292022"/>
              <a:gd name="connsiteX77-19035" fmla="*/ 10286706 w 10693106"/>
              <a:gd name="connsiteY77-19036" fmla="*/ 686156 h 5292022"/>
              <a:gd name="connsiteX78-19037" fmla="*/ 10388306 w 10693106"/>
              <a:gd name="connsiteY78-19038" fmla="*/ 889356 h 5292022"/>
              <a:gd name="connsiteX79-19039" fmla="*/ 10540706 w 10693106"/>
              <a:gd name="connsiteY79-19040" fmla="*/ 1261889 h 5292022"/>
              <a:gd name="connsiteX80-19041" fmla="*/ 10557640 w 10693106"/>
              <a:gd name="connsiteY80-19042" fmla="*/ 1346556 h 5292022"/>
              <a:gd name="connsiteX81-19043" fmla="*/ 10583040 w 10693106"/>
              <a:gd name="connsiteY81-19044" fmla="*/ 1448156 h 5292022"/>
              <a:gd name="connsiteX82-19045" fmla="*/ 10616906 w 10693106"/>
              <a:gd name="connsiteY82-19046" fmla="*/ 1651356 h 5292022"/>
              <a:gd name="connsiteX83-19047" fmla="*/ 10633840 w 10693106"/>
              <a:gd name="connsiteY83-19048" fmla="*/ 1736022 h 5292022"/>
              <a:gd name="connsiteX84-19049" fmla="*/ 10650773 w 10693106"/>
              <a:gd name="connsiteY84-19050" fmla="*/ 1769889 h 5292022"/>
              <a:gd name="connsiteX85-19051" fmla="*/ 10676173 w 10693106"/>
              <a:gd name="connsiteY85-19052" fmla="*/ 1854556 h 5292022"/>
              <a:gd name="connsiteX86-19053" fmla="*/ 10693106 w 10693106"/>
              <a:gd name="connsiteY86-19054" fmla="*/ 2006956 h 5292022"/>
              <a:gd name="connsiteX87-19055" fmla="*/ 10625373 w 10693106"/>
              <a:gd name="connsiteY87-19056" fmla="*/ 2227089 h 5292022"/>
              <a:gd name="connsiteX88-19057" fmla="*/ 10608440 w 10693106"/>
              <a:gd name="connsiteY88-19058" fmla="*/ 2252489 h 5292022"/>
              <a:gd name="connsiteX89-19059" fmla="*/ 10540706 w 10693106"/>
              <a:gd name="connsiteY89-19060" fmla="*/ 2396422 h 5292022"/>
              <a:gd name="connsiteX90-19061" fmla="*/ 10498373 w 10693106"/>
              <a:gd name="connsiteY90-19062" fmla="*/ 2481089 h 5292022"/>
              <a:gd name="connsiteX91-19063" fmla="*/ 10439106 w 10693106"/>
              <a:gd name="connsiteY91-19064" fmla="*/ 2667356 h 5292022"/>
              <a:gd name="connsiteX92-19065" fmla="*/ 10430640 w 10693106"/>
              <a:gd name="connsiteY92-19066" fmla="*/ 2709689 h 5292022"/>
              <a:gd name="connsiteX93-19067" fmla="*/ 10405240 w 10693106"/>
              <a:gd name="connsiteY93-19068" fmla="*/ 2785889 h 5292022"/>
              <a:gd name="connsiteX94-19069" fmla="*/ 10396773 w 10693106"/>
              <a:gd name="connsiteY94-19070" fmla="*/ 2819756 h 5292022"/>
              <a:gd name="connsiteX95-19071" fmla="*/ 10362906 w 10693106"/>
              <a:gd name="connsiteY95-19072" fmla="*/ 2912889 h 5292022"/>
              <a:gd name="connsiteX96-19073" fmla="*/ 10329040 w 10693106"/>
              <a:gd name="connsiteY96-19074" fmla="*/ 2955222 h 5292022"/>
              <a:gd name="connsiteX97-19075" fmla="*/ 10227440 w 10693106"/>
              <a:gd name="connsiteY97-19076" fmla="*/ 3056822 h 5292022"/>
              <a:gd name="connsiteX98-19077" fmla="*/ 10168173 w 10693106"/>
              <a:gd name="connsiteY98-19078" fmla="*/ 3124556 h 5292022"/>
              <a:gd name="connsiteX99-19079" fmla="*/ 10117373 w 10693106"/>
              <a:gd name="connsiteY99-19080" fmla="*/ 3175356 h 5292022"/>
              <a:gd name="connsiteX100-19081" fmla="*/ 10032706 w 10693106"/>
              <a:gd name="connsiteY100-19082" fmla="*/ 3276956 h 5292022"/>
              <a:gd name="connsiteX101-19083" fmla="*/ 9948040 w 10693106"/>
              <a:gd name="connsiteY101-19084" fmla="*/ 3336222 h 5292022"/>
              <a:gd name="connsiteX102-19085" fmla="*/ 9905706 w 10693106"/>
              <a:gd name="connsiteY102-19086" fmla="*/ 3361622 h 5292022"/>
              <a:gd name="connsiteX103-19087" fmla="*/ 9829506 w 10693106"/>
              <a:gd name="connsiteY103-19088" fmla="*/ 3378556 h 5292022"/>
              <a:gd name="connsiteX104-19089" fmla="*/ 9727906 w 10693106"/>
              <a:gd name="connsiteY104-19090" fmla="*/ 3420889 h 5292022"/>
              <a:gd name="connsiteX105-19091" fmla="*/ 9634773 w 10693106"/>
              <a:gd name="connsiteY105-19092" fmla="*/ 3446289 h 5292022"/>
              <a:gd name="connsiteX106-19093" fmla="*/ 9456973 w 10693106"/>
              <a:gd name="connsiteY106-19094" fmla="*/ 3539422 h 5292022"/>
              <a:gd name="connsiteX107-19095" fmla="*/ 9313040 w 10693106"/>
              <a:gd name="connsiteY107-19096" fmla="*/ 3666422 h 5292022"/>
              <a:gd name="connsiteX108-19097" fmla="*/ 9279173 w 10693106"/>
              <a:gd name="connsiteY108-19098" fmla="*/ 3683356 h 5292022"/>
              <a:gd name="connsiteX109-19099" fmla="*/ 9067506 w 10693106"/>
              <a:gd name="connsiteY109-19100" fmla="*/ 3861156 h 5292022"/>
              <a:gd name="connsiteX110-19101" fmla="*/ 8999773 w 10693106"/>
              <a:gd name="connsiteY110-19102" fmla="*/ 3928889 h 5292022"/>
              <a:gd name="connsiteX111-19103" fmla="*/ 8813506 w 10693106"/>
              <a:gd name="connsiteY111-19104" fmla="*/ 4064356 h 5292022"/>
              <a:gd name="connsiteX112-19105" fmla="*/ 8728840 w 10693106"/>
              <a:gd name="connsiteY112-19106" fmla="*/ 4106689 h 5292022"/>
              <a:gd name="connsiteX113-19107" fmla="*/ 8373240 w 10693106"/>
              <a:gd name="connsiteY113-19108" fmla="*/ 4140556 h 5292022"/>
              <a:gd name="connsiteX114-19109" fmla="*/ 7966840 w 10693106"/>
              <a:gd name="connsiteY114-19110" fmla="*/ 4233689 h 5292022"/>
              <a:gd name="connsiteX115-19111" fmla="*/ 7687440 w 10693106"/>
              <a:gd name="connsiteY115-19112" fmla="*/ 4394556 h 5292022"/>
              <a:gd name="connsiteX116-19113" fmla="*/ 7551973 w 10693106"/>
              <a:gd name="connsiteY116-19114" fmla="*/ 4479222 h 5292022"/>
              <a:gd name="connsiteX117-19115" fmla="*/ 7374173 w 10693106"/>
              <a:gd name="connsiteY117-19116" fmla="*/ 4657022 h 5292022"/>
              <a:gd name="connsiteX118-19117" fmla="*/ 7374173 w 10693106"/>
              <a:gd name="connsiteY118-19118" fmla="*/ 4657022 h 5292022"/>
              <a:gd name="connsiteX119-19119" fmla="*/ 7221773 w 10693106"/>
              <a:gd name="connsiteY119-19120" fmla="*/ 4775556 h 5292022"/>
              <a:gd name="connsiteX120-19121" fmla="*/ 7027040 w 10693106"/>
              <a:gd name="connsiteY120-19122" fmla="*/ 4902556 h 5292022"/>
              <a:gd name="connsiteX121-19123" fmla="*/ 6883106 w 10693106"/>
              <a:gd name="connsiteY121-19124" fmla="*/ 4970289 h 5292022"/>
              <a:gd name="connsiteX122-19125" fmla="*/ 6815373 w 10693106"/>
              <a:gd name="connsiteY122-19126" fmla="*/ 5012622 h 5292022"/>
              <a:gd name="connsiteX123-19127" fmla="*/ 6646040 w 10693106"/>
              <a:gd name="connsiteY123-19128" fmla="*/ 5105756 h 5292022"/>
              <a:gd name="connsiteX124-19129" fmla="*/ 6527506 w 10693106"/>
              <a:gd name="connsiteY124-19130" fmla="*/ 5165022 h 5292022"/>
              <a:gd name="connsiteX125-19131" fmla="*/ 6298906 w 10693106"/>
              <a:gd name="connsiteY125-19132" fmla="*/ 5241222 h 5292022"/>
              <a:gd name="connsiteX126-19133" fmla="*/ 6197306 w 10693106"/>
              <a:gd name="connsiteY126-19134" fmla="*/ 5266622 h 5292022"/>
              <a:gd name="connsiteX127-19135" fmla="*/ 6061840 w 10693106"/>
              <a:gd name="connsiteY127-19136" fmla="*/ 5275089 h 5292022"/>
              <a:gd name="connsiteX128-19137" fmla="*/ 5917906 w 10693106"/>
              <a:gd name="connsiteY128-19138" fmla="*/ 5292022 h 5292022"/>
              <a:gd name="connsiteX129-19139" fmla="*/ 5748573 w 10693106"/>
              <a:gd name="connsiteY129-19140" fmla="*/ 5283556 h 5292022"/>
              <a:gd name="connsiteX130-19141" fmla="*/ 5282906 w 10693106"/>
              <a:gd name="connsiteY130-19142" fmla="*/ 5173489 h 5292022"/>
              <a:gd name="connsiteX131-19143" fmla="*/ 5138973 w 10693106"/>
              <a:gd name="connsiteY131-19144" fmla="*/ 5071889 h 5292022"/>
              <a:gd name="connsiteX132-19145" fmla="*/ 4959480 w 10693106"/>
              <a:gd name="connsiteY132-19146" fmla="*/ 4988069 h 5292022"/>
              <a:gd name="connsiteX133-19147" fmla="*/ 4842216 w 10693106"/>
              <a:gd name="connsiteY133-19148" fmla="*/ 4953779 h 5292022"/>
              <a:gd name="connsiteX134-19149" fmla="*/ 4797343 w 10693106"/>
              <a:gd name="connsiteY134-19150" fmla="*/ 4878426 h 5292022"/>
              <a:gd name="connsiteX135-19151" fmla="*/ 4686853 w 10693106"/>
              <a:gd name="connsiteY135-19152" fmla="*/ 4788256 h 5292022"/>
              <a:gd name="connsiteX136-19153" fmla="*/ 4536146 w 10693106"/>
              <a:gd name="connsiteY136-19154" fmla="*/ 4712902 h 5292022"/>
              <a:gd name="connsiteX137-19155" fmla="*/ 4365120 w 10693106"/>
              <a:gd name="connsiteY137-19156" fmla="*/ 4616382 h 5292022"/>
              <a:gd name="connsiteX138-19157" fmla="*/ 4187743 w 10693106"/>
              <a:gd name="connsiteY138-19158" fmla="*/ 4521556 h 5292022"/>
              <a:gd name="connsiteX139-19159" fmla="*/ 4125936 w 10693106"/>
              <a:gd name="connsiteY139-19160" fmla="*/ 4386724 h 5292022"/>
              <a:gd name="connsiteX140-19161" fmla="*/ 3995973 w 10693106"/>
              <a:gd name="connsiteY140-19162" fmla="*/ 4232419 h 5292022"/>
              <a:gd name="connsiteX141-19163" fmla="*/ 3962530 w 10693106"/>
              <a:gd name="connsiteY141-19164" fmla="*/ 4135052 h 5292022"/>
              <a:gd name="connsiteX142-19165" fmla="*/ 3895643 w 10693106"/>
              <a:gd name="connsiteY142-19166" fmla="*/ 4059699 h 5292022"/>
              <a:gd name="connsiteX143-19167" fmla="*/ 3919773 w 10693106"/>
              <a:gd name="connsiteY143-19168" fmla="*/ 3920422 h 5292022"/>
              <a:gd name="connsiteX144-19169" fmla="*/ 3877440 w 10693106"/>
              <a:gd name="connsiteY144-19170" fmla="*/ 3624089 h 5292022"/>
              <a:gd name="connsiteX145-19171" fmla="*/ 3852040 w 10693106"/>
              <a:gd name="connsiteY145-19172" fmla="*/ 3530956 h 5292022"/>
              <a:gd name="connsiteX146-19173" fmla="*/ 3801240 w 10693106"/>
              <a:gd name="connsiteY146-19174" fmla="*/ 3420889 h 5292022"/>
              <a:gd name="connsiteX147-19175" fmla="*/ 3733506 w 10693106"/>
              <a:gd name="connsiteY147-19176" fmla="*/ 3319289 h 5292022"/>
              <a:gd name="connsiteX148-19177" fmla="*/ 3242440 w 10693106"/>
              <a:gd name="connsiteY148-19178" fmla="*/ 3099156 h 5292022"/>
              <a:gd name="connsiteX149-19179" fmla="*/ 3123906 w 10693106"/>
              <a:gd name="connsiteY149-19180" fmla="*/ 2997556 h 5292022"/>
              <a:gd name="connsiteX150-19181" fmla="*/ 2988440 w 10693106"/>
              <a:gd name="connsiteY150-19182" fmla="*/ 2802822 h 5292022"/>
              <a:gd name="connsiteX151-19183" fmla="*/ 2971506 w 10693106"/>
              <a:gd name="connsiteY151-19184" fmla="*/ 2743556 h 5292022"/>
              <a:gd name="connsiteX152-19185" fmla="*/ 2996906 w 10693106"/>
              <a:gd name="connsiteY152-19186" fmla="*/ 2531889 h 5292022"/>
              <a:gd name="connsiteX153-19187" fmla="*/ 3013840 w 10693106"/>
              <a:gd name="connsiteY153-19188" fmla="*/ 2430289 h 5292022"/>
              <a:gd name="connsiteX154-19189" fmla="*/ 3005373 w 10693106"/>
              <a:gd name="connsiteY154-19190" fmla="*/ 2311756 h 5292022"/>
              <a:gd name="connsiteX155-19191" fmla="*/ 2988440 w 10693106"/>
              <a:gd name="connsiteY155-19192" fmla="*/ 2260956 h 5292022"/>
              <a:gd name="connsiteX156-19193" fmla="*/ 2802173 w 10693106"/>
              <a:gd name="connsiteY156-19194" fmla="*/ 2006956 h 5292022"/>
              <a:gd name="connsiteX157-19195" fmla="*/ 2641306 w 10693106"/>
              <a:gd name="connsiteY157-19196" fmla="*/ 1863022 h 5292022"/>
              <a:gd name="connsiteX158-19197" fmla="*/ 2590506 w 10693106"/>
              <a:gd name="connsiteY158-19198" fmla="*/ 1837622 h 5292022"/>
              <a:gd name="connsiteX159-19199" fmla="*/ 2531240 w 10693106"/>
              <a:gd name="connsiteY159-19200" fmla="*/ 1829156 h 5292022"/>
              <a:gd name="connsiteX160-19201" fmla="*/ 2446573 w 10693106"/>
              <a:gd name="connsiteY160-19202" fmla="*/ 1812222 h 5292022"/>
              <a:gd name="connsiteX161-19203" fmla="*/ 2251840 w 10693106"/>
              <a:gd name="connsiteY161-19204" fmla="*/ 1837622 h 5292022"/>
              <a:gd name="connsiteX162-19205" fmla="*/ 2167173 w 10693106"/>
              <a:gd name="connsiteY162-19206" fmla="*/ 1879956 h 5292022"/>
              <a:gd name="connsiteX163-19207" fmla="*/ 1980906 w 10693106"/>
              <a:gd name="connsiteY163-19208" fmla="*/ 1939222 h 5292022"/>
              <a:gd name="connsiteX164-19209" fmla="*/ 1904706 w 10693106"/>
              <a:gd name="connsiteY164-19210" fmla="*/ 1973089 h 5292022"/>
              <a:gd name="connsiteX165-19211" fmla="*/ 1828506 w 10693106"/>
              <a:gd name="connsiteY165-19212" fmla="*/ 1990022 h 5292022"/>
              <a:gd name="connsiteX166-19213" fmla="*/ 1726906 w 10693106"/>
              <a:gd name="connsiteY166-19214" fmla="*/ 2040822 h 5292022"/>
              <a:gd name="connsiteX167-19215" fmla="*/ 1659173 w 10693106"/>
              <a:gd name="connsiteY167-19216" fmla="*/ 2074689 h 5292022"/>
              <a:gd name="connsiteX168-19217" fmla="*/ 1498306 w 10693106"/>
              <a:gd name="connsiteY168-19218" fmla="*/ 2100089 h 5292022"/>
              <a:gd name="connsiteX169-19219" fmla="*/ 914106 w 10693106"/>
              <a:gd name="connsiteY169-19220" fmla="*/ 2032356 h 5292022"/>
              <a:gd name="connsiteX170-19221" fmla="*/ 617773 w 10693106"/>
              <a:gd name="connsiteY170-19222" fmla="*/ 1922289 h 5292022"/>
              <a:gd name="connsiteX171-19223" fmla="*/ 516173 w 10693106"/>
              <a:gd name="connsiteY171-19224" fmla="*/ 1837622 h 5292022"/>
              <a:gd name="connsiteX172-19225" fmla="*/ 355306 w 10693106"/>
              <a:gd name="connsiteY172-19226" fmla="*/ 1625956 h 5292022"/>
              <a:gd name="connsiteX173-19227" fmla="*/ 296040 w 10693106"/>
              <a:gd name="connsiteY173-19228" fmla="*/ 1524356 h 5292022"/>
              <a:gd name="connsiteX174-19229" fmla="*/ 253706 w 10693106"/>
              <a:gd name="connsiteY174-19230" fmla="*/ 1346556 h 5292022"/>
              <a:gd name="connsiteX175-19231" fmla="*/ 245240 w 10693106"/>
              <a:gd name="connsiteY175-19232" fmla="*/ 1219556 h 5292022"/>
              <a:gd name="connsiteX176-19233" fmla="*/ 236773 w 10693106"/>
              <a:gd name="connsiteY176-19234" fmla="*/ 1117956 h 5292022"/>
              <a:gd name="connsiteX177-19235" fmla="*/ 245240 w 10693106"/>
              <a:gd name="connsiteY177-19236" fmla="*/ 847022 h 5292022"/>
              <a:gd name="connsiteX178-19237" fmla="*/ 236773 w 10693106"/>
              <a:gd name="connsiteY178-19238" fmla="*/ 703089 h 5292022"/>
              <a:gd name="connsiteX179-19239" fmla="*/ 109773 w 10693106"/>
              <a:gd name="connsiteY179-19240" fmla="*/ 559156 h 5292022"/>
              <a:gd name="connsiteX180-19241" fmla="*/ 58973 w 10693106"/>
              <a:gd name="connsiteY180-19242" fmla="*/ 482956 h 5292022"/>
              <a:gd name="connsiteX181-19243" fmla="*/ 16640 w 10693106"/>
              <a:gd name="connsiteY181-19244" fmla="*/ 432156 h 5292022"/>
              <a:gd name="connsiteX182-19245" fmla="*/ 8173 w 10693106"/>
              <a:gd name="connsiteY182-19246" fmla="*/ 389822 h 5292022"/>
              <a:gd name="connsiteX183-19247" fmla="*/ 16640 w 10693106"/>
              <a:gd name="connsiteY183-19248" fmla="*/ 339022 h 5292022"/>
              <a:gd name="connsiteX0-19249" fmla="*/ 16640 w 10693106"/>
              <a:gd name="connsiteY0-19250" fmla="*/ 339022 h 5292022"/>
              <a:gd name="connsiteX1-19251" fmla="*/ 58973 w 10693106"/>
              <a:gd name="connsiteY1-19252" fmla="*/ 245889 h 5292022"/>
              <a:gd name="connsiteX2-19253" fmla="*/ 109773 w 10693106"/>
              <a:gd name="connsiteY2-19254" fmla="*/ 178156 h 5292022"/>
              <a:gd name="connsiteX3-19255" fmla="*/ 202906 w 10693106"/>
              <a:gd name="connsiteY3-19256" fmla="*/ 93489 h 5292022"/>
              <a:gd name="connsiteX4-19257" fmla="*/ 236773 w 10693106"/>
              <a:gd name="connsiteY4-19258" fmla="*/ 68089 h 5292022"/>
              <a:gd name="connsiteX5-19259" fmla="*/ 335410 w 10693106"/>
              <a:gd name="connsiteY5-19260" fmla="*/ 58352 h 5292022"/>
              <a:gd name="connsiteX6-19261" fmla="*/ 382400 w 10693106"/>
              <a:gd name="connsiteY6-19262" fmla="*/ 51156 h 5292022"/>
              <a:gd name="connsiteX7-19263" fmla="*/ 434912 w 10693106"/>
              <a:gd name="connsiteY7-19264" fmla="*/ 70071 h 5292022"/>
              <a:gd name="connsiteX8-19265" fmla="*/ 492697 w 10693106"/>
              <a:gd name="connsiteY8-19266" fmla="*/ 74247 h 5292022"/>
              <a:gd name="connsiteX9-19267" fmla="*/ 822897 w 10693106"/>
              <a:gd name="connsiteY9-19268" fmla="*/ 82713 h 5292022"/>
              <a:gd name="connsiteX10-19269" fmla="*/ 1091906 w 10693106"/>
              <a:gd name="connsiteY10-19270" fmla="*/ 356 h 5292022"/>
              <a:gd name="connsiteX11-19271" fmla="*/ 1235840 w 10693106"/>
              <a:gd name="connsiteY11-19272" fmla="*/ 59622 h 5292022"/>
              <a:gd name="connsiteX12-19273" fmla="*/ 1337440 w 10693106"/>
              <a:gd name="connsiteY12-19274" fmla="*/ 135822 h 5292022"/>
              <a:gd name="connsiteX13-19275" fmla="*/ 1422106 w 10693106"/>
              <a:gd name="connsiteY13-19276" fmla="*/ 245889 h 5292022"/>
              <a:gd name="connsiteX14-19277" fmla="*/ 1481373 w 10693106"/>
              <a:gd name="connsiteY14-19278" fmla="*/ 313622 h 5292022"/>
              <a:gd name="connsiteX15-19279" fmla="*/ 1532173 w 10693106"/>
              <a:gd name="connsiteY15-19280" fmla="*/ 347489 h 5292022"/>
              <a:gd name="connsiteX16-19281" fmla="*/ 1684573 w 10693106"/>
              <a:gd name="connsiteY16-19282" fmla="*/ 406756 h 5292022"/>
              <a:gd name="connsiteX17-19283" fmla="*/ 1760773 w 10693106"/>
              <a:gd name="connsiteY17-19284" fmla="*/ 423689 h 5292022"/>
              <a:gd name="connsiteX18-19285" fmla="*/ 1997840 w 10693106"/>
              <a:gd name="connsiteY18-19286" fmla="*/ 415222 h 5292022"/>
              <a:gd name="connsiteX19-19287" fmla="*/ 2116373 w 10693106"/>
              <a:gd name="connsiteY19-19288" fmla="*/ 398289 h 5292022"/>
              <a:gd name="connsiteX20-19289" fmla="*/ 2260306 w 10693106"/>
              <a:gd name="connsiteY20-19290" fmla="*/ 381356 h 5292022"/>
              <a:gd name="connsiteX21-19291" fmla="*/ 2404240 w 10693106"/>
              <a:gd name="connsiteY21-19292" fmla="*/ 355956 h 5292022"/>
              <a:gd name="connsiteX22-19293" fmla="*/ 2455040 w 10693106"/>
              <a:gd name="connsiteY22-19294" fmla="*/ 330556 h 5292022"/>
              <a:gd name="connsiteX23-19295" fmla="*/ 2531240 w 10693106"/>
              <a:gd name="connsiteY23-19296" fmla="*/ 305156 h 5292022"/>
              <a:gd name="connsiteX24-19297" fmla="*/ 2649350 w 10693106"/>
              <a:gd name="connsiteY24-19298" fmla="*/ 225781 h 5292022"/>
              <a:gd name="connsiteX25-19299" fmla="*/ 2742906 w 10693106"/>
              <a:gd name="connsiteY25-19300" fmla="*/ 186622 h 5292022"/>
              <a:gd name="connsiteX26-19301" fmla="*/ 2764920 w 10693106"/>
              <a:gd name="connsiteY26-19302" fmla="*/ 173076 h 5292022"/>
              <a:gd name="connsiteX27-19303" fmla="*/ 2832653 w 10693106"/>
              <a:gd name="connsiteY27-19304" fmla="*/ 167996 h 5292022"/>
              <a:gd name="connsiteX28-19305" fmla="*/ 3002294 w 10693106"/>
              <a:gd name="connsiteY28-19306" fmla="*/ 154680 h 5292022"/>
              <a:gd name="connsiteX29-19307" fmla="*/ 3142763 w 10693106"/>
              <a:gd name="connsiteY29-19308" fmla="*/ 110421 h 5292022"/>
              <a:gd name="connsiteX30-19309" fmla="*/ 3398918 w 10693106"/>
              <a:gd name="connsiteY30-19310" fmla="*/ 72322 h 5292022"/>
              <a:gd name="connsiteX31-19311" fmla="*/ 3606506 w 10693106"/>
              <a:gd name="connsiteY31-19312" fmla="*/ 60393 h 5292022"/>
              <a:gd name="connsiteX32-19313" fmla="*/ 3682706 w 10693106"/>
              <a:gd name="connsiteY32-19314" fmla="*/ 79942 h 5292022"/>
              <a:gd name="connsiteX33-19315" fmla="*/ 3741973 w 10693106"/>
              <a:gd name="connsiteY33-19316" fmla="*/ 86561 h 5292022"/>
              <a:gd name="connsiteX34-19317" fmla="*/ 3794678 w 10693106"/>
              <a:gd name="connsiteY34-19318" fmla="*/ 101321 h 5292022"/>
              <a:gd name="connsiteX35-19319" fmla="*/ 3833625 w 10693106"/>
              <a:gd name="connsiteY35-19320" fmla="*/ 110846 h 5292022"/>
              <a:gd name="connsiteX36-19321" fmla="*/ 3892487 w 10693106"/>
              <a:gd name="connsiteY36-19322" fmla="*/ 116984 h 5292022"/>
              <a:gd name="connsiteX37-19323" fmla="*/ 3933108 w 10693106"/>
              <a:gd name="connsiteY37-19324" fmla="*/ 128837 h 5292022"/>
              <a:gd name="connsiteX38-19325" fmla="*/ 3976923 w 10693106"/>
              <a:gd name="connsiteY38-19326" fmla="*/ 135187 h 5292022"/>
              <a:gd name="connsiteX39-19327" fmla="*/ 4021373 w 10693106"/>
              <a:gd name="connsiteY39-19328" fmla="*/ 144289 h 5292022"/>
              <a:gd name="connsiteX40-19329" fmla="*/ 4055240 w 10693106"/>
              <a:gd name="connsiteY40-19330" fmla="*/ 152756 h 5292022"/>
              <a:gd name="connsiteX41-19331" fmla="*/ 4275373 w 10693106"/>
              <a:gd name="connsiteY41-19332" fmla="*/ 195089 h 5292022"/>
              <a:gd name="connsiteX42-19333" fmla="*/ 4402373 w 10693106"/>
              <a:gd name="connsiteY42-19334" fmla="*/ 228956 h 5292022"/>
              <a:gd name="connsiteX43-19335" fmla="*/ 4529373 w 10693106"/>
              <a:gd name="connsiteY43-19336" fmla="*/ 271289 h 5292022"/>
              <a:gd name="connsiteX44-19337" fmla="*/ 4859573 w 10693106"/>
              <a:gd name="connsiteY44-19338" fmla="*/ 347489 h 5292022"/>
              <a:gd name="connsiteX45-19339" fmla="*/ 5045840 w 10693106"/>
              <a:gd name="connsiteY45-19340" fmla="*/ 423689 h 5292022"/>
              <a:gd name="connsiteX46-19341" fmla="*/ 5325240 w 10693106"/>
              <a:gd name="connsiteY46-19342" fmla="*/ 584556 h 5292022"/>
              <a:gd name="connsiteX47-19343" fmla="*/ 5494573 w 10693106"/>
              <a:gd name="connsiteY47-19344" fmla="*/ 736956 h 5292022"/>
              <a:gd name="connsiteX48-19345" fmla="*/ 5562306 w 10693106"/>
              <a:gd name="connsiteY48-19346" fmla="*/ 813156 h 5292022"/>
              <a:gd name="connsiteX49-19347" fmla="*/ 5621573 w 10693106"/>
              <a:gd name="connsiteY49-19348" fmla="*/ 863956 h 5292022"/>
              <a:gd name="connsiteX50-19349" fmla="*/ 5672373 w 10693106"/>
              <a:gd name="connsiteY50-19350" fmla="*/ 931689 h 5292022"/>
              <a:gd name="connsiteX51-19351" fmla="*/ 5757040 w 10693106"/>
              <a:gd name="connsiteY51-19352" fmla="*/ 1033289 h 5292022"/>
              <a:gd name="connsiteX52-19353" fmla="*/ 5833240 w 10693106"/>
              <a:gd name="connsiteY52-19354" fmla="*/ 1126422 h 5292022"/>
              <a:gd name="connsiteX53-19355" fmla="*/ 6603706 w 10693106"/>
              <a:gd name="connsiteY53-19356" fmla="*/ 1736022 h 5292022"/>
              <a:gd name="connsiteX54-19357" fmla="*/ 6866173 w 10693106"/>
              <a:gd name="connsiteY54-19358" fmla="*/ 1795289 h 5292022"/>
              <a:gd name="connsiteX55-19359" fmla="*/ 7196373 w 10693106"/>
              <a:gd name="connsiteY55-19360" fmla="*/ 1778356 h 5292022"/>
              <a:gd name="connsiteX56-19361" fmla="*/ 7509640 w 10693106"/>
              <a:gd name="connsiteY56-19362" fmla="*/ 1702156 h 5292022"/>
              <a:gd name="connsiteX57-19363" fmla="*/ 7628173 w 10693106"/>
              <a:gd name="connsiteY57-19364" fmla="*/ 1676756 h 5292022"/>
              <a:gd name="connsiteX58-19365" fmla="*/ 7704373 w 10693106"/>
              <a:gd name="connsiteY58-19366" fmla="*/ 1634422 h 5292022"/>
              <a:gd name="connsiteX59-19367" fmla="*/ 7755173 w 10693106"/>
              <a:gd name="connsiteY59-19368" fmla="*/ 1625956 h 5292022"/>
              <a:gd name="connsiteX60-19369" fmla="*/ 7797506 w 10693106"/>
              <a:gd name="connsiteY60-19370" fmla="*/ 1592089 h 5292022"/>
              <a:gd name="connsiteX61-19371" fmla="*/ 7856773 w 10693106"/>
              <a:gd name="connsiteY61-19372" fmla="*/ 1575156 h 5292022"/>
              <a:gd name="connsiteX62-19373" fmla="*/ 7958373 w 10693106"/>
              <a:gd name="connsiteY62-19374" fmla="*/ 1507422 h 5292022"/>
              <a:gd name="connsiteX63-19375" fmla="*/ 8009173 w 10693106"/>
              <a:gd name="connsiteY63-19376" fmla="*/ 1456622 h 5292022"/>
              <a:gd name="connsiteX64-19377" fmla="*/ 8339373 w 10693106"/>
              <a:gd name="connsiteY64-19378" fmla="*/ 1211089 h 5292022"/>
              <a:gd name="connsiteX65-19379" fmla="*/ 8576440 w 10693106"/>
              <a:gd name="connsiteY65-19380" fmla="*/ 957089 h 5292022"/>
              <a:gd name="connsiteX66-19381" fmla="*/ 8652640 w 10693106"/>
              <a:gd name="connsiteY66-19382" fmla="*/ 677689 h 5292022"/>
              <a:gd name="connsiteX67-19383" fmla="*/ 8847373 w 10693106"/>
              <a:gd name="connsiteY67-19384" fmla="*/ 491422 h 5292022"/>
              <a:gd name="connsiteX68-19385" fmla="*/ 8982840 w 10693106"/>
              <a:gd name="connsiteY68-19386" fmla="*/ 398289 h 5292022"/>
              <a:gd name="connsiteX69-19387" fmla="*/ 9084440 w 10693106"/>
              <a:gd name="connsiteY69-19388" fmla="*/ 364422 h 5292022"/>
              <a:gd name="connsiteX70-19389" fmla="*/ 9152173 w 10693106"/>
              <a:gd name="connsiteY70-19390" fmla="*/ 339022 h 5292022"/>
              <a:gd name="connsiteX71-19391" fmla="*/ 9380773 w 10693106"/>
              <a:gd name="connsiteY71-19392" fmla="*/ 355956 h 5292022"/>
              <a:gd name="connsiteX72-19393" fmla="*/ 9744840 w 10693106"/>
              <a:gd name="connsiteY72-19394" fmla="*/ 466022 h 5292022"/>
              <a:gd name="connsiteX73-19395" fmla="*/ 9888773 w 10693106"/>
              <a:gd name="connsiteY73-19396" fmla="*/ 508356 h 5292022"/>
              <a:gd name="connsiteX74-19397" fmla="*/ 9998840 w 10693106"/>
              <a:gd name="connsiteY74-19398" fmla="*/ 559156 h 5292022"/>
              <a:gd name="connsiteX75-19399" fmla="*/ 10083506 w 10693106"/>
              <a:gd name="connsiteY75-19400" fmla="*/ 618422 h 5292022"/>
              <a:gd name="connsiteX76-19401" fmla="*/ 10286706 w 10693106"/>
              <a:gd name="connsiteY76-19402" fmla="*/ 686156 h 5292022"/>
              <a:gd name="connsiteX77-19403" fmla="*/ 10388306 w 10693106"/>
              <a:gd name="connsiteY77-19404" fmla="*/ 889356 h 5292022"/>
              <a:gd name="connsiteX78-19405" fmla="*/ 10540706 w 10693106"/>
              <a:gd name="connsiteY78-19406" fmla="*/ 1261889 h 5292022"/>
              <a:gd name="connsiteX79-19407" fmla="*/ 10557640 w 10693106"/>
              <a:gd name="connsiteY79-19408" fmla="*/ 1346556 h 5292022"/>
              <a:gd name="connsiteX80-19409" fmla="*/ 10583040 w 10693106"/>
              <a:gd name="connsiteY80-19410" fmla="*/ 1448156 h 5292022"/>
              <a:gd name="connsiteX81-19411" fmla="*/ 10616906 w 10693106"/>
              <a:gd name="connsiteY81-19412" fmla="*/ 1651356 h 5292022"/>
              <a:gd name="connsiteX82-19413" fmla="*/ 10633840 w 10693106"/>
              <a:gd name="connsiteY82-19414" fmla="*/ 1736022 h 5292022"/>
              <a:gd name="connsiteX83-19415" fmla="*/ 10650773 w 10693106"/>
              <a:gd name="connsiteY83-19416" fmla="*/ 1769889 h 5292022"/>
              <a:gd name="connsiteX84-19417" fmla="*/ 10676173 w 10693106"/>
              <a:gd name="connsiteY84-19418" fmla="*/ 1854556 h 5292022"/>
              <a:gd name="connsiteX85-19419" fmla="*/ 10693106 w 10693106"/>
              <a:gd name="connsiteY85-19420" fmla="*/ 2006956 h 5292022"/>
              <a:gd name="connsiteX86-19421" fmla="*/ 10625373 w 10693106"/>
              <a:gd name="connsiteY86-19422" fmla="*/ 2227089 h 5292022"/>
              <a:gd name="connsiteX87-19423" fmla="*/ 10608440 w 10693106"/>
              <a:gd name="connsiteY87-19424" fmla="*/ 2252489 h 5292022"/>
              <a:gd name="connsiteX88-19425" fmla="*/ 10540706 w 10693106"/>
              <a:gd name="connsiteY88-19426" fmla="*/ 2396422 h 5292022"/>
              <a:gd name="connsiteX89-19427" fmla="*/ 10498373 w 10693106"/>
              <a:gd name="connsiteY89-19428" fmla="*/ 2481089 h 5292022"/>
              <a:gd name="connsiteX90-19429" fmla="*/ 10439106 w 10693106"/>
              <a:gd name="connsiteY90-19430" fmla="*/ 2667356 h 5292022"/>
              <a:gd name="connsiteX91-19431" fmla="*/ 10430640 w 10693106"/>
              <a:gd name="connsiteY91-19432" fmla="*/ 2709689 h 5292022"/>
              <a:gd name="connsiteX92-19433" fmla="*/ 10405240 w 10693106"/>
              <a:gd name="connsiteY92-19434" fmla="*/ 2785889 h 5292022"/>
              <a:gd name="connsiteX93-19435" fmla="*/ 10396773 w 10693106"/>
              <a:gd name="connsiteY93-19436" fmla="*/ 2819756 h 5292022"/>
              <a:gd name="connsiteX94-19437" fmla="*/ 10362906 w 10693106"/>
              <a:gd name="connsiteY94-19438" fmla="*/ 2912889 h 5292022"/>
              <a:gd name="connsiteX95-19439" fmla="*/ 10329040 w 10693106"/>
              <a:gd name="connsiteY95-19440" fmla="*/ 2955222 h 5292022"/>
              <a:gd name="connsiteX96-19441" fmla="*/ 10227440 w 10693106"/>
              <a:gd name="connsiteY96-19442" fmla="*/ 3056822 h 5292022"/>
              <a:gd name="connsiteX97-19443" fmla="*/ 10168173 w 10693106"/>
              <a:gd name="connsiteY97-19444" fmla="*/ 3124556 h 5292022"/>
              <a:gd name="connsiteX98-19445" fmla="*/ 10117373 w 10693106"/>
              <a:gd name="connsiteY98-19446" fmla="*/ 3175356 h 5292022"/>
              <a:gd name="connsiteX99-19447" fmla="*/ 10032706 w 10693106"/>
              <a:gd name="connsiteY99-19448" fmla="*/ 3276956 h 5292022"/>
              <a:gd name="connsiteX100-19449" fmla="*/ 9948040 w 10693106"/>
              <a:gd name="connsiteY100-19450" fmla="*/ 3336222 h 5292022"/>
              <a:gd name="connsiteX101-19451" fmla="*/ 9905706 w 10693106"/>
              <a:gd name="connsiteY101-19452" fmla="*/ 3361622 h 5292022"/>
              <a:gd name="connsiteX102-19453" fmla="*/ 9829506 w 10693106"/>
              <a:gd name="connsiteY102-19454" fmla="*/ 3378556 h 5292022"/>
              <a:gd name="connsiteX103-19455" fmla="*/ 9727906 w 10693106"/>
              <a:gd name="connsiteY103-19456" fmla="*/ 3420889 h 5292022"/>
              <a:gd name="connsiteX104-19457" fmla="*/ 9634773 w 10693106"/>
              <a:gd name="connsiteY104-19458" fmla="*/ 3446289 h 5292022"/>
              <a:gd name="connsiteX105-19459" fmla="*/ 9456973 w 10693106"/>
              <a:gd name="connsiteY105-19460" fmla="*/ 3539422 h 5292022"/>
              <a:gd name="connsiteX106-19461" fmla="*/ 9313040 w 10693106"/>
              <a:gd name="connsiteY106-19462" fmla="*/ 3666422 h 5292022"/>
              <a:gd name="connsiteX107-19463" fmla="*/ 9279173 w 10693106"/>
              <a:gd name="connsiteY107-19464" fmla="*/ 3683356 h 5292022"/>
              <a:gd name="connsiteX108-19465" fmla="*/ 9067506 w 10693106"/>
              <a:gd name="connsiteY108-19466" fmla="*/ 3861156 h 5292022"/>
              <a:gd name="connsiteX109-19467" fmla="*/ 8999773 w 10693106"/>
              <a:gd name="connsiteY109-19468" fmla="*/ 3928889 h 5292022"/>
              <a:gd name="connsiteX110-19469" fmla="*/ 8813506 w 10693106"/>
              <a:gd name="connsiteY110-19470" fmla="*/ 4064356 h 5292022"/>
              <a:gd name="connsiteX111-19471" fmla="*/ 8728840 w 10693106"/>
              <a:gd name="connsiteY111-19472" fmla="*/ 4106689 h 5292022"/>
              <a:gd name="connsiteX112-19473" fmla="*/ 8373240 w 10693106"/>
              <a:gd name="connsiteY112-19474" fmla="*/ 4140556 h 5292022"/>
              <a:gd name="connsiteX113-19475" fmla="*/ 7966840 w 10693106"/>
              <a:gd name="connsiteY113-19476" fmla="*/ 4233689 h 5292022"/>
              <a:gd name="connsiteX114-19477" fmla="*/ 7687440 w 10693106"/>
              <a:gd name="connsiteY114-19478" fmla="*/ 4394556 h 5292022"/>
              <a:gd name="connsiteX115-19479" fmla="*/ 7551973 w 10693106"/>
              <a:gd name="connsiteY115-19480" fmla="*/ 4479222 h 5292022"/>
              <a:gd name="connsiteX116-19481" fmla="*/ 7374173 w 10693106"/>
              <a:gd name="connsiteY116-19482" fmla="*/ 4657022 h 5292022"/>
              <a:gd name="connsiteX117-19483" fmla="*/ 7374173 w 10693106"/>
              <a:gd name="connsiteY117-19484" fmla="*/ 4657022 h 5292022"/>
              <a:gd name="connsiteX118-19485" fmla="*/ 7221773 w 10693106"/>
              <a:gd name="connsiteY118-19486" fmla="*/ 4775556 h 5292022"/>
              <a:gd name="connsiteX119-19487" fmla="*/ 7027040 w 10693106"/>
              <a:gd name="connsiteY119-19488" fmla="*/ 4902556 h 5292022"/>
              <a:gd name="connsiteX120-19489" fmla="*/ 6883106 w 10693106"/>
              <a:gd name="connsiteY120-19490" fmla="*/ 4970289 h 5292022"/>
              <a:gd name="connsiteX121-19491" fmla="*/ 6815373 w 10693106"/>
              <a:gd name="connsiteY121-19492" fmla="*/ 5012622 h 5292022"/>
              <a:gd name="connsiteX122-19493" fmla="*/ 6646040 w 10693106"/>
              <a:gd name="connsiteY122-19494" fmla="*/ 5105756 h 5292022"/>
              <a:gd name="connsiteX123-19495" fmla="*/ 6527506 w 10693106"/>
              <a:gd name="connsiteY123-19496" fmla="*/ 5165022 h 5292022"/>
              <a:gd name="connsiteX124-19497" fmla="*/ 6298906 w 10693106"/>
              <a:gd name="connsiteY124-19498" fmla="*/ 5241222 h 5292022"/>
              <a:gd name="connsiteX125-19499" fmla="*/ 6197306 w 10693106"/>
              <a:gd name="connsiteY125-19500" fmla="*/ 5266622 h 5292022"/>
              <a:gd name="connsiteX126-19501" fmla="*/ 6061840 w 10693106"/>
              <a:gd name="connsiteY126-19502" fmla="*/ 5275089 h 5292022"/>
              <a:gd name="connsiteX127-19503" fmla="*/ 5917906 w 10693106"/>
              <a:gd name="connsiteY127-19504" fmla="*/ 5292022 h 5292022"/>
              <a:gd name="connsiteX128-19505" fmla="*/ 5748573 w 10693106"/>
              <a:gd name="connsiteY128-19506" fmla="*/ 5283556 h 5292022"/>
              <a:gd name="connsiteX129-19507" fmla="*/ 5282906 w 10693106"/>
              <a:gd name="connsiteY129-19508" fmla="*/ 5173489 h 5292022"/>
              <a:gd name="connsiteX130-19509" fmla="*/ 5138973 w 10693106"/>
              <a:gd name="connsiteY130-19510" fmla="*/ 5071889 h 5292022"/>
              <a:gd name="connsiteX131-19511" fmla="*/ 4959480 w 10693106"/>
              <a:gd name="connsiteY131-19512" fmla="*/ 4988069 h 5292022"/>
              <a:gd name="connsiteX132-19513" fmla="*/ 4842216 w 10693106"/>
              <a:gd name="connsiteY132-19514" fmla="*/ 4953779 h 5292022"/>
              <a:gd name="connsiteX133-19515" fmla="*/ 4797343 w 10693106"/>
              <a:gd name="connsiteY133-19516" fmla="*/ 4878426 h 5292022"/>
              <a:gd name="connsiteX134-19517" fmla="*/ 4686853 w 10693106"/>
              <a:gd name="connsiteY134-19518" fmla="*/ 4788256 h 5292022"/>
              <a:gd name="connsiteX135-19519" fmla="*/ 4536146 w 10693106"/>
              <a:gd name="connsiteY135-19520" fmla="*/ 4712902 h 5292022"/>
              <a:gd name="connsiteX136-19521" fmla="*/ 4365120 w 10693106"/>
              <a:gd name="connsiteY136-19522" fmla="*/ 4616382 h 5292022"/>
              <a:gd name="connsiteX137-19523" fmla="*/ 4187743 w 10693106"/>
              <a:gd name="connsiteY137-19524" fmla="*/ 4521556 h 5292022"/>
              <a:gd name="connsiteX138-19525" fmla="*/ 4125936 w 10693106"/>
              <a:gd name="connsiteY138-19526" fmla="*/ 4386724 h 5292022"/>
              <a:gd name="connsiteX139-19527" fmla="*/ 3995973 w 10693106"/>
              <a:gd name="connsiteY139-19528" fmla="*/ 4232419 h 5292022"/>
              <a:gd name="connsiteX140-19529" fmla="*/ 3962530 w 10693106"/>
              <a:gd name="connsiteY140-19530" fmla="*/ 4135052 h 5292022"/>
              <a:gd name="connsiteX141-19531" fmla="*/ 3895643 w 10693106"/>
              <a:gd name="connsiteY141-19532" fmla="*/ 4059699 h 5292022"/>
              <a:gd name="connsiteX142-19533" fmla="*/ 3919773 w 10693106"/>
              <a:gd name="connsiteY142-19534" fmla="*/ 3920422 h 5292022"/>
              <a:gd name="connsiteX143-19535" fmla="*/ 3877440 w 10693106"/>
              <a:gd name="connsiteY143-19536" fmla="*/ 3624089 h 5292022"/>
              <a:gd name="connsiteX144-19537" fmla="*/ 3852040 w 10693106"/>
              <a:gd name="connsiteY144-19538" fmla="*/ 3530956 h 5292022"/>
              <a:gd name="connsiteX145-19539" fmla="*/ 3801240 w 10693106"/>
              <a:gd name="connsiteY145-19540" fmla="*/ 3420889 h 5292022"/>
              <a:gd name="connsiteX146-19541" fmla="*/ 3733506 w 10693106"/>
              <a:gd name="connsiteY146-19542" fmla="*/ 3319289 h 5292022"/>
              <a:gd name="connsiteX147-19543" fmla="*/ 3242440 w 10693106"/>
              <a:gd name="connsiteY147-19544" fmla="*/ 3099156 h 5292022"/>
              <a:gd name="connsiteX148-19545" fmla="*/ 3123906 w 10693106"/>
              <a:gd name="connsiteY148-19546" fmla="*/ 2997556 h 5292022"/>
              <a:gd name="connsiteX149-19547" fmla="*/ 2988440 w 10693106"/>
              <a:gd name="connsiteY149-19548" fmla="*/ 2802822 h 5292022"/>
              <a:gd name="connsiteX150-19549" fmla="*/ 2971506 w 10693106"/>
              <a:gd name="connsiteY150-19550" fmla="*/ 2743556 h 5292022"/>
              <a:gd name="connsiteX151-19551" fmla="*/ 2996906 w 10693106"/>
              <a:gd name="connsiteY151-19552" fmla="*/ 2531889 h 5292022"/>
              <a:gd name="connsiteX152-19553" fmla="*/ 3013840 w 10693106"/>
              <a:gd name="connsiteY152-19554" fmla="*/ 2430289 h 5292022"/>
              <a:gd name="connsiteX153-19555" fmla="*/ 3005373 w 10693106"/>
              <a:gd name="connsiteY153-19556" fmla="*/ 2311756 h 5292022"/>
              <a:gd name="connsiteX154-19557" fmla="*/ 2988440 w 10693106"/>
              <a:gd name="connsiteY154-19558" fmla="*/ 2260956 h 5292022"/>
              <a:gd name="connsiteX155-19559" fmla="*/ 2802173 w 10693106"/>
              <a:gd name="connsiteY155-19560" fmla="*/ 2006956 h 5292022"/>
              <a:gd name="connsiteX156-19561" fmla="*/ 2641306 w 10693106"/>
              <a:gd name="connsiteY156-19562" fmla="*/ 1863022 h 5292022"/>
              <a:gd name="connsiteX157-19563" fmla="*/ 2590506 w 10693106"/>
              <a:gd name="connsiteY157-19564" fmla="*/ 1837622 h 5292022"/>
              <a:gd name="connsiteX158-19565" fmla="*/ 2531240 w 10693106"/>
              <a:gd name="connsiteY158-19566" fmla="*/ 1829156 h 5292022"/>
              <a:gd name="connsiteX159-19567" fmla="*/ 2446573 w 10693106"/>
              <a:gd name="connsiteY159-19568" fmla="*/ 1812222 h 5292022"/>
              <a:gd name="connsiteX160-19569" fmla="*/ 2251840 w 10693106"/>
              <a:gd name="connsiteY160-19570" fmla="*/ 1837622 h 5292022"/>
              <a:gd name="connsiteX161-19571" fmla="*/ 2167173 w 10693106"/>
              <a:gd name="connsiteY161-19572" fmla="*/ 1879956 h 5292022"/>
              <a:gd name="connsiteX162-19573" fmla="*/ 1980906 w 10693106"/>
              <a:gd name="connsiteY162-19574" fmla="*/ 1939222 h 5292022"/>
              <a:gd name="connsiteX163-19575" fmla="*/ 1904706 w 10693106"/>
              <a:gd name="connsiteY163-19576" fmla="*/ 1973089 h 5292022"/>
              <a:gd name="connsiteX164-19577" fmla="*/ 1828506 w 10693106"/>
              <a:gd name="connsiteY164-19578" fmla="*/ 1990022 h 5292022"/>
              <a:gd name="connsiteX165-19579" fmla="*/ 1726906 w 10693106"/>
              <a:gd name="connsiteY165-19580" fmla="*/ 2040822 h 5292022"/>
              <a:gd name="connsiteX166-19581" fmla="*/ 1659173 w 10693106"/>
              <a:gd name="connsiteY166-19582" fmla="*/ 2074689 h 5292022"/>
              <a:gd name="connsiteX167-19583" fmla="*/ 1498306 w 10693106"/>
              <a:gd name="connsiteY167-19584" fmla="*/ 2100089 h 5292022"/>
              <a:gd name="connsiteX168-19585" fmla="*/ 914106 w 10693106"/>
              <a:gd name="connsiteY168-19586" fmla="*/ 2032356 h 5292022"/>
              <a:gd name="connsiteX169-19587" fmla="*/ 617773 w 10693106"/>
              <a:gd name="connsiteY169-19588" fmla="*/ 1922289 h 5292022"/>
              <a:gd name="connsiteX170-19589" fmla="*/ 516173 w 10693106"/>
              <a:gd name="connsiteY170-19590" fmla="*/ 1837622 h 5292022"/>
              <a:gd name="connsiteX171-19591" fmla="*/ 355306 w 10693106"/>
              <a:gd name="connsiteY171-19592" fmla="*/ 1625956 h 5292022"/>
              <a:gd name="connsiteX172-19593" fmla="*/ 296040 w 10693106"/>
              <a:gd name="connsiteY172-19594" fmla="*/ 1524356 h 5292022"/>
              <a:gd name="connsiteX173-19595" fmla="*/ 253706 w 10693106"/>
              <a:gd name="connsiteY173-19596" fmla="*/ 1346556 h 5292022"/>
              <a:gd name="connsiteX174-19597" fmla="*/ 245240 w 10693106"/>
              <a:gd name="connsiteY174-19598" fmla="*/ 1219556 h 5292022"/>
              <a:gd name="connsiteX175-19599" fmla="*/ 236773 w 10693106"/>
              <a:gd name="connsiteY175-19600" fmla="*/ 1117956 h 5292022"/>
              <a:gd name="connsiteX176-19601" fmla="*/ 245240 w 10693106"/>
              <a:gd name="connsiteY176-19602" fmla="*/ 847022 h 5292022"/>
              <a:gd name="connsiteX177-19603" fmla="*/ 236773 w 10693106"/>
              <a:gd name="connsiteY177-19604" fmla="*/ 703089 h 5292022"/>
              <a:gd name="connsiteX178-19605" fmla="*/ 109773 w 10693106"/>
              <a:gd name="connsiteY178-19606" fmla="*/ 559156 h 5292022"/>
              <a:gd name="connsiteX179-19607" fmla="*/ 58973 w 10693106"/>
              <a:gd name="connsiteY179-19608" fmla="*/ 482956 h 5292022"/>
              <a:gd name="connsiteX180-19609" fmla="*/ 16640 w 10693106"/>
              <a:gd name="connsiteY180-19610" fmla="*/ 432156 h 5292022"/>
              <a:gd name="connsiteX181-19611" fmla="*/ 8173 w 10693106"/>
              <a:gd name="connsiteY181-19612" fmla="*/ 389822 h 5292022"/>
              <a:gd name="connsiteX182-19613" fmla="*/ 16640 w 10693106"/>
              <a:gd name="connsiteY182-19614" fmla="*/ 339022 h 5292022"/>
              <a:gd name="connsiteX0-19615" fmla="*/ 16640 w 10693106"/>
              <a:gd name="connsiteY0-19616" fmla="*/ 339022 h 5292022"/>
              <a:gd name="connsiteX1-19617" fmla="*/ 58973 w 10693106"/>
              <a:gd name="connsiteY1-19618" fmla="*/ 245889 h 5292022"/>
              <a:gd name="connsiteX2-19619" fmla="*/ 109773 w 10693106"/>
              <a:gd name="connsiteY2-19620" fmla="*/ 178156 h 5292022"/>
              <a:gd name="connsiteX3-19621" fmla="*/ 202906 w 10693106"/>
              <a:gd name="connsiteY3-19622" fmla="*/ 93489 h 5292022"/>
              <a:gd name="connsiteX4-19623" fmla="*/ 236773 w 10693106"/>
              <a:gd name="connsiteY4-19624" fmla="*/ 68089 h 5292022"/>
              <a:gd name="connsiteX5-19625" fmla="*/ 335410 w 10693106"/>
              <a:gd name="connsiteY5-19626" fmla="*/ 58352 h 5292022"/>
              <a:gd name="connsiteX6-19627" fmla="*/ 382400 w 10693106"/>
              <a:gd name="connsiteY6-19628" fmla="*/ 51156 h 5292022"/>
              <a:gd name="connsiteX7-19629" fmla="*/ 434912 w 10693106"/>
              <a:gd name="connsiteY7-19630" fmla="*/ 70071 h 5292022"/>
              <a:gd name="connsiteX8-19631" fmla="*/ 492697 w 10693106"/>
              <a:gd name="connsiteY8-19632" fmla="*/ 74247 h 5292022"/>
              <a:gd name="connsiteX9-19633" fmla="*/ 822897 w 10693106"/>
              <a:gd name="connsiteY9-19634" fmla="*/ 82713 h 5292022"/>
              <a:gd name="connsiteX10-19635" fmla="*/ 1091906 w 10693106"/>
              <a:gd name="connsiteY10-19636" fmla="*/ 356 h 5292022"/>
              <a:gd name="connsiteX11-19637" fmla="*/ 1235840 w 10693106"/>
              <a:gd name="connsiteY11-19638" fmla="*/ 59622 h 5292022"/>
              <a:gd name="connsiteX12-19639" fmla="*/ 1337440 w 10693106"/>
              <a:gd name="connsiteY12-19640" fmla="*/ 135822 h 5292022"/>
              <a:gd name="connsiteX13-19641" fmla="*/ 1422106 w 10693106"/>
              <a:gd name="connsiteY13-19642" fmla="*/ 245889 h 5292022"/>
              <a:gd name="connsiteX14-19643" fmla="*/ 1481373 w 10693106"/>
              <a:gd name="connsiteY14-19644" fmla="*/ 313622 h 5292022"/>
              <a:gd name="connsiteX15-19645" fmla="*/ 1532173 w 10693106"/>
              <a:gd name="connsiteY15-19646" fmla="*/ 347489 h 5292022"/>
              <a:gd name="connsiteX16-19647" fmla="*/ 1684573 w 10693106"/>
              <a:gd name="connsiteY16-19648" fmla="*/ 406756 h 5292022"/>
              <a:gd name="connsiteX17-19649" fmla="*/ 1760773 w 10693106"/>
              <a:gd name="connsiteY17-19650" fmla="*/ 423689 h 5292022"/>
              <a:gd name="connsiteX18-19651" fmla="*/ 1997840 w 10693106"/>
              <a:gd name="connsiteY18-19652" fmla="*/ 415222 h 5292022"/>
              <a:gd name="connsiteX19-19653" fmla="*/ 2116373 w 10693106"/>
              <a:gd name="connsiteY19-19654" fmla="*/ 398289 h 5292022"/>
              <a:gd name="connsiteX20-19655" fmla="*/ 2260306 w 10693106"/>
              <a:gd name="connsiteY20-19656" fmla="*/ 381356 h 5292022"/>
              <a:gd name="connsiteX21-19657" fmla="*/ 2404240 w 10693106"/>
              <a:gd name="connsiteY21-19658" fmla="*/ 355956 h 5292022"/>
              <a:gd name="connsiteX22-19659" fmla="*/ 2455040 w 10693106"/>
              <a:gd name="connsiteY22-19660" fmla="*/ 330556 h 5292022"/>
              <a:gd name="connsiteX23-19661" fmla="*/ 2531240 w 10693106"/>
              <a:gd name="connsiteY23-19662" fmla="*/ 305156 h 5292022"/>
              <a:gd name="connsiteX24-19663" fmla="*/ 2649350 w 10693106"/>
              <a:gd name="connsiteY24-19664" fmla="*/ 225781 h 5292022"/>
              <a:gd name="connsiteX25-19665" fmla="*/ 2742906 w 10693106"/>
              <a:gd name="connsiteY25-19666" fmla="*/ 186622 h 5292022"/>
              <a:gd name="connsiteX26-19667" fmla="*/ 2764920 w 10693106"/>
              <a:gd name="connsiteY26-19668" fmla="*/ 173076 h 5292022"/>
              <a:gd name="connsiteX27-19669" fmla="*/ 2832653 w 10693106"/>
              <a:gd name="connsiteY27-19670" fmla="*/ 167996 h 5292022"/>
              <a:gd name="connsiteX28-19671" fmla="*/ 3002294 w 10693106"/>
              <a:gd name="connsiteY28-19672" fmla="*/ 154680 h 5292022"/>
              <a:gd name="connsiteX29-19673" fmla="*/ 3142763 w 10693106"/>
              <a:gd name="connsiteY29-19674" fmla="*/ 110421 h 5292022"/>
              <a:gd name="connsiteX30-19675" fmla="*/ 3398918 w 10693106"/>
              <a:gd name="connsiteY30-19676" fmla="*/ 72322 h 5292022"/>
              <a:gd name="connsiteX31-19677" fmla="*/ 3606506 w 10693106"/>
              <a:gd name="connsiteY31-19678" fmla="*/ 60393 h 5292022"/>
              <a:gd name="connsiteX32-19679" fmla="*/ 3682706 w 10693106"/>
              <a:gd name="connsiteY32-19680" fmla="*/ 79942 h 5292022"/>
              <a:gd name="connsiteX33-19681" fmla="*/ 3741973 w 10693106"/>
              <a:gd name="connsiteY33-19682" fmla="*/ 86561 h 5292022"/>
              <a:gd name="connsiteX34-19683" fmla="*/ 3794678 w 10693106"/>
              <a:gd name="connsiteY34-19684" fmla="*/ 101321 h 5292022"/>
              <a:gd name="connsiteX35-19685" fmla="*/ 3833625 w 10693106"/>
              <a:gd name="connsiteY35-19686" fmla="*/ 110846 h 5292022"/>
              <a:gd name="connsiteX36-19687" fmla="*/ 3892487 w 10693106"/>
              <a:gd name="connsiteY36-19688" fmla="*/ 116984 h 5292022"/>
              <a:gd name="connsiteX37-19689" fmla="*/ 3933108 w 10693106"/>
              <a:gd name="connsiteY37-19690" fmla="*/ 128837 h 5292022"/>
              <a:gd name="connsiteX38-19691" fmla="*/ 3976923 w 10693106"/>
              <a:gd name="connsiteY38-19692" fmla="*/ 135187 h 5292022"/>
              <a:gd name="connsiteX39-19693" fmla="*/ 4021373 w 10693106"/>
              <a:gd name="connsiteY39-19694" fmla="*/ 144289 h 5292022"/>
              <a:gd name="connsiteX40-19695" fmla="*/ 4055240 w 10693106"/>
              <a:gd name="connsiteY40-19696" fmla="*/ 152756 h 5292022"/>
              <a:gd name="connsiteX41-19697" fmla="*/ 4275373 w 10693106"/>
              <a:gd name="connsiteY41-19698" fmla="*/ 195089 h 5292022"/>
              <a:gd name="connsiteX42-19699" fmla="*/ 4402373 w 10693106"/>
              <a:gd name="connsiteY42-19700" fmla="*/ 228956 h 5292022"/>
              <a:gd name="connsiteX43-19701" fmla="*/ 4529373 w 10693106"/>
              <a:gd name="connsiteY43-19702" fmla="*/ 271289 h 5292022"/>
              <a:gd name="connsiteX44-19703" fmla="*/ 4859573 w 10693106"/>
              <a:gd name="connsiteY44-19704" fmla="*/ 347489 h 5292022"/>
              <a:gd name="connsiteX45-19705" fmla="*/ 5045840 w 10693106"/>
              <a:gd name="connsiteY45-19706" fmla="*/ 423689 h 5292022"/>
              <a:gd name="connsiteX46-19707" fmla="*/ 5325240 w 10693106"/>
              <a:gd name="connsiteY46-19708" fmla="*/ 584556 h 5292022"/>
              <a:gd name="connsiteX47-19709" fmla="*/ 5494573 w 10693106"/>
              <a:gd name="connsiteY47-19710" fmla="*/ 736956 h 5292022"/>
              <a:gd name="connsiteX48-19711" fmla="*/ 5562306 w 10693106"/>
              <a:gd name="connsiteY48-19712" fmla="*/ 813156 h 5292022"/>
              <a:gd name="connsiteX49-19713" fmla="*/ 5621573 w 10693106"/>
              <a:gd name="connsiteY49-19714" fmla="*/ 863956 h 5292022"/>
              <a:gd name="connsiteX50-19715" fmla="*/ 5672373 w 10693106"/>
              <a:gd name="connsiteY50-19716" fmla="*/ 931689 h 5292022"/>
              <a:gd name="connsiteX51-19717" fmla="*/ 5757040 w 10693106"/>
              <a:gd name="connsiteY51-19718" fmla="*/ 1033289 h 5292022"/>
              <a:gd name="connsiteX52-19719" fmla="*/ 5833240 w 10693106"/>
              <a:gd name="connsiteY52-19720" fmla="*/ 1126422 h 5292022"/>
              <a:gd name="connsiteX53-19721" fmla="*/ 6603706 w 10693106"/>
              <a:gd name="connsiteY53-19722" fmla="*/ 1736022 h 5292022"/>
              <a:gd name="connsiteX54-19723" fmla="*/ 7196373 w 10693106"/>
              <a:gd name="connsiteY54-19724" fmla="*/ 1778356 h 5292022"/>
              <a:gd name="connsiteX55-19725" fmla="*/ 7509640 w 10693106"/>
              <a:gd name="connsiteY55-19726" fmla="*/ 1702156 h 5292022"/>
              <a:gd name="connsiteX56-19727" fmla="*/ 7628173 w 10693106"/>
              <a:gd name="connsiteY56-19728" fmla="*/ 1676756 h 5292022"/>
              <a:gd name="connsiteX57-19729" fmla="*/ 7704373 w 10693106"/>
              <a:gd name="connsiteY57-19730" fmla="*/ 1634422 h 5292022"/>
              <a:gd name="connsiteX58-19731" fmla="*/ 7755173 w 10693106"/>
              <a:gd name="connsiteY58-19732" fmla="*/ 1625956 h 5292022"/>
              <a:gd name="connsiteX59-19733" fmla="*/ 7797506 w 10693106"/>
              <a:gd name="connsiteY59-19734" fmla="*/ 1592089 h 5292022"/>
              <a:gd name="connsiteX60-19735" fmla="*/ 7856773 w 10693106"/>
              <a:gd name="connsiteY60-19736" fmla="*/ 1575156 h 5292022"/>
              <a:gd name="connsiteX61-19737" fmla="*/ 7958373 w 10693106"/>
              <a:gd name="connsiteY61-19738" fmla="*/ 1507422 h 5292022"/>
              <a:gd name="connsiteX62-19739" fmla="*/ 8009173 w 10693106"/>
              <a:gd name="connsiteY62-19740" fmla="*/ 1456622 h 5292022"/>
              <a:gd name="connsiteX63-19741" fmla="*/ 8339373 w 10693106"/>
              <a:gd name="connsiteY63-19742" fmla="*/ 1211089 h 5292022"/>
              <a:gd name="connsiteX64-19743" fmla="*/ 8576440 w 10693106"/>
              <a:gd name="connsiteY64-19744" fmla="*/ 957089 h 5292022"/>
              <a:gd name="connsiteX65-19745" fmla="*/ 8652640 w 10693106"/>
              <a:gd name="connsiteY65-19746" fmla="*/ 677689 h 5292022"/>
              <a:gd name="connsiteX66-19747" fmla="*/ 8847373 w 10693106"/>
              <a:gd name="connsiteY66-19748" fmla="*/ 491422 h 5292022"/>
              <a:gd name="connsiteX67-19749" fmla="*/ 8982840 w 10693106"/>
              <a:gd name="connsiteY67-19750" fmla="*/ 398289 h 5292022"/>
              <a:gd name="connsiteX68-19751" fmla="*/ 9084440 w 10693106"/>
              <a:gd name="connsiteY68-19752" fmla="*/ 364422 h 5292022"/>
              <a:gd name="connsiteX69-19753" fmla="*/ 9152173 w 10693106"/>
              <a:gd name="connsiteY69-19754" fmla="*/ 339022 h 5292022"/>
              <a:gd name="connsiteX70-19755" fmla="*/ 9380773 w 10693106"/>
              <a:gd name="connsiteY70-19756" fmla="*/ 355956 h 5292022"/>
              <a:gd name="connsiteX71-19757" fmla="*/ 9744840 w 10693106"/>
              <a:gd name="connsiteY71-19758" fmla="*/ 466022 h 5292022"/>
              <a:gd name="connsiteX72-19759" fmla="*/ 9888773 w 10693106"/>
              <a:gd name="connsiteY72-19760" fmla="*/ 508356 h 5292022"/>
              <a:gd name="connsiteX73-19761" fmla="*/ 9998840 w 10693106"/>
              <a:gd name="connsiteY73-19762" fmla="*/ 559156 h 5292022"/>
              <a:gd name="connsiteX74-19763" fmla="*/ 10083506 w 10693106"/>
              <a:gd name="connsiteY74-19764" fmla="*/ 618422 h 5292022"/>
              <a:gd name="connsiteX75-19765" fmla="*/ 10286706 w 10693106"/>
              <a:gd name="connsiteY75-19766" fmla="*/ 686156 h 5292022"/>
              <a:gd name="connsiteX76-19767" fmla="*/ 10388306 w 10693106"/>
              <a:gd name="connsiteY76-19768" fmla="*/ 889356 h 5292022"/>
              <a:gd name="connsiteX77-19769" fmla="*/ 10540706 w 10693106"/>
              <a:gd name="connsiteY77-19770" fmla="*/ 1261889 h 5292022"/>
              <a:gd name="connsiteX78-19771" fmla="*/ 10557640 w 10693106"/>
              <a:gd name="connsiteY78-19772" fmla="*/ 1346556 h 5292022"/>
              <a:gd name="connsiteX79-19773" fmla="*/ 10583040 w 10693106"/>
              <a:gd name="connsiteY79-19774" fmla="*/ 1448156 h 5292022"/>
              <a:gd name="connsiteX80-19775" fmla="*/ 10616906 w 10693106"/>
              <a:gd name="connsiteY80-19776" fmla="*/ 1651356 h 5292022"/>
              <a:gd name="connsiteX81-19777" fmla="*/ 10633840 w 10693106"/>
              <a:gd name="connsiteY81-19778" fmla="*/ 1736022 h 5292022"/>
              <a:gd name="connsiteX82-19779" fmla="*/ 10650773 w 10693106"/>
              <a:gd name="connsiteY82-19780" fmla="*/ 1769889 h 5292022"/>
              <a:gd name="connsiteX83-19781" fmla="*/ 10676173 w 10693106"/>
              <a:gd name="connsiteY83-19782" fmla="*/ 1854556 h 5292022"/>
              <a:gd name="connsiteX84-19783" fmla="*/ 10693106 w 10693106"/>
              <a:gd name="connsiteY84-19784" fmla="*/ 2006956 h 5292022"/>
              <a:gd name="connsiteX85-19785" fmla="*/ 10625373 w 10693106"/>
              <a:gd name="connsiteY85-19786" fmla="*/ 2227089 h 5292022"/>
              <a:gd name="connsiteX86-19787" fmla="*/ 10608440 w 10693106"/>
              <a:gd name="connsiteY86-19788" fmla="*/ 2252489 h 5292022"/>
              <a:gd name="connsiteX87-19789" fmla="*/ 10540706 w 10693106"/>
              <a:gd name="connsiteY87-19790" fmla="*/ 2396422 h 5292022"/>
              <a:gd name="connsiteX88-19791" fmla="*/ 10498373 w 10693106"/>
              <a:gd name="connsiteY88-19792" fmla="*/ 2481089 h 5292022"/>
              <a:gd name="connsiteX89-19793" fmla="*/ 10439106 w 10693106"/>
              <a:gd name="connsiteY89-19794" fmla="*/ 2667356 h 5292022"/>
              <a:gd name="connsiteX90-19795" fmla="*/ 10430640 w 10693106"/>
              <a:gd name="connsiteY90-19796" fmla="*/ 2709689 h 5292022"/>
              <a:gd name="connsiteX91-19797" fmla="*/ 10405240 w 10693106"/>
              <a:gd name="connsiteY91-19798" fmla="*/ 2785889 h 5292022"/>
              <a:gd name="connsiteX92-19799" fmla="*/ 10396773 w 10693106"/>
              <a:gd name="connsiteY92-19800" fmla="*/ 2819756 h 5292022"/>
              <a:gd name="connsiteX93-19801" fmla="*/ 10362906 w 10693106"/>
              <a:gd name="connsiteY93-19802" fmla="*/ 2912889 h 5292022"/>
              <a:gd name="connsiteX94-19803" fmla="*/ 10329040 w 10693106"/>
              <a:gd name="connsiteY94-19804" fmla="*/ 2955222 h 5292022"/>
              <a:gd name="connsiteX95-19805" fmla="*/ 10227440 w 10693106"/>
              <a:gd name="connsiteY95-19806" fmla="*/ 3056822 h 5292022"/>
              <a:gd name="connsiteX96-19807" fmla="*/ 10168173 w 10693106"/>
              <a:gd name="connsiteY96-19808" fmla="*/ 3124556 h 5292022"/>
              <a:gd name="connsiteX97-19809" fmla="*/ 10117373 w 10693106"/>
              <a:gd name="connsiteY97-19810" fmla="*/ 3175356 h 5292022"/>
              <a:gd name="connsiteX98-19811" fmla="*/ 10032706 w 10693106"/>
              <a:gd name="connsiteY98-19812" fmla="*/ 3276956 h 5292022"/>
              <a:gd name="connsiteX99-19813" fmla="*/ 9948040 w 10693106"/>
              <a:gd name="connsiteY99-19814" fmla="*/ 3336222 h 5292022"/>
              <a:gd name="connsiteX100-19815" fmla="*/ 9905706 w 10693106"/>
              <a:gd name="connsiteY100-19816" fmla="*/ 3361622 h 5292022"/>
              <a:gd name="connsiteX101-19817" fmla="*/ 9829506 w 10693106"/>
              <a:gd name="connsiteY101-19818" fmla="*/ 3378556 h 5292022"/>
              <a:gd name="connsiteX102-19819" fmla="*/ 9727906 w 10693106"/>
              <a:gd name="connsiteY102-19820" fmla="*/ 3420889 h 5292022"/>
              <a:gd name="connsiteX103-19821" fmla="*/ 9634773 w 10693106"/>
              <a:gd name="connsiteY103-19822" fmla="*/ 3446289 h 5292022"/>
              <a:gd name="connsiteX104-19823" fmla="*/ 9456973 w 10693106"/>
              <a:gd name="connsiteY104-19824" fmla="*/ 3539422 h 5292022"/>
              <a:gd name="connsiteX105-19825" fmla="*/ 9313040 w 10693106"/>
              <a:gd name="connsiteY105-19826" fmla="*/ 3666422 h 5292022"/>
              <a:gd name="connsiteX106-19827" fmla="*/ 9279173 w 10693106"/>
              <a:gd name="connsiteY106-19828" fmla="*/ 3683356 h 5292022"/>
              <a:gd name="connsiteX107-19829" fmla="*/ 9067506 w 10693106"/>
              <a:gd name="connsiteY107-19830" fmla="*/ 3861156 h 5292022"/>
              <a:gd name="connsiteX108-19831" fmla="*/ 8999773 w 10693106"/>
              <a:gd name="connsiteY108-19832" fmla="*/ 3928889 h 5292022"/>
              <a:gd name="connsiteX109-19833" fmla="*/ 8813506 w 10693106"/>
              <a:gd name="connsiteY109-19834" fmla="*/ 4064356 h 5292022"/>
              <a:gd name="connsiteX110-19835" fmla="*/ 8728840 w 10693106"/>
              <a:gd name="connsiteY110-19836" fmla="*/ 4106689 h 5292022"/>
              <a:gd name="connsiteX111-19837" fmla="*/ 8373240 w 10693106"/>
              <a:gd name="connsiteY111-19838" fmla="*/ 4140556 h 5292022"/>
              <a:gd name="connsiteX112-19839" fmla="*/ 7966840 w 10693106"/>
              <a:gd name="connsiteY112-19840" fmla="*/ 4233689 h 5292022"/>
              <a:gd name="connsiteX113-19841" fmla="*/ 7687440 w 10693106"/>
              <a:gd name="connsiteY113-19842" fmla="*/ 4394556 h 5292022"/>
              <a:gd name="connsiteX114-19843" fmla="*/ 7551973 w 10693106"/>
              <a:gd name="connsiteY114-19844" fmla="*/ 4479222 h 5292022"/>
              <a:gd name="connsiteX115-19845" fmla="*/ 7374173 w 10693106"/>
              <a:gd name="connsiteY115-19846" fmla="*/ 4657022 h 5292022"/>
              <a:gd name="connsiteX116-19847" fmla="*/ 7374173 w 10693106"/>
              <a:gd name="connsiteY116-19848" fmla="*/ 4657022 h 5292022"/>
              <a:gd name="connsiteX117-19849" fmla="*/ 7221773 w 10693106"/>
              <a:gd name="connsiteY117-19850" fmla="*/ 4775556 h 5292022"/>
              <a:gd name="connsiteX118-19851" fmla="*/ 7027040 w 10693106"/>
              <a:gd name="connsiteY118-19852" fmla="*/ 4902556 h 5292022"/>
              <a:gd name="connsiteX119-19853" fmla="*/ 6883106 w 10693106"/>
              <a:gd name="connsiteY119-19854" fmla="*/ 4970289 h 5292022"/>
              <a:gd name="connsiteX120-19855" fmla="*/ 6815373 w 10693106"/>
              <a:gd name="connsiteY120-19856" fmla="*/ 5012622 h 5292022"/>
              <a:gd name="connsiteX121-19857" fmla="*/ 6646040 w 10693106"/>
              <a:gd name="connsiteY121-19858" fmla="*/ 5105756 h 5292022"/>
              <a:gd name="connsiteX122-19859" fmla="*/ 6527506 w 10693106"/>
              <a:gd name="connsiteY122-19860" fmla="*/ 5165022 h 5292022"/>
              <a:gd name="connsiteX123-19861" fmla="*/ 6298906 w 10693106"/>
              <a:gd name="connsiteY123-19862" fmla="*/ 5241222 h 5292022"/>
              <a:gd name="connsiteX124-19863" fmla="*/ 6197306 w 10693106"/>
              <a:gd name="connsiteY124-19864" fmla="*/ 5266622 h 5292022"/>
              <a:gd name="connsiteX125-19865" fmla="*/ 6061840 w 10693106"/>
              <a:gd name="connsiteY125-19866" fmla="*/ 5275089 h 5292022"/>
              <a:gd name="connsiteX126-19867" fmla="*/ 5917906 w 10693106"/>
              <a:gd name="connsiteY126-19868" fmla="*/ 5292022 h 5292022"/>
              <a:gd name="connsiteX127-19869" fmla="*/ 5748573 w 10693106"/>
              <a:gd name="connsiteY127-19870" fmla="*/ 5283556 h 5292022"/>
              <a:gd name="connsiteX128-19871" fmla="*/ 5282906 w 10693106"/>
              <a:gd name="connsiteY128-19872" fmla="*/ 5173489 h 5292022"/>
              <a:gd name="connsiteX129-19873" fmla="*/ 5138973 w 10693106"/>
              <a:gd name="connsiteY129-19874" fmla="*/ 5071889 h 5292022"/>
              <a:gd name="connsiteX130-19875" fmla="*/ 4959480 w 10693106"/>
              <a:gd name="connsiteY130-19876" fmla="*/ 4988069 h 5292022"/>
              <a:gd name="connsiteX131-19877" fmla="*/ 4842216 w 10693106"/>
              <a:gd name="connsiteY131-19878" fmla="*/ 4953779 h 5292022"/>
              <a:gd name="connsiteX132-19879" fmla="*/ 4797343 w 10693106"/>
              <a:gd name="connsiteY132-19880" fmla="*/ 4878426 h 5292022"/>
              <a:gd name="connsiteX133-19881" fmla="*/ 4686853 w 10693106"/>
              <a:gd name="connsiteY133-19882" fmla="*/ 4788256 h 5292022"/>
              <a:gd name="connsiteX134-19883" fmla="*/ 4536146 w 10693106"/>
              <a:gd name="connsiteY134-19884" fmla="*/ 4712902 h 5292022"/>
              <a:gd name="connsiteX135-19885" fmla="*/ 4365120 w 10693106"/>
              <a:gd name="connsiteY135-19886" fmla="*/ 4616382 h 5292022"/>
              <a:gd name="connsiteX136-19887" fmla="*/ 4187743 w 10693106"/>
              <a:gd name="connsiteY136-19888" fmla="*/ 4521556 h 5292022"/>
              <a:gd name="connsiteX137-19889" fmla="*/ 4125936 w 10693106"/>
              <a:gd name="connsiteY137-19890" fmla="*/ 4386724 h 5292022"/>
              <a:gd name="connsiteX138-19891" fmla="*/ 3995973 w 10693106"/>
              <a:gd name="connsiteY138-19892" fmla="*/ 4232419 h 5292022"/>
              <a:gd name="connsiteX139-19893" fmla="*/ 3962530 w 10693106"/>
              <a:gd name="connsiteY139-19894" fmla="*/ 4135052 h 5292022"/>
              <a:gd name="connsiteX140-19895" fmla="*/ 3895643 w 10693106"/>
              <a:gd name="connsiteY140-19896" fmla="*/ 4059699 h 5292022"/>
              <a:gd name="connsiteX141-19897" fmla="*/ 3919773 w 10693106"/>
              <a:gd name="connsiteY141-19898" fmla="*/ 3920422 h 5292022"/>
              <a:gd name="connsiteX142-19899" fmla="*/ 3877440 w 10693106"/>
              <a:gd name="connsiteY142-19900" fmla="*/ 3624089 h 5292022"/>
              <a:gd name="connsiteX143-19901" fmla="*/ 3852040 w 10693106"/>
              <a:gd name="connsiteY143-19902" fmla="*/ 3530956 h 5292022"/>
              <a:gd name="connsiteX144-19903" fmla="*/ 3801240 w 10693106"/>
              <a:gd name="connsiteY144-19904" fmla="*/ 3420889 h 5292022"/>
              <a:gd name="connsiteX145-19905" fmla="*/ 3733506 w 10693106"/>
              <a:gd name="connsiteY145-19906" fmla="*/ 3319289 h 5292022"/>
              <a:gd name="connsiteX146-19907" fmla="*/ 3242440 w 10693106"/>
              <a:gd name="connsiteY146-19908" fmla="*/ 3099156 h 5292022"/>
              <a:gd name="connsiteX147-19909" fmla="*/ 3123906 w 10693106"/>
              <a:gd name="connsiteY147-19910" fmla="*/ 2997556 h 5292022"/>
              <a:gd name="connsiteX148-19911" fmla="*/ 2988440 w 10693106"/>
              <a:gd name="connsiteY148-19912" fmla="*/ 2802822 h 5292022"/>
              <a:gd name="connsiteX149-19913" fmla="*/ 2971506 w 10693106"/>
              <a:gd name="connsiteY149-19914" fmla="*/ 2743556 h 5292022"/>
              <a:gd name="connsiteX150-19915" fmla="*/ 2996906 w 10693106"/>
              <a:gd name="connsiteY150-19916" fmla="*/ 2531889 h 5292022"/>
              <a:gd name="connsiteX151-19917" fmla="*/ 3013840 w 10693106"/>
              <a:gd name="connsiteY151-19918" fmla="*/ 2430289 h 5292022"/>
              <a:gd name="connsiteX152-19919" fmla="*/ 3005373 w 10693106"/>
              <a:gd name="connsiteY152-19920" fmla="*/ 2311756 h 5292022"/>
              <a:gd name="connsiteX153-19921" fmla="*/ 2988440 w 10693106"/>
              <a:gd name="connsiteY153-19922" fmla="*/ 2260956 h 5292022"/>
              <a:gd name="connsiteX154-19923" fmla="*/ 2802173 w 10693106"/>
              <a:gd name="connsiteY154-19924" fmla="*/ 2006956 h 5292022"/>
              <a:gd name="connsiteX155-19925" fmla="*/ 2641306 w 10693106"/>
              <a:gd name="connsiteY155-19926" fmla="*/ 1863022 h 5292022"/>
              <a:gd name="connsiteX156-19927" fmla="*/ 2590506 w 10693106"/>
              <a:gd name="connsiteY156-19928" fmla="*/ 1837622 h 5292022"/>
              <a:gd name="connsiteX157-19929" fmla="*/ 2531240 w 10693106"/>
              <a:gd name="connsiteY157-19930" fmla="*/ 1829156 h 5292022"/>
              <a:gd name="connsiteX158-19931" fmla="*/ 2446573 w 10693106"/>
              <a:gd name="connsiteY158-19932" fmla="*/ 1812222 h 5292022"/>
              <a:gd name="connsiteX159-19933" fmla="*/ 2251840 w 10693106"/>
              <a:gd name="connsiteY159-19934" fmla="*/ 1837622 h 5292022"/>
              <a:gd name="connsiteX160-19935" fmla="*/ 2167173 w 10693106"/>
              <a:gd name="connsiteY160-19936" fmla="*/ 1879956 h 5292022"/>
              <a:gd name="connsiteX161-19937" fmla="*/ 1980906 w 10693106"/>
              <a:gd name="connsiteY161-19938" fmla="*/ 1939222 h 5292022"/>
              <a:gd name="connsiteX162-19939" fmla="*/ 1904706 w 10693106"/>
              <a:gd name="connsiteY162-19940" fmla="*/ 1973089 h 5292022"/>
              <a:gd name="connsiteX163-19941" fmla="*/ 1828506 w 10693106"/>
              <a:gd name="connsiteY163-19942" fmla="*/ 1990022 h 5292022"/>
              <a:gd name="connsiteX164-19943" fmla="*/ 1726906 w 10693106"/>
              <a:gd name="connsiteY164-19944" fmla="*/ 2040822 h 5292022"/>
              <a:gd name="connsiteX165-19945" fmla="*/ 1659173 w 10693106"/>
              <a:gd name="connsiteY165-19946" fmla="*/ 2074689 h 5292022"/>
              <a:gd name="connsiteX166-19947" fmla="*/ 1498306 w 10693106"/>
              <a:gd name="connsiteY166-19948" fmla="*/ 2100089 h 5292022"/>
              <a:gd name="connsiteX167-19949" fmla="*/ 914106 w 10693106"/>
              <a:gd name="connsiteY167-19950" fmla="*/ 2032356 h 5292022"/>
              <a:gd name="connsiteX168-19951" fmla="*/ 617773 w 10693106"/>
              <a:gd name="connsiteY168-19952" fmla="*/ 1922289 h 5292022"/>
              <a:gd name="connsiteX169-19953" fmla="*/ 516173 w 10693106"/>
              <a:gd name="connsiteY169-19954" fmla="*/ 1837622 h 5292022"/>
              <a:gd name="connsiteX170-19955" fmla="*/ 355306 w 10693106"/>
              <a:gd name="connsiteY170-19956" fmla="*/ 1625956 h 5292022"/>
              <a:gd name="connsiteX171-19957" fmla="*/ 296040 w 10693106"/>
              <a:gd name="connsiteY171-19958" fmla="*/ 1524356 h 5292022"/>
              <a:gd name="connsiteX172-19959" fmla="*/ 253706 w 10693106"/>
              <a:gd name="connsiteY172-19960" fmla="*/ 1346556 h 5292022"/>
              <a:gd name="connsiteX173-19961" fmla="*/ 245240 w 10693106"/>
              <a:gd name="connsiteY173-19962" fmla="*/ 1219556 h 5292022"/>
              <a:gd name="connsiteX174-19963" fmla="*/ 236773 w 10693106"/>
              <a:gd name="connsiteY174-19964" fmla="*/ 1117956 h 5292022"/>
              <a:gd name="connsiteX175-19965" fmla="*/ 245240 w 10693106"/>
              <a:gd name="connsiteY175-19966" fmla="*/ 847022 h 5292022"/>
              <a:gd name="connsiteX176-19967" fmla="*/ 236773 w 10693106"/>
              <a:gd name="connsiteY176-19968" fmla="*/ 703089 h 5292022"/>
              <a:gd name="connsiteX177-19969" fmla="*/ 109773 w 10693106"/>
              <a:gd name="connsiteY177-19970" fmla="*/ 559156 h 5292022"/>
              <a:gd name="connsiteX178-19971" fmla="*/ 58973 w 10693106"/>
              <a:gd name="connsiteY178-19972" fmla="*/ 482956 h 5292022"/>
              <a:gd name="connsiteX179-19973" fmla="*/ 16640 w 10693106"/>
              <a:gd name="connsiteY179-19974" fmla="*/ 432156 h 5292022"/>
              <a:gd name="connsiteX180-19975" fmla="*/ 8173 w 10693106"/>
              <a:gd name="connsiteY180-19976" fmla="*/ 389822 h 5292022"/>
              <a:gd name="connsiteX181-19977" fmla="*/ 16640 w 10693106"/>
              <a:gd name="connsiteY181-19978" fmla="*/ 339022 h 5292022"/>
              <a:gd name="connsiteX0-19979" fmla="*/ 16640 w 10693106"/>
              <a:gd name="connsiteY0-19980" fmla="*/ 339022 h 5292022"/>
              <a:gd name="connsiteX1-19981" fmla="*/ 58973 w 10693106"/>
              <a:gd name="connsiteY1-19982" fmla="*/ 245889 h 5292022"/>
              <a:gd name="connsiteX2-19983" fmla="*/ 109773 w 10693106"/>
              <a:gd name="connsiteY2-19984" fmla="*/ 178156 h 5292022"/>
              <a:gd name="connsiteX3-19985" fmla="*/ 202906 w 10693106"/>
              <a:gd name="connsiteY3-19986" fmla="*/ 93489 h 5292022"/>
              <a:gd name="connsiteX4-19987" fmla="*/ 236773 w 10693106"/>
              <a:gd name="connsiteY4-19988" fmla="*/ 68089 h 5292022"/>
              <a:gd name="connsiteX5-19989" fmla="*/ 335410 w 10693106"/>
              <a:gd name="connsiteY5-19990" fmla="*/ 58352 h 5292022"/>
              <a:gd name="connsiteX6-19991" fmla="*/ 382400 w 10693106"/>
              <a:gd name="connsiteY6-19992" fmla="*/ 51156 h 5292022"/>
              <a:gd name="connsiteX7-19993" fmla="*/ 434912 w 10693106"/>
              <a:gd name="connsiteY7-19994" fmla="*/ 70071 h 5292022"/>
              <a:gd name="connsiteX8-19995" fmla="*/ 492697 w 10693106"/>
              <a:gd name="connsiteY8-19996" fmla="*/ 74247 h 5292022"/>
              <a:gd name="connsiteX9-19997" fmla="*/ 822897 w 10693106"/>
              <a:gd name="connsiteY9-19998" fmla="*/ 82713 h 5292022"/>
              <a:gd name="connsiteX10-19999" fmla="*/ 1091906 w 10693106"/>
              <a:gd name="connsiteY10-20000" fmla="*/ 356 h 5292022"/>
              <a:gd name="connsiteX11-20001" fmla="*/ 1235840 w 10693106"/>
              <a:gd name="connsiteY11-20002" fmla="*/ 59622 h 5292022"/>
              <a:gd name="connsiteX12-20003" fmla="*/ 1337440 w 10693106"/>
              <a:gd name="connsiteY12-20004" fmla="*/ 135822 h 5292022"/>
              <a:gd name="connsiteX13-20005" fmla="*/ 1422106 w 10693106"/>
              <a:gd name="connsiteY13-20006" fmla="*/ 245889 h 5292022"/>
              <a:gd name="connsiteX14-20007" fmla="*/ 1481373 w 10693106"/>
              <a:gd name="connsiteY14-20008" fmla="*/ 313622 h 5292022"/>
              <a:gd name="connsiteX15-20009" fmla="*/ 1532173 w 10693106"/>
              <a:gd name="connsiteY15-20010" fmla="*/ 347489 h 5292022"/>
              <a:gd name="connsiteX16-20011" fmla="*/ 1684573 w 10693106"/>
              <a:gd name="connsiteY16-20012" fmla="*/ 406756 h 5292022"/>
              <a:gd name="connsiteX17-20013" fmla="*/ 1760773 w 10693106"/>
              <a:gd name="connsiteY17-20014" fmla="*/ 423689 h 5292022"/>
              <a:gd name="connsiteX18-20015" fmla="*/ 1997840 w 10693106"/>
              <a:gd name="connsiteY18-20016" fmla="*/ 415222 h 5292022"/>
              <a:gd name="connsiteX19-20017" fmla="*/ 2116373 w 10693106"/>
              <a:gd name="connsiteY19-20018" fmla="*/ 398289 h 5292022"/>
              <a:gd name="connsiteX20-20019" fmla="*/ 2260306 w 10693106"/>
              <a:gd name="connsiteY20-20020" fmla="*/ 381356 h 5292022"/>
              <a:gd name="connsiteX21-20021" fmla="*/ 2404240 w 10693106"/>
              <a:gd name="connsiteY21-20022" fmla="*/ 355956 h 5292022"/>
              <a:gd name="connsiteX22-20023" fmla="*/ 2455040 w 10693106"/>
              <a:gd name="connsiteY22-20024" fmla="*/ 330556 h 5292022"/>
              <a:gd name="connsiteX23-20025" fmla="*/ 2531240 w 10693106"/>
              <a:gd name="connsiteY23-20026" fmla="*/ 305156 h 5292022"/>
              <a:gd name="connsiteX24-20027" fmla="*/ 2649350 w 10693106"/>
              <a:gd name="connsiteY24-20028" fmla="*/ 225781 h 5292022"/>
              <a:gd name="connsiteX25-20029" fmla="*/ 2742906 w 10693106"/>
              <a:gd name="connsiteY25-20030" fmla="*/ 186622 h 5292022"/>
              <a:gd name="connsiteX26-20031" fmla="*/ 2764920 w 10693106"/>
              <a:gd name="connsiteY26-20032" fmla="*/ 173076 h 5292022"/>
              <a:gd name="connsiteX27-20033" fmla="*/ 2832653 w 10693106"/>
              <a:gd name="connsiteY27-20034" fmla="*/ 167996 h 5292022"/>
              <a:gd name="connsiteX28-20035" fmla="*/ 3002294 w 10693106"/>
              <a:gd name="connsiteY28-20036" fmla="*/ 154680 h 5292022"/>
              <a:gd name="connsiteX29-20037" fmla="*/ 3142763 w 10693106"/>
              <a:gd name="connsiteY29-20038" fmla="*/ 110421 h 5292022"/>
              <a:gd name="connsiteX30-20039" fmla="*/ 3398918 w 10693106"/>
              <a:gd name="connsiteY30-20040" fmla="*/ 72322 h 5292022"/>
              <a:gd name="connsiteX31-20041" fmla="*/ 3606506 w 10693106"/>
              <a:gd name="connsiteY31-20042" fmla="*/ 60393 h 5292022"/>
              <a:gd name="connsiteX32-20043" fmla="*/ 3682706 w 10693106"/>
              <a:gd name="connsiteY32-20044" fmla="*/ 79942 h 5292022"/>
              <a:gd name="connsiteX33-20045" fmla="*/ 3741973 w 10693106"/>
              <a:gd name="connsiteY33-20046" fmla="*/ 86561 h 5292022"/>
              <a:gd name="connsiteX34-20047" fmla="*/ 3794678 w 10693106"/>
              <a:gd name="connsiteY34-20048" fmla="*/ 101321 h 5292022"/>
              <a:gd name="connsiteX35-20049" fmla="*/ 3833625 w 10693106"/>
              <a:gd name="connsiteY35-20050" fmla="*/ 110846 h 5292022"/>
              <a:gd name="connsiteX36-20051" fmla="*/ 3892487 w 10693106"/>
              <a:gd name="connsiteY36-20052" fmla="*/ 116984 h 5292022"/>
              <a:gd name="connsiteX37-20053" fmla="*/ 3933108 w 10693106"/>
              <a:gd name="connsiteY37-20054" fmla="*/ 128837 h 5292022"/>
              <a:gd name="connsiteX38-20055" fmla="*/ 3976923 w 10693106"/>
              <a:gd name="connsiteY38-20056" fmla="*/ 135187 h 5292022"/>
              <a:gd name="connsiteX39-20057" fmla="*/ 4021373 w 10693106"/>
              <a:gd name="connsiteY39-20058" fmla="*/ 144289 h 5292022"/>
              <a:gd name="connsiteX40-20059" fmla="*/ 4055240 w 10693106"/>
              <a:gd name="connsiteY40-20060" fmla="*/ 152756 h 5292022"/>
              <a:gd name="connsiteX41-20061" fmla="*/ 4275373 w 10693106"/>
              <a:gd name="connsiteY41-20062" fmla="*/ 195089 h 5292022"/>
              <a:gd name="connsiteX42-20063" fmla="*/ 4402373 w 10693106"/>
              <a:gd name="connsiteY42-20064" fmla="*/ 228956 h 5292022"/>
              <a:gd name="connsiteX43-20065" fmla="*/ 4529373 w 10693106"/>
              <a:gd name="connsiteY43-20066" fmla="*/ 271289 h 5292022"/>
              <a:gd name="connsiteX44-20067" fmla="*/ 4859573 w 10693106"/>
              <a:gd name="connsiteY44-20068" fmla="*/ 347489 h 5292022"/>
              <a:gd name="connsiteX45-20069" fmla="*/ 5045840 w 10693106"/>
              <a:gd name="connsiteY45-20070" fmla="*/ 423689 h 5292022"/>
              <a:gd name="connsiteX46-20071" fmla="*/ 5325240 w 10693106"/>
              <a:gd name="connsiteY46-20072" fmla="*/ 584556 h 5292022"/>
              <a:gd name="connsiteX47-20073" fmla="*/ 5494573 w 10693106"/>
              <a:gd name="connsiteY47-20074" fmla="*/ 736956 h 5292022"/>
              <a:gd name="connsiteX48-20075" fmla="*/ 5562306 w 10693106"/>
              <a:gd name="connsiteY48-20076" fmla="*/ 813156 h 5292022"/>
              <a:gd name="connsiteX49-20077" fmla="*/ 5621573 w 10693106"/>
              <a:gd name="connsiteY49-20078" fmla="*/ 863956 h 5292022"/>
              <a:gd name="connsiteX50-20079" fmla="*/ 5672373 w 10693106"/>
              <a:gd name="connsiteY50-20080" fmla="*/ 931689 h 5292022"/>
              <a:gd name="connsiteX51-20081" fmla="*/ 5757040 w 10693106"/>
              <a:gd name="connsiteY51-20082" fmla="*/ 1033289 h 5292022"/>
              <a:gd name="connsiteX52-20083" fmla="*/ 5833240 w 10693106"/>
              <a:gd name="connsiteY52-20084" fmla="*/ 1126422 h 5292022"/>
              <a:gd name="connsiteX53-20085" fmla="*/ 6603706 w 10693106"/>
              <a:gd name="connsiteY53-20086" fmla="*/ 1736022 h 5292022"/>
              <a:gd name="connsiteX54-20087" fmla="*/ 7196373 w 10693106"/>
              <a:gd name="connsiteY54-20088" fmla="*/ 1778356 h 5292022"/>
              <a:gd name="connsiteX55-20089" fmla="*/ 7509640 w 10693106"/>
              <a:gd name="connsiteY55-20090" fmla="*/ 1702156 h 5292022"/>
              <a:gd name="connsiteX56-20091" fmla="*/ 7704373 w 10693106"/>
              <a:gd name="connsiteY56-20092" fmla="*/ 1634422 h 5292022"/>
              <a:gd name="connsiteX57-20093" fmla="*/ 7755173 w 10693106"/>
              <a:gd name="connsiteY57-20094" fmla="*/ 1625956 h 5292022"/>
              <a:gd name="connsiteX58-20095" fmla="*/ 7797506 w 10693106"/>
              <a:gd name="connsiteY58-20096" fmla="*/ 1592089 h 5292022"/>
              <a:gd name="connsiteX59-20097" fmla="*/ 7856773 w 10693106"/>
              <a:gd name="connsiteY59-20098" fmla="*/ 1575156 h 5292022"/>
              <a:gd name="connsiteX60-20099" fmla="*/ 7958373 w 10693106"/>
              <a:gd name="connsiteY60-20100" fmla="*/ 1507422 h 5292022"/>
              <a:gd name="connsiteX61-20101" fmla="*/ 8009173 w 10693106"/>
              <a:gd name="connsiteY61-20102" fmla="*/ 1456622 h 5292022"/>
              <a:gd name="connsiteX62-20103" fmla="*/ 8339373 w 10693106"/>
              <a:gd name="connsiteY62-20104" fmla="*/ 1211089 h 5292022"/>
              <a:gd name="connsiteX63-20105" fmla="*/ 8576440 w 10693106"/>
              <a:gd name="connsiteY63-20106" fmla="*/ 957089 h 5292022"/>
              <a:gd name="connsiteX64-20107" fmla="*/ 8652640 w 10693106"/>
              <a:gd name="connsiteY64-20108" fmla="*/ 677689 h 5292022"/>
              <a:gd name="connsiteX65-20109" fmla="*/ 8847373 w 10693106"/>
              <a:gd name="connsiteY65-20110" fmla="*/ 491422 h 5292022"/>
              <a:gd name="connsiteX66-20111" fmla="*/ 8982840 w 10693106"/>
              <a:gd name="connsiteY66-20112" fmla="*/ 398289 h 5292022"/>
              <a:gd name="connsiteX67-20113" fmla="*/ 9084440 w 10693106"/>
              <a:gd name="connsiteY67-20114" fmla="*/ 364422 h 5292022"/>
              <a:gd name="connsiteX68-20115" fmla="*/ 9152173 w 10693106"/>
              <a:gd name="connsiteY68-20116" fmla="*/ 339022 h 5292022"/>
              <a:gd name="connsiteX69-20117" fmla="*/ 9380773 w 10693106"/>
              <a:gd name="connsiteY69-20118" fmla="*/ 355956 h 5292022"/>
              <a:gd name="connsiteX70-20119" fmla="*/ 9744840 w 10693106"/>
              <a:gd name="connsiteY70-20120" fmla="*/ 466022 h 5292022"/>
              <a:gd name="connsiteX71-20121" fmla="*/ 9888773 w 10693106"/>
              <a:gd name="connsiteY71-20122" fmla="*/ 508356 h 5292022"/>
              <a:gd name="connsiteX72-20123" fmla="*/ 9998840 w 10693106"/>
              <a:gd name="connsiteY72-20124" fmla="*/ 559156 h 5292022"/>
              <a:gd name="connsiteX73-20125" fmla="*/ 10083506 w 10693106"/>
              <a:gd name="connsiteY73-20126" fmla="*/ 618422 h 5292022"/>
              <a:gd name="connsiteX74-20127" fmla="*/ 10286706 w 10693106"/>
              <a:gd name="connsiteY74-20128" fmla="*/ 686156 h 5292022"/>
              <a:gd name="connsiteX75-20129" fmla="*/ 10388306 w 10693106"/>
              <a:gd name="connsiteY75-20130" fmla="*/ 889356 h 5292022"/>
              <a:gd name="connsiteX76-20131" fmla="*/ 10540706 w 10693106"/>
              <a:gd name="connsiteY76-20132" fmla="*/ 1261889 h 5292022"/>
              <a:gd name="connsiteX77-20133" fmla="*/ 10557640 w 10693106"/>
              <a:gd name="connsiteY77-20134" fmla="*/ 1346556 h 5292022"/>
              <a:gd name="connsiteX78-20135" fmla="*/ 10583040 w 10693106"/>
              <a:gd name="connsiteY78-20136" fmla="*/ 1448156 h 5292022"/>
              <a:gd name="connsiteX79-20137" fmla="*/ 10616906 w 10693106"/>
              <a:gd name="connsiteY79-20138" fmla="*/ 1651356 h 5292022"/>
              <a:gd name="connsiteX80-20139" fmla="*/ 10633840 w 10693106"/>
              <a:gd name="connsiteY80-20140" fmla="*/ 1736022 h 5292022"/>
              <a:gd name="connsiteX81-20141" fmla="*/ 10650773 w 10693106"/>
              <a:gd name="connsiteY81-20142" fmla="*/ 1769889 h 5292022"/>
              <a:gd name="connsiteX82-20143" fmla="*/ 10676173 w 10693106"/>
              <a:gd name="connsiteY82-20144" fmla="*/ 1854556 h 5292022"/>
              <a:gd name="connsiteX83-20145" fmla="*/ 10693106 w 10693106"/>
              <a:gd name="connsiteY83-20146" fmla="*/ 2006956 h 5292022"/>
              <a:gd name="connsiteX84-20147" fmla="*/ 10625373 w 10693106"/>
              <a:gd name="connsiteY84-20148" fmla="*/ 2227089 h 5292022"/>
              <a:gd name="connsiteX85-20149" fmla="*/ 10608440 w 10693106"/>
              <a:gd name="connsiteY85-20150" fmla="*/ 2252489 h 5292022"/>
              <a:gd name="connsiteX86-20151" fmla="*/ 10540706 w 10693106"/>
              <a:gd name="connsiteY86-20152" fmla="*/ 2396422 h 5292022"/>
              <a:gd name="connsiteX87-20153" fmla="*/ 10498373 w 10693106"/>
              <a:gd name="connsiteY87-20154" fmla="*/ 2481089 h 5292022"/>
              <a:gd name="connsiteX88-20155" fmla="*/ 10439106 w 10693106"/>
              <a:gd name="connsiteY88-20156" fmla="*/ 2667356 h 5292022"/>
              <a:gd name="connsiteX89-20157" fmla="*/ 10430640 w 10693106"/>
              <a:gd name="connsiteY89-20158" fmla="*/ 2709689 h 5292022"/>
              <a:gd name="connsiteX90-20159" fmla="*/ 10405240 w 10693106"/>
              <a:gd name="connsiteY90-20160" fmla="*/ 2785889 h 5292022"/>
              <a:gd name="connsiteX91-20161" fmla="*/ 10396773 w 10693106"/>
              <a:gd name="connsiteY91-20162" fmla="*/ 2819756 h 5292022"/>
              <a:gd name="connsiteX92-20163" fmla="*/ 10362906 w 10693106"/>
              <a:gd name="connsiteY92-20164" fmla="*/ 2912889 h 5292022"/>
              <a:gd name="connsiteX93-20165" fmla="*/ 10329040 w 10693106"/>
              <a:gd name="connsiteY93-20166" fmla="*/ 2955222 h 5292022"/>
              <a:gd name="connsiteX94-20167" fmla="*/ 10227440 w 10693106"/>
              <a:gd name="connsiteY94-20168" fmla="*/ 3056822 h 5292022"/>
              <a:gd name="connsiteX95-20169" fmla="*/ 10168173 w 10693106"/>
              <a:gd name="connsiteY95-20170" fmla="*/ 3124556 h 5292022"/>
              <a:gd name="connsiteX96-20171" fmla="*/ 10117373 w 10693106"/>
              <a:gd name="connsiteY96-20172" fmla="*/ 3175356 h 5292022"/>
              <a:gd name="connsiteX97-20173" fmla="*/ 10032706 w 10693106"/>
              <a:gd name="connsiteY97-20174" fmla="*/ 3276956 h 5292022"/>
              <a:gd name="connsiteX98-20175" fmla="*/ 9948040 w 10693106"/>
              <a:gd name="connsiteY98-20176" fmla="*/ 3336222 h 5292022"/>
              <a:gd name="connsiteX99-20177" fmla="*/ 9905706 w 10693106"/>
              <a:gd name="connsiteY99-20178" fmla="*/ 3361622 h 5292022"/>
              <a:gd name="connsiteX100-20179" fmla="*/ 9829506 w 10693106"/>
              <a:gd name="connsiteY100-20180" fmla="*/ 3378556 h 5292022"/>
              <a:gd name="connsiteX101-20181" fmla="*/ 9727906 w 10693106"/>
              <a:gd name="connsiteY101-20182" fmla="*/ 3420889 h 5292022"/>
              <a:gd name="connsiteX102-20183" fmla="*/ 9634773 w 10693106"/>
              <a:gd name="connsiteY102-20184" fmla="*/ 3446289 h 5292022"/>
              <a:gd name="connsiteX103-20185" fmla="*/ 9456973 w 10693106"/>
              <a:gd name="connsiteY103-20186" fmla="*/ 3539422 h 5292022"/>
              <a:gd name="connsiteX104-20187" fmla="*/ 9313040 w 10693106"/>
              <a:gd name="connsiteY104-20188" fmla="*/ 3666422 h 5292022"/>
              <a:gd name="connsiteX105-20189" fmla="*/ 9279173 w 10693106"/>
              <a:gd name="connsiteY105-20190" fmla="*/ 3683356 h 5292022"/>
              <a:gd name="connsiteX106-20191" fmla="*/ 9067506 w 10693106"/>
              <a:gd name="connsiteY106-20192" fmla="*/ 3861156 h 5292022"/>
              <a:gd name="connsiteX107-20193" fmla="*/ 8999773 w 10693106"/>
              <a:gd name="connsiteY107-20194" fmla="*/ 3928889 h 5292022"/>
              <a:gd name="connsiteX108-20195" fmla="*/ 8813506 w 10693106"/>
              <a:gd name="connsiteY108-20196" fmla="*/ 4064356 h 5292022"/>
              <a:gd name="connsiteX109-20197" fmla="*/ 8728840 w 10693106"/>
              <a:gd name="connsiteY109-20198" fmla="*/ 4106689 h 5292022"/>
              <a:gd name="connsiteX110-20199" fmla="*/ 8373240 w 10693106"/>
              <a:gd name="connsiteY110-20200" fmla="*/ 4140556 h 5292022"/>
              <a:gd name="connsiteX111-20201" fmla="*/ 7966840 w 10693106"/>
              <a:gd name="connsiteY111-20202" fmla="*/ 4233689 h 5292022"/>
              <a:gd name="connsiteX112-20203" fmla="*/ 7687440 w 10693106"/>
              <a:gd name="connsiteY112-20204" fmla="*/ 4394556 h 5292022"/>
              <a:gd name="connsiteX113-20205" fmla="*/ 7551973 w 10693106"/>
              <a:gd name="connsiteY113-20206" fmla="*/ 4479222 h 5292022"/>
              <a:gd name="connsiteX114-20207" fmla="*/ 7374173 w 10693106"/>
              <a:gd name="connsiteY114-20208" fmla="*/ 4657022 h 5292022"/>
              <a:gd name="connsiteX115-20209" fmla="*/ 7374173 w 10693106"/>
              <a:gd name="connsiteY115-20210" fmla="*/ 4657022 h 5292022"/>
              <a:gd name="connsiteX116-20211" fmla="*/ 7221773 w 10693106"/>
              <a:gd name="connsiteY116-20212" fmla="*/ 4775556 h 5292022"/>
              <a:gd name="connsiteX117-20213" fmla="*/ 7027040 w 10693106"/>
              <a:gd name="connsiteY117-20214" fmla="*/ 4902556 h 5292022"/>
              <a:gd name="connsiteX118-20215" fmla="*/ 6883106 w 10693106"/>
              <a:gd name="connsiteY118-20216" fmla="*/ 4970289 h 5292022"/>
              <a:gd name="connsiteX119-20217" fmla="*/ 6815373 w 10693106"/>
              <a:gd name="connsiteY119-20218" fmla="*/ 5012622 h 5292022"/>
              <a:gd name="connsiteX120-20219" fmla="*/ 6646040 w 10693106"/>
              <a:gd name="connsiteY120-20220" fmla="*/ 5105756 h 5292022"/>
              <a:gd name="connsiteX121-20221" fmla="*/ 6527506 w 10693106"/>
              <a:gd name="connsiteY121-20222" fmla="*/ 5165022 h 5292022"/>
              <a:gd name="connsiteX122-20223" fmla="*/ 6298906 w 10693106"/>
              <a:gd name="connsiteY122-20224" fmla="*/ 5241222 h 5292022"/>
              <a:gd name="connsiteX123-20225" fmla="*/ 6197306 w 10693106"/>
              <a:gd name="connsiteY123-20226" fmla="*/ 5266622 h 5292022"/>
              <a:gd name="connsiteX124-20227" fmla="*/ 6061840 w 10693106"/>
              <a:gd name="connsiteY124-20228" fmla="*/ 5275089 h 5292022"/>
              <a:gd name="connsiteX125-20229" fmla="*/ 5917906 w 10693106"/>
              <a:gd name="connsiteY125-20230" fmla="*/ 5292022 h 5292022"/>
              <a:gd name="connsiteX126-20231" fmla="*/ 5748573 w 10693106"/>
              <a:gd name="connsiteY126-20232" fmla="*/ 5283556 h 5292022"/>
              <a:gd name="connsiteX127-20233" fmla="*/ 5282906 w 10693106"/>
              <a:gd name="connsiteY127-20234" fmla="*/ 5173489 h 5292022"/>
              <a:gd name="connsiteX128-20235" fmla="*/ 5138973 w 10693106"/>
              <a:gd name="connsiteY128-20236" fmla="*/ 5071889 h 5292022"/>
              <a:gd name="connsiteX129-20237" fmla="*/ 4959480 w 10693106"/>
              <a:gd name="connsiteY129-20238" fmla="*/ 4988069 h 5292022"/>
              <a:gd name="connsiteX130-20239" fmla="*/ 4842216 w 10693106"/>
              <a:gd name="connsiteY130-20240" fmla="*/ 4953779 h 5292022"/>
              <a:gd name="connsiteX131-20241" fmla="*/ 4797343 w 10693106"/>
              <a:gd name="connsiteY131-20242" fmla="*/ 4878426 h 5292022"/>
              <a:gd name="connsiteX132-20243" fmla="*/ 4686853 w 10693106"/>
              <a:gd name="connsiteY132-20244" fmla="*/ 4788256 h 5292022"/>
              <a:gd name="connsiteX133-20245" fmla="*/ 4536146 w 10693106"/>
              <a:gd name="connsiteY133-20246" fmla="*/ 4712902 h 5292022"/>
              <a:gd name="connsiteX134-20247" fmla="*/ 4365120 w 10693106"/>
              <a:gd name="connsiteY134-20248" fmla="*/ 4616382 h 5292022"/>
              <a:gd name="connsiteX135-20249" fmla="*/ 4187743 w 10693106"/>
              <a:gd name="connsiteY135-20250" fmla="*/ 4521556 h 5292022"/>
              <a:gd name="connsiteX136-20251" fmla="*/ 4125936 w 10693106"/>
              <a:gd name="connsiteY136-20252" fmla="*/ 4386724 h 5292022"/>
              <a:gd name="connsiteX137-20253" fmla="*/ 3995973 w 10693106"/>
              <a:gd name="connsiteY137-20254" fmla="*/ 4232419 h 5292022"/>
              <a:gd name="connsiteX138-20255" fmla="*/ 3962530 w 10693106"/>
              <a:gd name="connsiteY138-20256" fmla="*/ 4135052 h 5292022"/>
              <a:gd name="connsiteX139-20257" fmla="*/ 3895643 w 10693106"/>
              <a:gd name="connsiteY139-20258" fmla="*/ 4059699 h 5292022"/>
              <a:gd name="connsiteX140-20259" fmla="*/ 3919773 w 10693106"/>
              <a:gd name="connsiteY140-20260" fmla="*/ 3920422 h 5292022"/>
              <a:gd name="connsiteX141-20261" fmla="*/ 3877440 w 10693106"/>
              <a:gd name="connsiteY141-20262" fmla="*/ 3624089 h 5292022"/>
              <a:gd name="connsiteX142-20263" fmla="*/ 3852040 w 10693106"/>
              <a:gd name="connsiteY142-20264" fmla="*/ 3530956 h 5292022"/>
              <a:gd name="connsiteX143-20265" fmla="*/ 3801240 w 10693106"/>
              <a:gd name="connsiteY143-20266" fmla="*/ 3420889 h 5292022"/>
              <a:gd name="connsiteX144-20267" fmla="*/ 3733506 w 10693106"/>
              <a:gd name="connsiteY144-20268" fmla="*/ 3319289 h 5292022"/>
              <a:gd name="connsiteX145-20269" fmla="*/ 3242440 w 10693106"/>
              <a:gd name="connsiteY145-20270" fmla="*/ 3099156 h 5292022"/>
              <a:gd name="connsiteX146-20271" fmla="*/ 3123906 w 10693106"/>
              <a:gd name="connsiteY146-20272" fmla="*/ 2997556 h 5292022"/>
              <a:gd name="connsiteX147-20273" fmla="*/ 2988440 w 10693106"/>
              <a:gd name="connsiteY147-20274" fmla="*/ 2802822 h 5292022"/>
              <a:gd name="connsiteX148-20275" fmla="*/ 2971506 w 10693106"/>
              <a:gd name="connsiteY148-20276" fmla="*/ 2743556 h 5292022"/>
              <a:gd name="connsiteX149-20277" fmla="*/ 2996906 w 10693106"/>
              <a:gd name="connsiteY149-20278" fmla="*/ 2531889 h 5292022"/>
              <a:gd name="connsiteX150-20279" fmla="*/ 3013840 w 10693106"/>
              <a:gd name="connsiteY150-20280" fmla="*/ 2430289 h 5292022"/>
              <a:gd name="connsiteX151-20281" fmla="*/ 3005373 w 10693106"/>
              <a:gd name="connsiteY151-20282" fmla="*/ 2311756 h 5292022"/>
              <a:gd name="connsiteX152-20283" fmla="*/ 2988440 w 10693106"/>
              <a:gd name="connsiteY152-20284" fmla="*/ 2260956 h 5292022"/>
              <a:gd name="connsiteX153-20285" fmla="*/ 2802173 w 10693106"/>
              <a:gd name="connsiteY153-20286" fmla="*/ 2006956 h 5292022"/>
              <a:gd name="connsiteX154-20287" fmla="*/ 2641306 w 10693106"/>
              <a:gd name="connsiteY154-20288" fmla="*/ 1863022 h 5292022"/>
              <a:gd name="connsiteX155-20289" fmla="*/ 2590506 w 10693106"/>
              <a:gd name="connsiteY155-20290" fmla="*/ 1837622 h 5292022"/>
              <a:gd name="connsiteX156-20291" fmla="*/ 2531240 w 10693106"/>
              <a:gd name="connsiteY156-20292" fmla="*/ 1829156 h 5292022"/>
              <a:gd name="connsiteX157-20293" fmla="*/ 2446573 w 10693106"/>
              <a:gd name="connsiteY157-20294" fmla="*/ 1812222 h 5292022"/>
              <a:gd name="connsiteX158-20295" fmla="*/ 2251840 w 10693106"/>
              <a:gd name="connsiteY158-20296" fmla="*/ 1837622 h 5292022"/>
              <a:gd name="connsiteX159-20297" fmla="*/ 2167173 w 10693106"/>
              <a:gd name="connsiteY159-20298" fmla="*/ 1879956 h 5292022"/>
              <a:gd name="connsiteX160-20299" fmla="*/ 1980906 w 10693106"/>
              <a:gd name="connsiteY160-20300" fmla="*/ 1939222 h 5292022"/>
              <a:gd name="connsiteX161-20301" fmla="*/ 1904706 w 10693106"/>
              <a:gd name="connsiteY161-20302" fmla="*/ 1973089 h 5292022"/>
              <a:gd name="connsiteX162-20303" fmla="*/ 1828506 w 10693106"/>
              <a:gd name="connsiteY162-20304" fmla="*/ 1990022 h 5292022"/>
              <a:gd name="connsiteX163-20305" fmla="*/ 1726906 w 10693106"/>
              <a:gd name="connsiteY163-20306" fmla="*/ 2040822 h 5292022"/>
              <a:gd name="connsiteX164-20307" fmla="*/ 1659173 w 10693106"/>
              <a:gd name="connsiteY164-20308" fmla="*/ 2074689 h 5292022"/>
              <a:gd name="connsiteX165-20309" fmla="*/ 1498306 w 10693106"/>
              <a:gd name="connsiteY165-20310" fmla="*/ 2100089 h 5292022"/>
              <a:gd name="connsiteX166-20311" fmla="*/ 914106 w 10693106"/>
              <a:gd name="connsiteY166-20312" fmla="*/ 2032356 h 5292022"/>
              <a:gd name="connsiteX167-20313" fmla="*/ 617773 w 10693106"/>
              <a:gd name="connsiteY167-20314" fmla="*/ 1922289 h 5292022"/>
              <a:gd name="connsiteX168-20315" fmla="*/ 516173 w 10693106"/>
              <a:gd name="connsiteY168-20316" fmla="*/ 1837622 h 5292022"/>
              <a:gd name="connsiteX169-20317" fmla="*/ 355306 w 10693106"/>
              <a:gd name="connsiteY169-20318" fmla="*/ 1625956 h 5292022"/>
              <a:gd name="connsiteX170-20319" fmla="*/ 296040 w 10693106"/>
              <a:gd name="connsiteY170-20320" fmla="*/ 1524356 h 5292022"/>
              <a:gd name="connsiteX171-20321" fmla="*/ 253706 w 10693106"/>
              <a:gd name="connsiteY171-20322" fmla="*/ 1346556 h 5292022"/>
              <a:gd name="connsiteX172-20323" fmla="*/ 245240 w 10693106"/>
              <a:gd name="connsiteY172-20324" fmla="*/ 1219556 h 5292022"/>
              <a:gd name="connsiteX173-20325" fmla="*/ 236773 w 10693106"/>
              <a:gd name="connsiteY173-20326" fmla="*/ 1117956 h 5292022"/>
              <a:gd name="connsiteX174-20327" fmla="*/ 245240 w 10693106"/>
              <a:gd name="connsiteY174-20328" fmla="*/ 847022 h 5292022"/>
              <a:gd name="connsiteX175-20329" fmla="*/ 236773 w 10693106"/>
              <a:gd name="connsiteY175-20330" fmla="*/ 703089 h 5292022"/>
              <a:gd name="connsiteX176-20331" fmla="*/ 109773 w 10693106"/>
              <a:gd name="connsiteY176-20332" fmla="*/ 559156 h 5292022"/>
              <a:gd name="connsiteX177-20333" fmla="*/ 58973 w 10693106"/>
              <a:gd name="connsiteY177-20334" fmla="*/ 482956 h 5292022"/>
              <a:gd name="connsiteX178-20335" fmla="*/ 16640 w 10693106"/>
              <a:gd name="connsiteY178-20336" fmla="*/ 432156 h 5292022"/>
              <a:gd name="connsiteX179-20337" fmla="*/ 8173 w 10693106"/>
              <a:gd name="connsiteY179-20338" fmla="*/ 389822 h 5292022"/>
              <a:gd name="connsiteX180-20339" fmla="*/ 16640 w 10693106"/>
              <a:gd name="connsiteY180-20340" fmla="*/ 339022 h 5292022"/>
              <a:gd name="connsiteX0-20341" fmla="*/ 16640 w 10693106"/>
              <a:gd name="connsiteY0-20342" fmla="*/ 339022 h 5292022"/>
              <a:gd name="connsiteX1-20343" fmla="*/ 58973 w 10693106"/>
              <a:gd name="connsiteY1-20344" fmla="*/ 245889 h 5292022"/>
              <a:gd name="connsiteX2-20345" fmla="*/ 109773 w 10693106"/>
              <a:gd name="connsiteY2-20346" fmla="*/ 178156 h 5292022"/>
              <a:gd name="connsiteX3-20347" fmla="*/ 202906 w 10693106"/>
              <a:gd name="connsiteY3-20348" fmla="*/ 93489 h 5292022"/>
              <a:gd name="connsiteX4-20349" fmla="*/ 236773 w 10693106"/>
              <a:gd name="connsiteY4-20350" fmla="*/ 68089 h 5292022"/>
              <a:gd name="connsiteX5-20351" fmla="*/ 335410 w 10693106"/>
              <a:gd name="connsiteY5-20352" fmla="*/ 58352 h 5292022"/>
              <a:gd name="connsiteX6-20353" fmla="*/ 382400 w 10693106"/>
              <a:gd name="connsiteY6-20354" fmla="*/ 51156 h 5292022"/>
              <a:gd name="connsiteX7-20355" fmla="*/ 434912 w 10693106"/>
              <a:gd name="connsiteY7-20356" fmla="*/ 70071 h 5292022"/>
              <a:gd name="connsiteX8-20357" fmla="*/ 492697 w 10693106"/>
              <a:gd name="connsiteY8-20358" fmla="*/ 74247 h 5292022"/>
              <a:gd name="connsiteX9-20359" fmla="*/ 822897 w 10693106"/>
              <a:gd name="connsiteY9-20360" fmla="*/ 82713 h 5292022"/>
              <a:gd name="connsiteX10-20361" fmla="*/ 1091906 w 10693106"/>
              <a:gd name="connsiteY10-20362" fmla="*/ 356 h 5292022"/>
              <a:gd name="connsiteX11-20363" fmla="*/ 1235840 w 10693106"/>
              <a:gd name="connsiteY11-20364" fmla="*/ 59622 h 5292022"/>
              <a:gd name="connsiteX12-20365" fmla="*/ 1337440 w 10693106"/>
              <a:gd name="connsiteY12-20366" fmla="*/ 135822 h 5292022"/>
              <a:gd name="connsiteX13-20367" fmla="*/ 1422106 w 10693106"/>
              <a:gd name="connsiteY13-20368" fmla="*/ 245889 h 5292022"/>
              <a:gd name="connsiteX14-20369" fmla="*/ 1481373 w 10693106"/>
              <a:gd name="connsiteY14-20370" fmla="*/ 313622 h 5292022"/>
              <a:gd name="connsiteX15-20371" fmla="*/ 1532173 w 10693106"/>
              <a:gd name="connsiteY15-20372" fmla="*/ 347489 h 5292022"/>
              <a:gd name="connsiteX16-20373" fmla="*/ 1684573 w 10693106"/>
              <a:gd name="connsiteY16-20374" fmla="*/ 406756 h 5292022"/>
              <a:gd name="connsiteX17-20375" fmla="*/ 1760773 w 10693106"/>
              <a:gd name="connsiteY17-20376" fmla="*/ 423689 h 5292022"/>
              <a:gd name="connsiteX18-20377" fmla="*/ 1997840 w 10693106"/>
              <a:gd name="connsiteY18-20378" fmla="*/ 415222 h 5292022"/>
              <a:gd name="connsiteX19-20379" fmla="*/ 2116373 w 10693106"/>
              <a:gd name="connsiteY19-20380" fmla="*/ 398289 h 5292022"/>
              <a:gd name="connsiteX20-20381" fmla="*/ 2260306 w 10693106"/>
              <a:gd name="connsiteY20-20382" fmla="*/ 381356 h 5292022"/>
              <a:gd name="connsiteX21-20383" fmla="*/ 2404240 w 10693106"/>
              <a:gd name="connsiteY21-20384" fmla="*/ 355956 h 5292022"/>
              <a:gd name="connsiteX22-20385" fmla="*/ 2455040 w 10693106"/>
              <a:gd name="connsiteY22-20386" fmla="*/ 330556 h 5292022"/>
              <a:gd name="connsiteX23-20387" fmla="*/ 2531240 w 10693106"/>
              <a:gd name="connsiteY23-20388" fmla="*/ 305156 h 5292022"/>
              <a:gd name="connsiteX24-20389" fmla="*/ 2649350 w 10693106"/>
              <a:gd name="connsiteY24-20390" fmla="*/ 225781 h 5292022"/>
              <a:gd name="connsiteX25-20391" fmla="*/ 2742906 w 10693106"/>
              <a:gd name="connsiteY25-20392" fmla="*/ 186622 h 5292022"/>
              <a:gd name="connsiteX26-20393" fmla="*/ 2764920 w 10693106"/>
              <a:gd name="connsiteY26-20394" fmla="*/ 173076 h 5292022"/>
              <a:gd name="connsiteX27-20395" fmla="*/ 2832653 w 10693106"/>
              <a:gd name="connsiteY27-20396" fmla="*/ 167996 h 5292022"/>
              <a:gd name="connsiteX28-20397" fmla="*/ 3002294 w 10693106"/>
              <a:gd name="connsiteY28-20398" fmla="*/ 154680 h 5292022"/>
              <a:gd name="connsiteX29-20399" fmla="*/ 3142763 w 10693106"/>
              <a:gd name="connsiteY29-20400" fmla="*/ 110421 h 5292022"/>
              <a:gd name="connsiteX30-20401" fmla="*/ 3398918 w 10693106"/>
              <a:gd name="connsiteY30-20402" fmla="*/ 72322 h 5292022"/>
              <a:gd name="connsiteX31-20403" fmla="*/ 3606506 w 10693106"/>
              <a:gd name="connsiteY31-20404" fmla="*/ 60393 h 5292022"/>
              <a:gd name="connsiteX32-20405" fmla="*/ 3682706 w 10693106"/>
              <a:gd name="connsiteY32-20406" fmla="*/ 79942 h 5292022"/>
              <a:gd name="connsiteX33-20407" fmla="*/ 3741973 w 10693106"/>
              <a:gd name="connsiteY33-20408" fmla="*/ 86561 h 5292022"/>
              <a:gd name="connsiteX34-20409" fmla="*/ 3794678 w 10693106"/>
              <a:gd name="connsiteY34-20410" fmla="*/ 101321 h 5292022"/>
              <a:gd name="connsiteX35-20411" fmla="*/ 3833625 w 10693106"/>
              <a:gd name="connsiteY35-20412" fmla="*/ 110846 h 5292022"/>
              <a:gd name="connsiteX36-20413" fmla="*/ 3892487 w 10693106"/>
              <a:gd name="connsiteY36-20414" fmla="*/ 116984 h 5292022"/>
              <a:gd name="connsiteX37-20415" fmla="*/ 3933108 w 10693106"/>
              <a:gd name="connsiteY37-20416" fmla="*/ 128837 h 5292022"/>
              <a:gd name="connsiteX38-20417" fmla="*/ 3976923 w 10693106"/>
              <a:gd name="connsiteY38-20418" fmla="*/ 135187 h 5292022"/>
              <a:gd name="connsiteX39-20419" fmla="*/ 4021373 w 10693106"/>
              <a:gd name="connsiteY39-20420" fmla="*/ 144289 h 5292022"/>
              <a:gd name="connsiteX40-20421" fmla="*/ 4055240 w 10693106"/>
              <a:gd name="connsiteY40-20422" fmla="*/ 152756 h 5292022"/>
              <a:gd name="connsiteX41-20423" fmla="*/ 4275373 w 10693106"/>
              <a:gd name="connsiteY41-20424" fmla="*/ 195089 h 5292022"/>
              <a:gd name="connsiteX42-20425" fmla="*/ 4402373 w 10693106"/>
              <a:gd name="connsiteY42-20426" fmla="*/ 228956 h 5292022"/>
              <a:gd name="connsiteX43-20427" fmla="*/ 4529373 w 10693106"/>
              <a:gd name="connsiteY43-20428" fmla="*/ 271289 h 5292022"/>
              <a:gd name="connsiteX44-20429" fmla="*/ 4859573 w 10693106"/>
              <a:gd name="connsiteY44-20430" fmla="*/ 347489 h 5292022"/>
              <a:gd name="connsiteX45-20431" fmla="*/ 5045840 w 10693106"/>
              <a:gd name="connsiteY45-20432" fmla="*/ 423689 h 5292022"/>
              <a:gd name="connsiteX46-20433" fmla="*/ 5325240 w 10693106"/>
              <a:gd name="connsiteY46-20434" fmla="*/ 584556 h 5292022"/>
              <a:gd name="connsiteX47-20435" fmla="*/ 5494573 w 10693106"/>
              <a:gd name="connsiteY47-20436" fmla="*/ 736956 h 5292022"/>
              <a:gd name="connsiteX48-20437" fmla="*/ 5562306 w 10693106"/>
              <a:gd name="connsiteY48-20438" fmla="*/ 813156 h 5292022"/>
              <a:gd name="connsiteX49-20439" fmla="*/ 5621573 w 10693106"/>
              <a:gd name="connsiteY49-20440" fmla="*/ 863956 h 5292022"/>
              <a:gd name="connsiteX50-20441" fmla="*/ 5672373 w 10693106"/>
              <a:gd name="connsiteY50-20442" fmla="*/ 931689 h 5292022"/>
              <a:gd name="connsiteX51-20443" fmla="*/ 5757040 w 10693106"/>
              <a:gd name="connsiteY51-20444" fmla="*/ 1033289 h 5292022"/>
              <a:gd name="connsiteX52-20445" fmla="*/ 5833240 w 10693106"/>
              <a:gd name="connsiteY52-20446" fmla="*/ 1126422 h 5292022"/>
              <a:gd name="connsiteX53-20447" fmla="*/ 6603706 w 10693106"/>
              <a:gd name="connsiteY53-20448" fmla="*/ 1736022 h 5292022"/>
              <a:gd name="connsiteX54-20449" fmla="*/ 7196373 w 10693106"/>
              <a:gd name="connsiteY54-20450" fmla="*/ 1778356 h 5292022"/>
              <a:gd name="connsiteX55-20451" fmla="*/ 7509640 w 10693106"/>
              <a:gd name="connsiteY55-20452" fmla="*/ 1702156 h 5292022"/>
              <a:gd name="connsiteX56-20453" fmla="*/ 7704373 w 10693106"/>
              <a:gd name="connsiteY56-20454" fmla="*/ 1634422 h 5292022"/>
              <a:gd name="connsiteX57-20455" fmla="*/ 7797506 w 10693106"/>
              <a:gd name="connsiteY57-20456" fmla="*/ 1592089 h 5292022"/>
              <a:gd name="connsiteX58-20457" fmla="*/ 7856773 w 10693106"/>
              <a:gd name="connsiteY58-20458" fmla="*/ 1575156 h 5292022"/>
              <a:gd name="connsiteX59-20459" fmla="*/ 7958373 w 10693106"/>
              <a:gd name="connsiteY59-20460" fmla="*/ 1507422 h 5292022"/>
              <a:gd name="connsiteX60-20461" fmla="*/ 8009173 w 10693106"/>
              <a:gd name="connsiteY60-20462" fmla="*/ 1456622 h 5292022"/>
              <a:gd name="connsiteX61-20463" fmla="*/ 8339373 w 10693106"/>
              <a:gd name="connsiteY61-20464" fmla="*/ 1211089 h 5292022"/>
              <a:gd name="connsiteX62-20465" fmla="*/ 8576440 w 10693106"/>
              <a:gd name="connsiteY62-20466" fmla="*/ 957089 h 5292022"/>
              <a:gd name="connsiteX63-20467" fmla="*/ 8652640 w 10693106"/>
              <a:gd name="connsiteY63-20468" fmla="*/ 677689 h 5292022"/>
              <a:gd name="connsiteX64-20469" fmla="*/ 8847373 w 10693106"/>
              <a:gd name="connsiteY64-20470" fmla="*/ 491422 h 5292022"/>
              <a:gd name="connsiteX65-20471" fmla="*/ 8982840 w 10693106"/>
              <a:gd name="connsiteY65-20472" fmla="*/ 398289 h 5292022"/>
              <a:gd name="connsiteX66-20473" fmla="*/ 9084440 w 10693106"/>
              <a:gd name="connsiteY66-20474" fmla="*/ 364422 h 5292022"/>
              <a:gd name="connsiteX67-20475" fmla="*/ 9152173 w 10693106"/>
              <a:gd name="connsiteY67-20476" fmla="*/ 339022 h 5292022"/>
              <a:gd name="connsiteX68-20477" fmla="*/ 9380773 w 10693106"/>
              <a:gd name="connsiteY68-20478" fmla="*/ 355956 h 5292022"/>
              <a:gd name="connsiteX69-20479" fmla="*/ 9744840 w 10693106"/>
              <a:gd name="connsiteY69-20480" fmla="*/ 466022 h 5292022"/>
              <a:gd name="connsiteX70-20481" fmla="*/ 9888773 w 10693106"/>
              <a:gd name="connsiteY70-20482" fmla="*/ 508356 h 5292022"/>
              <a:gd name="connsiteX71-20483" fmla="*/ 9998840 w 10693106"/>
              <a:gd name="connsiteY71-20484" fmla="*/ 559156 h 5292022"/>
              <a:gd name="connsiteX72-20485" fmla="*/ 10083506 w 10693106"/>
              <a:gd name="connsiteY72-20486" fmla="*/ 618422 h 5292022"/>
              <a:gd name="connsiteX73-20487" fmla="*/ 10286706 w 10693106"/>
              <a:gd name="connsiteY73-20488" fmla="*/ 686156 h 5292022"/>
              <a:gd name="connsiteX74-20489" fmla="*/ 10388306 w 10693106"/>
              <a:gd name="connsiteY74-20490" fmla="*/ 889356 h 5292022"/>
              <a:gd name="connsiteX75-20491" fmla="*/ 10540706 w 10693106"/>
              <a:gd name="connsiteY75-20492" fmla="*/ 1261889 h 5292022"/>
              <a:gd name="connsiteX76-20493" fmla="*/ 10557640 w 10693106"/>
              <a:gd name="connsiteY76-20494" fmla="*/ 1346556 h 5292022"/>
              <a:gd name="connsiteX77-20495" fmla="*/ 10583040 w 10693106"/>
              <a:gd name="connsiteY77-20496" fmla="*/ 1448156 h 5292022"/>
              <a:gd name="connsiteX78-20497" fmla="*/ 10616906 w 10693106"/>
              <a:gd name="connsiteY78-20498" fmla="*/ 1651356 h 5292022"/>
              <a:gd name="connsiteX79-20499" fmla="*/ 10633840 w 10693106"/>
              <a:gd name="connsiteY79-20500" fmla="*/ 1736022 h 5292022"/>
              <a:gd name="connsiteX80-20501" fmla="*/ 10650773 w 10693106"/>
              <a:gd name="connsiteY80-20502" fmla="*/ 1769889 h 5292022"/>
              <a:gd name="connsiteX81-20503" fmla="*/ 10676173 w 10693106"/>
              <a:gd name="connsiteY81-20504" fmla="*/ 1854556 h 5292022"/>
              <a:gd name="connsiteX82-20505" fmla="*/ 10693106 w 10693106"/>
              <a:gd name="connsiteY82-20506" fmla="*/ 2006956 h 5292022"/>
              <a:gd name="connsiteX83-20507" fmla="*/ 10625373 w 10693106"/>
              <a:gd name="connsiteY83-20508" fmla="*/ 2227089 h 5292022"/>
              <a:gd name="connsiteX84-20509" fmla="*/ 10608440 w 10693106"/>
              <a:gd name="connsiteY84-20510" fmla="*/ 2252489 h 5292022"/>
              <a:gd name="connsiteX85-20511" fmla="*/ 10540706 w 10693106"/>
              <a:gd name="connsiteY85-20512" fmla="*/ 2396422 h 5292022"/>
              <a:gd name="connsiteX86-20513" fmla="*/ 10498373 w 10693106"/>
              <a:gd name="connsiteY86-20514" fmla="*/ 2481089 h 5292022"/>
              <a:gd name="connsiteX87-20515" fmla="*/ 10439106 w 10693106"/>
              <a:gd name="connsiteY87-20516" fmla="*/ 2667356 h 5292022"/>
              <a:gd name="connsiteX88-20517" fmla="*/ 10430640 w 10693106"/>
              <a:gd name="connsiteY88-20518" fmla="*/ 2709689 h 5292022"/>
              <a:gd name="connsiteX89-20519" fmla="*/ 10405240 w 10693106"/>
              <a:gd name="connsiteY89-20520" fmla="*/ 2785889 h 5292022"/>
              <a:gd name="connsiteX90-20521" fmla="*/ 10396773 w 10693106"/>
              <a:gd name="connsiteY90-20522" fmla="*/ 2819756 h 5292022"/>
              <a:gd name="connsiteX91-20523" fmla="*/ 10362906 w 10693106"/>
              <a:gd name="connsiteY91-20524" fmla="*/ 2912889 h 5292022"/>
              <a:gd name="connsiteX92-20525" fmla="*/ 10329040 w 10693106"/>
              <a:gd name="connsiteY92-20526" fmla="*/ 2955222 h 5292022"/>
              <a:gd name="connsiteX93-20527" fmla="*/ 10227440 w 10693106"/>
              <a:gd name="connsiteY93-20528" fmla="*/ 3056822 h 5292022"/>
              <a:gd name="connsiteX94-20529" fmla="*/ 10168173 w 10693106"/>
              <a:gd name="connsiteY94-20530" fmla="*/ 3124556 h 5292022"/>
              <a:gd name="connsiteX95-20531" fmla="*/ 10117373 w 10693106"/>
              <a:gd name="connsiteY95-20532" fmla="*/ 3175356 h 5292022"/>
              <a:gd name="connsiteX96-20533" fmla="*/ 10032706 w 10693106"/>
              <a:gd name="connsiteY96-20534" fmla="*/ 3276956 h 5292022"/>
              <a:gd name="connsiteX97-20535" fmla="*/ 9948040 w 10693106"/>
              <a:gd name="connsiteY97-20536" fmla="*/ 3336222 h 5292022"/>
              <a:gd name="connsiteX98-20537" fmla="*/ 9905706 w 10693106"/>
              <a:gd name="connsiteY98-20538" fmla="*/ 3361622 h 5292022"/>
              <a:gd name="connsiteX99-20539" fmla="*/ 9829506 w 10693106"/>
              <a:gd name="connsiteY99-20540" fmla="*/ 3378556 h 5292022"/>
              <a:gd name="connsiteX100-20541" fmla="*/ 9727906 w 10693106"/>
              <a:gd name="connsiteY100-20542" fmla="*/ 3420889 h 5292022"/>
              <a:gd name="connsiteX101-20543" fmla="*/ 9634773 w 10693106"/>
              <a:gd name="connsiteY101-20544" fmla="*/ 3446289 h 5292022"/>
              <a:gd name="connsiteX102-20545" fmla="*/ 9456973 w 10693106"/>
              <a:gd name="connsiteY102-20546" fmla="*/ 3539422 h 5292022"/>
              <a:gd name="connsiteX103-20547" fmla="*/ 9313040 w 10693106"/>
              <a:gd name="connsiteY103-20548" fmla="*/ 3666422 h 5292022"/>
              <a:gd name="connsiteX104-20549" fmla="*/ 9279173 w 10693106"/>
              <a:gd name="connsiteY104-20550" fmla="*/ 3683356 h 5292022"/>
              <a:gd name="connsiteX105-20551" fmla="*/ 9067506 w 10693106"/>
              <a:gd name="connsiteY105-20552" fmla="*/ 3861156 h 5292022"/>
              <a:gd name="connsiteX106-20553" fmla="*/ 8999773 w 10693106"/>
              <a:gd name="connsiteY106-20554" fmla="*/ 3928889 h 5292022"/>
              <a:gd name="connsiteX107-20555" fmla="*/ 8813506 w 10693106"/>
              <a:gd name="connsiteY107-20556" fmla="*/ 4064356 h 5292022"/>
              <a:gd name="connsiteX108-20557" fmla="*/ 8728840 w 10693106"/>
              <a:gd name="connsiteY108-20558" fmla="*/ 4106689 h 5292022"/>
              <a:gd name="connsiteX109-20559" fmla="*/ 8373240 w 10693106"/>
              <a:gd name="connsiteY109-20560" fmla="*/ 4140556 h 5292022"/>
              <a:gd name="connsiteX110-20561" fmla="*/ 7966840 w 10693106"/>
              <a:gd name="connsiteY110-20562" fmla="*/ 4233689 h 5292022"/>
              <a:gd name="connsiteX111-20563" fmla="*/ 7687440 w 10693106"/>
              <a:gd name="connsiteY111-20564" fmla="*/ 4394556 h 5292022"/>
              <a:gd name="connsiteX112-20565" fmla="*/ 7551973 w 10693106"/>
              <a:gd name="connsiteY112-20566" fmla="*/ 4479222 h 5292022"/>
              <a:gd name="connsiteX113-20567" fmla="*/ 7374173 w 10693106"/>
              <a:gd name="connsiteY113-20568" fmla="*/ 4657022 h 5292022"/>
              <a:gd name="connsiteX114-20569" fmla="*/ 7374173 w 10693106"/>
              <a:gd name="connsiteY114-20570" fmla="*/ 4657022 h 5292022"/>
              <a:gd name="connsiteX115-20571" fmla="*/ 7221773 w 10693106"/>
              <a:gd name="connsiteY115-20572" fmla="*/ 4775556 h 5292022"/>
              <a:gd name="connsiteX116-20573" fmla="*/ 7027040 w 10693106"/>
              <a:gd name="connsiteY116-20574" fmla="*/ 4902556 h 5292022"/>
              <a:gd name="connsiteX117-20575" fmla="*/ 6883106 w 10693106"/>
              <a:gd name="connsiteY117-20576" fmla="*/ 4970289 h 5292022"/>
              <a:gd name="connsiteX118-20577" fmla="*/ 6815373 w 10693106"/>
              <a:gd name="connsiteY118-20578" fmla="*/ 5012622 h 5292022"/>
              <a:gd name="connsiteX119-20579" fmla="*/ 6646040 w 10693106"/>
              <a:gd name="connsiteY119-20580" fmla="*/ 5105756 h 5292022"/>
              <a:gd name="connsiteX120-20581" fmla="*/ 6527506 w 10693106"/>
              <a:gd name="connsiteY120-20582" fmla="*/ 5165022 h 5292022"/>
              <a:gd name="connsiteX121-20583" fmla="*/ 6298906 w 10693106"/>
              <a:gd name="connsiteY121-20584" fmla="*/ 5241222 h 5292022"/>
              <a:gd name="connsiteX122-20585" fmla="*/ 6197306 w 10693106"/>
              <a:gd name="connsiteY122-20586" fmla="*/ 5266622 h 5292022"/>
              <a:gd name="connsiteX123-20587" fmla="*/ 6061840 w 10693106"/>
              <a:gd name="connsiteY123-20588" fmla="*/ 5275089 h 5292022"/>
              <a:gd name="connsiteX124-20589" fmla="*/ 5917906 w 10693106"/>
              <a:gd name="connsiteY124-20590" fmla="*/ 5292022 h 5292022"/>
              <a:gd name="connsiteX125-20591" fmla="*/ 5748573 w 10693106"/>
              <a:gd name="connsiteY125-20592" fmla="*/ 5283556 h 5292022"/>
              <a:gd name="connsiteX126-20593" fmla="*/ 5282906 w 10693106"/>
              <a:gd name="connsiteY126-20594" fmla="*/ 5173489 h 5292022"/>
              <a:gd name="connsiteX127-20595" fmla="*/ 5138973 w 10693106"/>
              <a:gd name="connsiteY127-20596" fmla="*/ 5071889 h 5292022"/>
              <a:gd name="connsiteX128-20597" fmla="*/ 4959480 w 10693106"/>
              <a:gd name="connsiteY128-20598" fmla="*/ 4988069 h 5292022"/>
              <a:gd name="connsiteX129-20599" fmla="*/ 4842216 w 10693106"/>
              <a:gd name="connsiteY129-20600" fmla="*/ 4953779 h 5292022"/>
              <a:gd name="connsiteX130-20601" fmla="*/ 4797343 w 10693106"/>
              <a:gd name="connsiteY130-20602" fmla="*/ 4878426 h 5292022"/>
              <a:gd name="connsiteX131-20603" fmla="*/ 4686853 w 10693106"/>
              <a:gd name="connsiteY131-20604" fmla="*/ 4788256 h 5292022"/>
              <a:gd name="connsiteX132-20605" fmla="*/ 4536146 w 10693106"/>
              <a:gd name="connsiteY132-20606" fmla="*/ 4712902 h 5292022"/>
              <a:gd name="connsiteX133-20607" fmla="*/ 4365120 w 10693106"/>
              <a:gd name="connsiteY133-20608" fmla="*/ 4616382 h 5292022"/>
              <a:gd name="connsiteX134-20609" fmla="*/ 4187743 w 10693106"/>
              <a:gd name="connsiteY134-20610" fmla="*/ 4521556 h 5292022"/>
              <a:gd name="connsiteX135-20611" fmla="*/ 4125936 w 10693106"/>
              <a:gd name="connsiteY135-20612" fmla="*/ 4386724 h 5292022"/>
              <a:gd name="connsiteX136-20613" fmla="*/ 3995973 w 10693106"/>
              <a:gd name="connsiteY136-20614" fmla="*/ 4232419 h 5292022"/>
              <a:gd name="connsiteX137-20615" fmla="*/ 3962530 w 10693106"/>
              <a:gd name="connsiteY137-20616" fmla="*/ 4135052 h 5292022"/>
              <a:gd name="connsiteX138-20617" fmla="*/ 3895643 w 10693106"/>
              <a:gd name="connsiteY138-20618" fmla="*/ 4059699 h 5292022"/>
              <a:gd name="connsiteX139-20619" fmla="*/ 3919773 w 10693106"/>
              <a:gd name="connsiteY139-20620" fmla="*/ 3920422 h 5292022"/>
              <a:gd name="connsiteX140-20621" fmla="*/ 3877440 w 10693106"/>
              <a:gd name="connsiteY140-20622" fmla="*/ 3624089 h 5292022"/>
              <a:gd name="connsiteX141-20623" fmla="*/ 3852040 w 10693106"/>
              <a:gd name="connsiteY141-20624" fmla="*/ 3530956 h 5292022"/>
              <a:gd name="connsiteX142-20625" fmla="*/ 3801240 w 10693106"/>
              <a:gd name="connsiteY142-20626" fmla="*/ 3420889 h 5292022"/>
              <a:gd name="connsiteX143-20627" fmla="*/ 3733506 w 10693106"/>
              <a:gd name="connsiteY143-20628" fmla="*/ 3319289 h 5292022"/>
              <a:gd name="connsiteX144-20629" fmla="*/ 3242440 w 10693106"/>
              <a:gd name="connsiteY144-20630" fmla="*/ 3099156 h 5292022"/>
              <a:gd name="connsiteX145-20631" fmla="*/ 3123906 w 10693106"/>
              <a:gd name="connsiteY145-20632" fmla="*/ 2997556 h 5292022"/>
              <a:gd name="connsiteX146-20633" fmla="*/ 2988440 w 10693106"/>
              <a:gd name="connsiteY146-20634" fmla="*/ 2802822 h 5292022"/>
              <a:gd name="connsiteX147-20635" fmla="*/ 2971506 w 10693106"/>
              <a:gd name="connsiteY147-20636" fmla="*/ 2743556 h 5292022"/>
              <a:gd name="connsiteX148-20637" fmla="*/ 2996906 w 10693106"/>
              <a:gd name="connsiteY148-20638" fmla="*/ 2531889 h 5292022"/>
              <a:gd name="connsiteX149-20639" fmla="*/ 3013840 w 10693106"/>
              <a:gd name="connsiteY149-20640" fmla="*/ 2430289 h 5292022"/>
              <a:gd name="connsiteX150-20641" fmla="*/ 3005373 w 10693106"/>
              <a:gd name="connsiteY150-20642" fmla="*/ 2311756 h 5292022"/>
              <a:gd name="connsiteX151-20643" fmla="*/ 2988440 w 10693106"/>
              <a:gd name="connsiteY151-20644" fmla="*/ 2260956 h 5292022"/>
              <a:gd name="connsiteX152-20645" fmla="*/ 2802173 w 10693106"/>
              <a:gd name="connsiteY152-20646" fmla="*/ 2006956 h 5292022"/>
              <a:gd name="connsiteX153-20647" fmla="*/ 2641306 w 10693106"/>
              <a:gd name="connsiteY153-20648" fmla="*/ 1863022 h 5292022"/>
              <a:gd name="connsiteX154-20649" fmla="*/ 2590506 w 10693106"/>
              <a:gd name="connsiteY154-20650" fmla="*/ 1837622 h 5292022"/>
              <a:gd name="connsiteX155-20651" fmla="*/ 2531240 w 10693106"/>
              <a:gd name="connsiteY155-20652" fmla="*/ 1829156 h 5292022"/>
              <a:gd name="connsiteX156-20653" fmla="*/ 2446573 w 10693106"/>
              <a:gd name="connsiteY156-20654" fmla="*/ 1812222 h 5292022"/>
              <a:gd name="connsiteX157-20655" fmla="*/ 2251840 w 10693106"/>
              <a:gd name="connsiteY157-20656" fmla="*/ 1837622 h 5292022"/>
              <a:gd name="connsiteX158-20657" fmla="*/ 2167173 w 10693106"/>
              <a:gd name="connsiteY158-20658" fmla="*/ 1879956 h 5292022"/>
              <a:gd name="connsiteX159-20659" fmla="*/ 1980906 w 10693106"/>
              <a:gd name="connsiteY159-20660" fmla="*/ 1939222 h 5292022"/>
              <a:gd name="connsiteX160-20661" fmla="*/ 1904706 w 10693106"/>
              <a:gd name="connsiteY160-20662" fmla="*/ 1973089 h 5292022"/>
              <a:gd name="connsiteX161-20663" fmla="*/ 1828506 w 10693106"/>
              <a:gd name="connsiteY161-20664" fmla="*/ 1990022 h 5292022"/>
              <a:gd name="connsiteX162-20665" fmla="*/ 1726906 w 10693106"/>
              <a:gd name="connsiteY162-20666" fmla="*/ 2040822 h 5292022"/>
              <a:gd name="connsiteX163-20667" fmla="*/ 1659173 w 10693106"/>
              <a:gd name="connsiteY163-20668" fmla="*/ 2074689 h 5292022"/>
              <a:gd name="connsiteX164-20669" fmla="*/ 1498306 w 10693106"/>
              <a:gd name="connsiteY164-20670" fmla="*/ 2100089 h 5292022"/>
              <a:gd name="connsiteX165-20671" fmla="*/ 914106 w 10693106"/>
              <a:gd name="connsiteY165-20672" fmla="*/ 2032356 h 5292022"/>
              <a:gd name="connsiteX166-20673" fmla="*/ 617773 w 10693106"/>
              <a:gd name="connsiteY166-20674" fmla="*/ 1922289 h 5292022"/>
              <a:gd name="connsiteX167-20675" fmla="*/ 516173 w 10693106"/>
              <a:gd name="connsiteY167-20676" fmla="*/ 1837622 h 5292022"/>
              <a:gd name="connsiteX168-20677" fmla="*/ 355306 w 10693106"/>
              <a:gd name="connsiteY168-20678" fmla="*/ 1625956 h 5292022"/>
              <a:gd name="connsiteX169-20679" fmla="*/ 296040 w 10693106"/>
              <a:gd name="connsiteY169-20680" fmla="*/ 1524356 h 5292022"/>
              <a:gd name="connsiteX170-20681" fmla="*/ 253706 w 10693106"/>
              <a:gd name="connsiteY170-20682" fmla="*/ 1346556 h 5292022"/>
              <a:gd name="connsiteX171-20683" fmla="*/ 245240 w 10693106"/>
              <a:gd name="connsiteY171-20684" fmla="*/ 1219556 h 5292022"/>
              <a:gd name="connsiteX172-20685" fmla="*/ 236773 w 10693106"/>
              <a:gd name="connsiteY172-20686" fmla="*/ 1117956 h 5292022"/>
              <a:gd name="connsiteX173-20687" fmla="*/ 245240 w 10693106"/>
              <a:gd name="connsiteY173-20688" fmla="*/ 847022 h 5292022"/>
              <a:gd name="connsiteX174-20689" fmla="*/ 236773 w 10693106"/>
              <a:gd name="connsiteY174-20690" fmla="*/ 703089 h 5292022"/>
              <a:gd name="connsiteX175-20691" fmla="*/ 109773 w 10693106"/>
              <a:gd name="connsiteY175-20692" fmla="*/ 559156 h 5292022"/>
              <a:gd name="connsiteX176-20693" fmla="*/ 58973 w 10693106"/>
              <a:gd name="connsiteY176-20694" fmla="*/ 482956 h 5292022"/>
              <a:gd name="connsiteX177-20695" fmla="*/ 16640 w 10693106"/>
              <a:gd name="connsiteY177-20696" fmla="*/ 432156 h 5292022"/>
              <a:gd name="connsiteX178-20697" fmla="*/ 8173 w 10693106"/>
              <a:gd name="connsiteY178-20698" fmla="*/ 389822 h 5292022"/>
              <a:gd name="connsiteX179-20699" fmla="*/ 16640 w 10693106"/>
              <a:gd name="connsiteY179-20700" fmla="*/ 339022 h 5292022"/>
              <a:gd name="connsiteX0-20701" fmla="*/ 16640 w 10693106"/>
              <a:gd name="connsiteY0-20702" fmla="*/ 339022 h 5292022"/>
              <a:gd name="connsiteX1-20703" fmla="*/ 58973 w 10693106"/>
              <a:gd name="connsiteY1-20704" fmla="*/ 245889 h 5292022"/>
              <a:gd name="connsiteX2-20705" fmla="*/ 109773 w 10693106"/>
              <a:gd name="connsiteY2-20706" fmla="*/ 178156 h 5292022"/>
              <a:gd name="connsiteX3-20707" fmla="*/ 202906 w 10693106"/>
              <a:gd name="connsiteY3-20708" fmla="*/ 93489 h 5292022"/>
              <a:gd name="connsiteX4-20709" fmla="*/ 236773 w 10693106"/>
              <a:gd name="connsiteY4-20710" fmla="*/ 68089 h 5292022"/>
              <a:gd name="connsiteX5-20711" fmla="*/ 335410 w 10693106"/>
              <a:gd name="connsiteY5-20712" fmla="*/ 58352 h 5292022"/>
              <a:gd name="connsiteX6-20713" fmla="*/ 382400 w 10693106"/>
              <a:gd name="connsiteY6-20714" fmla="*/ 51156 h 5292022"/>
              <a:gd name="connsiteX7-20715" fmla="*/ 434912 w 10693106"/>
              <a:gd name="connsiteY7-20716" fmla="*/ 70071 h 5292022"/>
              <a:gd name="connsiteX8-20717" fmla="*/ 492697 w 10693106"/>
              <a:gd name="connsiteY8-20718" fmla="*/ 74247 h 5292022"/>
              <a:gd name="connsiteX9-20719" fmla="*/ 822897 w 10693106"/>
              <a:gd name="connsiteY9-20720" fmla="*/ 82713 h 5292022"/>
              <a:gd name="connsiteX10-20721" fmla="*/ 1091906 w 10693106"/>
              <a:gd name="connsiteY10-20722" fmla="*/ 356 h 5292022"/>
              <a:gd name="connsiteX11-20723" fmla="*/ 1235840 w 10693106"/>
              <a:gd name="connsiteY11-20724" fmla="*/ 59622 h 5292022"/>
              <a:gd name="connsiteX12-20725" fmla="*/ 1337440 w 10693106"/>
              <a:gd name="connsiteY12-20726" fmla="*/ 135822 h 5292022"/>
              <a:gd name="connsiteX13-20727" fmla="*/ 1422106 w 10693106"/>
              <a:gd name="connsiteY13-20728" fmla="*/ 245889 h 5292022"/>
              <a:gd name="connsiteX14-20729" fmla="*/ 1481373 w 10693106"/>
              <a:gd name="connsiteY14-20730" fmla="*/ 313622 h 5292022"/>
              <a:gd name="connsiteX15-20731" fmla="*/ 1532173 w 10693106"/>
              <a:gd name="connsiteY15-20732" fmla="*/ 347489 h 5292022"/>
              <a:gd name="connsiteX16-20733" fmla="*/ 1684573 w 10693106"/>
              <a:gd name="connsiteY16-20734" fmla="*/ 406756 h 5292022"/>
              <a:gd name="connsiteX17-20735" fmla="*/ 1760773 w 10693106"/>
              <a:gd name="connsiteY17-20736" fmla="*/ 423689 h 5292022"/>
              <a:gd name="connsiteX18-20737" fmla="*/ 1997840 w 10693106"/>
              <a:gd name="connsiteY18-20738" fmla="*/ 415222 h 5292022"/>
              <a:gd name="connsiteX19-20739" fmla="*/ 2116373 w 10693106"/>
              <a:gd name="connsiteY19-20740" fmla="*/ 398289 h 5292022"/>
              <a:gd name="connsiteX20-20741" fmla="*/ 2260306 w 10693106"/>
              <a:gd name="connsiteY20-20742" fmla="*/ 381356 h 5292022"/>
              <a:gd name="connsiteX21-20743" fmla="*/ 2404240 w 10693106"/>
              <a:gd name="connsiteY21-20744" fmla="*/ 355956 h 5292022"/>
              <a:gd name="connsiteX22-20745" fmla="*/ 2455040 w 10693106"/>
              <a:gd name="connsiteY22-20746" fmla="*/ 330556 h 5292022"/>
              <a:gd name="connsiteX23-20747" fmla="*/ 2531240 w 10693106"/>
              <a:gd name="connsiteY23-20748" fmla="*/ 305156 h 5292022"/>
              <a:gd name="connsiteX24-20749" fmla="*/ 2649350 w 10693106"/>
              <a:gd name="connsiteY24-20750" fmla="*/ 225781 h 5292022"/>
              <a:gd name="connsiteX25-20751" fmla="*/ 2742906 w 10693106"/>
              <a:gd name="connsiteY25-20752" fmla="*/ 186622 h 5292022"/>
              <a:gd name="connsiteX26-20753" fmla="*/ 2764920 w 10693106"/>
              <a:gd name="connsiteY26-20754" fmla="*/ 173076 h 5292022"/>
              <a:gd name="connsiteX27-20755" fmla="*/ 2832653 w 10693106"/>
              <a:gd name="connsiteY27-20756" fmla="*/ 167996 h 5292022"/>
              <a:gd name="connsiteX28-20757" fmla="*/ 3002294 w 10693106"/>
              <a:gd name="connsiteY28-20758" fmla="*/ 154680 h 5292022"/>
              <a:gd name="connsiteX29-20759" fmla="*/ 3142763 w 10693106"/>
              <a:gd name="connsiteY29-20760" fmla="*/ 110421 h 5292022"/>
              <a:gd name="connsiteX30-20761" fmla="*/ 3398918 w 10693106"/>
              <a:gd name="connsiteY30-20762" fmla="*/ 72322 h 5292022"/>
              <a:gd name="connsiteX31-20763" fmla="*/ 3606506 w 10693106"/>
              <a:gd name="connsiteY31-20764" fmla="*/ 60393 h 5292022"/>
              <a:gd name="connsiteX32-20765" fmla="*/ 3682706 w 10693106"/>
              <a:gd name="connsiteY32-20766" fmla="*/ 79942 h 5292022"/>
              <a:gd name="connsiteX33-20767" fmla="*/ 3741973 w 10693106"/>
              <a:gd name="connsiteY33-20768" fmla="*/ 86561 h 5292022"/>
              <a:gd name="connsiteX34-20769" fmla="*/ 3794678 w 10693106"/>
              <a:gd name="connsiteY34-20770" fmla="*/ 101321 h 5292022"/>
              <a:gd name="connsiteX35-20771" fmla="*/ 3833625 w 10693106"/>
              <a:gd name="connsiteY35-20772" fmla="*/ 110846 h 5292022"/>
              <a:gd name="connsiteX36-20773" fmla="*/ 3892487 w 10693106"/>
              <a:gd name="connsiteY36-20774" fmla="*/ 116984 h 5292022"/>
              <a:gd name="connsiteX37-20775" fmla="*/ 3933108 w 10693106"/>
              <a:gd name="connsiteY37-20776" fmla="*/ 128837 h 5292022"/>
              <a:gd name="connsiteX38-20777" fmla="*/ 3976923 w 10693106"/>
              <a:gd name="connsiteY38-20778" fmla="*/ 135187 h 5292022"/>
              <a:gd name="connsiteX39-20779" fmla="*/ 4021373 w 10693106"/>
              <a:gd name="connsiteY39-20780" fmla="*/ 144289 h 5292022"/>
              <a:gd name="connsiteX40-20781" fmla="*/ 4055240 w 10693106"/>
              <a:gd name="connsiteY40-20782" fmla="*/ 152756 h 5292022"/>
              <a:gd name="connsiteX41-20783" fmla="*/ 4275373 w 10693106"/>
              <a:gd name="connsiteY41-20784" fmla="*/ 195089 h 5292022"/>
              <a:gd name="connsiteX42-20785" fmla="*/ 4402373 w 10693106"/>
              <a:gd name="connsiteY42-20786" fmla="*/ 228956 h 5292022"/>
              <a:gd name="connsiteX43-20787" fmla="*/ 4529373 w 10693106"/>
              <a:gd name="connsiteY43-20788" fmla="*/ 271289 h 5292022"/>
              <a:gd name="connsiteX44-20789" fmla="*/ 4859573 w 10693106"/>
              <a:gd name="connsiteY44-20790" fmla="*/ 347489 h 5292022"/>
              <a:gd name="connsiteX45-20791" fmla="*/ 5045840 w 10693106"/>
              <a:gd name="connsiteY45-20792" fmla="*/ 423689 h 5292022"/>
              <a:gd name="connsiteX46-20793" fmla="*/ 5325240 w 10693106"/>
              <a:gd name="connsiteY46-20794" fmla="*/ 584556 h 5292022"/>
              <a:gd name="connsiteX47-20795" fmla="*/ 5494573 w 10693106"/>
              <a:gd name="connsiteY47-20796" fmla="*/ 736956 h 5292022"/>
              <a:gd name="connsiteX48-20797" fmla="*/ 5562306 w 10693106"/>
              <a:gd name="connsiteY48-20798" fmla="*/ 813156 h 5292022"/>
              <a:gd name="connsiteX49-20799" fmla="*/ 5621573 w 10693106"/>
              <a:gd name="connsiteY49-20800" fmla="*/ 863956 h 5292022"/>
              <a:gd name="connsiteX50-20801" fmla="*/ 5672373 w 10693106"/>
              <a:gd name="connsiteY50-20802" fmla="*/ 931689 h 5292022"/>
              <a:gd name="connsiteX51-20803" fmla="*/ 5757040 w 10693106"/>
              <a:gd name="connsiteY51-20804" fmla="*/ 1033289 h 5292022"/>
              <a:gd name="connsiteX52-20805" fmla="*/ 5833240 w 10693106"/>
              <a:gd name="connsiteY52-20806" fmla="*/ 1126422 h 5292022"/>
              <a:gd name="connsiteX53-20807" fmla="*/ 6603706 w 10693106"/>
              <a:gd name="connsiteY53-20808" fmla="*/ 1736022 h 5292022"/>
              <a:gd name="connsiteX54-20809" fmla="*/ 7196373 w 10693106"/>
              <a:gd name="connsiteY54-20810" fmla="*/ 1778356 h 5292022"/>
              <a:gd name="connsiteX55-20811" fmla="*/ 7509640 w 10693106"/>
              <a:gd name="connsiteY55-20812" fmla="*/ 1702156 h 5292022"/>
              <a:gd name="connsiteX56-20813" fmla="*/ 7704373 w 10693106"/>
              <a:gd name="connsiteY56-20814" fmla="*/ 1634422 h 5292022"/>
              <a:gd name="connsiteX57-20815" fmla="*/ 7856773 w 10693106"/>
              <a:gd name="connsiteY57-20816" fmla="*/ 1575156 h 5292022"/>
              <a:gd name="connsiteX58-20817" fmla="*/ 7958373 w 10693106"/>
              <a:gd name="connsiteY58-20818" fmla="*/ 1507422 h 5292022"/>
              <a:gd name="connsiteX59-20819" fmla="*/ 8009173 w 10693106"/>
              <a:gd name="connsiteY59-20820" fmla="*/ 1456622 h 5292022"/>
              <a:gd name="connsiteX60-20821" fmla="*/ 8339373 w 10693106"/>
              <a:gd name="connsiteY60-20822" fmla="*/ 1211089 h 5292022"/>
              <a:gd name="connsiteX61-20823" fmla="*/ 8576440 w 10693106"/>
              <a:gd name="connsiteY61-20824" fmla="*/ 957089 h 5292022"/>
              <a:gd name="connsiteX62-20825" fmla="*/ 8652640 w 10693106"/>
              <a:gd name="connsiteY62-20826" fmla="*/ 677689 h 5292022"/>
              <a:gd name="connsiteX63-20827" fmla="*/ 8847373 w 10693106"/>
              <a:gd name="connsiteY63-20828" fmla="*/ 491422 h 5292022"/>
              <a:gd name="connsiteX64-20829" fmla="*/ 8982840 w 10693106"/>
              <a:gd name="connsiteY64-20830" fmla="*/ 398289 h 5292022"/>
              <a:gd name="connsiteX65-20831" fmla="*/ 9084440 w 10693106"/>
              <a:gd name="connsiteY65-20832" fmla="*/ 364422 h 5292022"/>
              <a:gd name="connsiteX66-20833" fmla="*/ 9152173 w 10693106"/>
              <a:gd name="connsiteY66-20834" fmla="*/ 339022 h 5292022"/>
              <a:gd name="connsiteX67-20835" fmla="*/ 9380773 w 10693106"/>
              <a:gd name="connsiteY67-20836" fmla="*/ 355956 h 5292022"/>
              <a:gd name="connsiteX68-20837" fmla="*/ 9744840 w 10693106"/>
              <a:gd name="connsiteY68-20838" fmla="*/ 466022 h 5292022"/>
              <a:gd name="connsiteX69-20839" fmla="*/ 9888773 w 10693106"/>
              <a:gd name="connsiteY69-20840" fmla="*/ 508356 h 5292022"/>
              <a:gd name="connsiteX70-20841" fmla="*/ 9998840 w 10693106"/>
              <a:gd name="connsiteY70-20842" fmla="*/ 559156 h 5292022"/>
              <a:gd name="connsiteX71-20843" fmla="*/ 10083506 w 10693106"/>
              <a:gd name="connsiteY71-20844" fmla="*/ 618422 h 5292022"/>
              <a:gd name="connsiteX72-20845" fmla="*/ 10286706 w 10693106"/>
              <a:gd name="connsiteY72-20846" fmla="*/ 686156 h 5292022"/>
              <a:gd name="connsiteX73-20847" fmla="*/ 10388306 w 10693106"/>
              <a:gd name="connsiteY73-20848" fmla="*/ 889356 h 5292022"/>
              <a:gd name="connsiteX74-20849" fmla="*/ 10540706 w 10693106"/>
              <a:gd name="connsiteY74-20850" fmla="*/ 1261889 h 5292022"/>
              <a:gd name="connsiteX75-20851" fmla="*/ 10557640 w 10693106"/>
              <a:gd name="connsiteY75-20852" fmla="*/ 1346556 h 5292022"/>
              <a:gd name="connsiteX76-20853" fmla="*/ 10583040 w 10693106"/>
              <a:gd name="connsiteY76-20854" fmla="*/ 1448156 h 5292022"/>
              <a:gd name="connsiteX77-20855" fmla="*/ 10616906 w 10693106"/>
              <a:gd name="connsiteY77-20856" fmla="*/ 1651356 h 5292022"/>
              <a:gd name="connsiteX78-20857" fmla="*/ 10633840 w 10693106"/>
              <a:gd name="connsiteY78-20858" fmla="*/ 1736022 h 5292022"/>
              <a:gd name="connsiteX79-20859" fmla="*/ 10650773 w 10693106"/>
              <a:gd name="connsiteY79-20860" fmla="*/ 1769889 h 5292022"/>
              <a:gd name="connsiteX80-20861" fmla="*/ 10676173 w 10693106"/>
              <a:gd name="connsiteY80-20862" fmla="*/ 1854556 h 5292022"/>
              <a:gd name="connsiteX81-20863" fmla="*/ 10693106 w 10693106"/>
              <a:gd name="connsiteY81-20864" fmla="*/ 2006956 h 5292022"/>
              <a:gd name="connsiteX82-20865" fmla="*/ 10625373 w 10693106"/>
              <a:gd name="connsiteY82-20866" fmla="*/ 2227089 h 5292022"/>
              <a:gd name="connsiteX83-20867" fmla="*/ 10608440 w 10693106"/>
              <a:gd name="connsiteY83-20868" fmla="*/ 2252489 h 5292022"/>
              <a:gd name="connsiteX84-20869" fmla="*/ 10540706 w 10693106"/>
              <a:gd name="connsiteY84-20870" fmla="*/ 2396422 h 5292022"/>
              <a:gd name="connsiteX85-20871" fmla="*/ 10498373 w 10693106"/>
              <a:gd name="connsiteY85-20872" fmla="*/ 2481089 h 5292022"/>
              <a:gd name="connsiteX86-20873" fmla="*/ 10439106 w 10693106"/>
              <a:gd name="connsiteY86-20874" fmla="*/ 2667356 h 5292022"/>
              <a:gd name="connsiteX87-20875" fmla="*/ 10430640 w 10693106"/>
              <a:gd name="connsiteY87-20876" fmla="*/ 2709689 h 5292022"/>
              <a:gd name="connsiteX88-20877" fmla="*/ 10405240 w 10693106"/>
              <a:gd name="connsiteY88-20878" fmla="*/ 2785889 h 5292022"/>
              <a:gd name="connsiteX89-20879" fmla="*/ 10396773 w 10693106"/>
              <a:gd name="connsiteY89-20880" fmla="*/ 2819756 h 5292022"/>
              <a:gd name="connsiteX90-20881" fmla="*/ 10362906 w 10693106"/>
              <a:gd name="connsiteY90-20882" fmla="*/ 2912889 h 5292022"/>
              <a:gd name="connsiteX91-20883" fmla="*/ 10329040 w 10693106"/>
              <a:gd name="connsiteY91-20884" fmla="*/ 2955222 h 5292022"/>
              <a:gd name="connsiteX92-20885" fmla="*/ 10227440 w 10693106"/>
              <a:gd name="connsiteY92-20886" fmla="*/ 3056822 h 5292022"/>
              <a:gd name="connsiteX93-20887" fmla="*/ 10168173 w 10693106"/>
              <a:gd name="connsiteY93-20888" fmla="*/ 3124556 h 5292022"/>
              <a:gd name="connsiteX94-20889" fmla="*/ 10117373 w 10693106"/>
              <a:gd name="connsiteY94-20890" fmla="*/ 3175356 h 5292022"/>
              <a:gd name="connsiteX95-20891" fmla="*/ 10032706 w 10693106"/>
              <a:gd name="connsiteY95-20892" fmla="*/ 3276956 h 5292022"/>
              <a:gd name="connsiteX96-20893" fmla="*/ 9948040 w 10693106"/>
              <a:gd name="connsiteY96-20894" fmla="*/ 3336222 h 5292022"/>
              <a:gd name="connsiteX97-20895" fmla="*/ 9905706 w 10693106"/>
              <a:gd name="connsiteY97-20896" fmla="*/ 3361622 h 5292022"/>
              <a:gd name="connsiteX98-20897" fmla="*/ 9829506 w 10693106"/>
              <a:gd name="connsiteY98-20898" fmla="*/ 3378556 h 5292022"/>
              <a:gd name="connsiteX99-20899" fmla="*/ 9727906 w 10693106"/>
              <a:gd name="connsiteY99-20900" fmla="*/ 3420889 h 5292022"/>
              <a:gd name="connsiteX100-20901" fmla="*/ 9634773 w 10693106"/>
              <a:gd name="connsiteY100-20902" fmla="*/ 3446289 h 5292022"/>
              <a:gd name="connsiteX101-20903" fmla="*/ 9456973 w 10693106"/>
              <a:gd name="connsiteY101-20904" fmla="*/ 3539422 h 5292022"/>
              <a:gd name="connsiteX102-20905" fmla="*/ 9313040 w 10693106"/>
              <a:gd name="connsiteY102-20906" fmla="*/ 3666422 h 5292022"/>
              <a:gd name="connsiteX103-20907" fmla="*/ 9279173 w 10693106"/>
              <a:gd name="connsiteY103-20908" fmla="*/ 3683356 h 5292022"/>
              <a:gd name="connsiteX104-20909" fmla="*/ 9067506 w 10693106"/>
              <a:gd name="connsiteY104-20910" fmla="*/ 3861156 h 5292022"/>
              <a:gd name="connsiteX105-20911" fmla="*/ 8999773 w 10693106"/>
              <a:gd name="connsiteY105-20912" fmla="*/ 3928889 h 5292022"/>
              <a:gd name="connsiteX106-20913" fmla="*/ 8813506 w 10693106"/>
              <a:gd name="connsiteY106-20914" fmla="*/ 4064356 h 5292022"/>
              <a:gd name="connsiteX107-20915" fmla="*/ 8728840 w 10693106"/>
              <a:gd name="connsiteY107-20916" fmla="*/ 4106689 h 5292022"/>
              <a:gd name="connsiteX108-20917" fmla="*/ 8373240 w 10693106"/>
              <a:gd name="connsiteY108-20918" fmla="*/ 4140556 h 5292022"/>
              <a:gd name="connsiteX109-20919" fmla="*/ 7966840 w 10693106"/>
              <a:gd name="connsiteY109-20920" fmla="*/ 4233689 h 5292022"/>
              <a:gd name="connsiteX110-20921" fmla="*/ 7687440 w 10693106"/>
              <a:gd name="connsiteY110-20922" fmla="*/ 4394556 h 5292022"/>
              <a:gd name="connsiteX111-20923" fmla="*/ 7551973 w 10693106"/>
              <a:gd name="connsiteY111-20924" fmla="*/ 4479222 h 5292022"/>
              <a:gd name="connsiteX112-20925" fmla="*/ 7374173 w 10693106"/>
              <a:gd name="connsiteY112-20926" fmla="*/ 4657022 h 5292022"/>
              <a:gd name="connsiteX113-20927" fmla="*/ 7374173 w 10693106"/>
              <a:gd name="connsiteY113-20928" fmla="*/ 4657022 h 5292022"/>
              <a:gd name="connsiteX114-20929" fmla="*/ 7221773 w 10693106"/>
              <a:gd name="connsiteY114-20930" fmla="*/ 4775556 h 5292022"/>
              <a:gd name="connsiteX115-20931" fmla="*/ 7027040 w 10693106"/>
              <a:gd name="connsiteY115-20932" fmla="*/ 4902556 h 5292022"/>
              <a:gd name="connsiteX116-20933" fmla="*/ 6883106 w 10693106"/>
              <a:gd name="connsiteY116-20934" fmla="*/ 4970289 h 5292022"/>
              <a:gd name="connsiteX117-20935" fmla="*/ 6815373 w 10693106"/>
              <a:gd name="connsiteY117-20936" fmla="*/ 5012622 h 5292022"/>
              <a:gd name="connsiteX118-20937" fmla="*/ 6646040 w 10693106"/>
              <a:gd name="connsiteY118-20938" fmla="*/ 5105756 h 5292022"/>
              <a:gd name="connsiteX119-20939" fmla="*/ 6527506 w 10693106"/>
              <a:gd name="connsiteY119-20940" fmla="*/ 5165022 h 5292022"/>
              <a:gd name="connsiteX120-20941" fmla="*/ 6298906 w 10693106"/>
              <a:gd name="connsiteY120-20942" fmla="*/ 5241222 h 5292022"/>
              <a:gd name="connsiteX121-20943" fmla="*/ 6197306 w 10693106"/>
              <a:gd name="connsiteY121-20944" fmla="*/ 5266622 h 5292022"/>
              <a:gd name="connsiteX122-20945" fmla="*/ 6061840 w 10693106"/>
              <a:gd name="connsiteY122-20946" fmla="*/ 5275089 h 5292022"/>
              <a:gd name="connsiteX123-20947" fmla="*/ 5917906 w 10693106"/>
              <a:gd name="connsiteY123-20948" fmla="*/ 5292022 h 5292022"/>
              <a:gd name="connsiteX124-20949" fmla="*/ 5748573 w 10693106"/>
              <a:gd name="connsiteY124-20950" fmla="*/ 5283556 h 5292022"/>
              <a:gd name="connsiteX125-20951" fmla="*/ 5282906 w 10693106"/>
              <a:gd name="connsiteY125-20952" fmla="*/ 5173489 h 5292022"/>
              <a:gd name="connsiteX126-20953" fmla="*/ 5138973 w 10693106"/>
              <a:gd name="connsiteY126-20954" fmla="*/ 5071889 h 5292022"/>
              <a:gd name="connsiteX127-20955" fmla="*/ 4959480 w 10693106"/>
              <a:gd name="connsiteY127-20956" fmla="*/ 4988069 h 5292022"/>
              <a:gd name="connsiteX128-20957" fmla="*/ 4842216 w 10693106"/>
              <a:gd name="connsiteY128-20958" fmla="*/ 4953779 h 5292022"/>
              <a:gd name="connsiteX129-20959" fmla="*/ 4797343 w 10693106"/>
              <a:gd name="connsiteY129-20960" fmla="*/ 4878426 h 5292022"/>
              <a:gd name="connsiteX130-20961" fmla="*/ 4686853 w 10693106"/>
              <a:gd name="connsiteY130-20962" fmla="*/ 4788256 h 5292022"/>
              <a:gd name="connsiteX131-20963" fmla="*/ 4536146 w 10693106"/>
              <a:gd name="connsiteY131-20964" fmla="*/ 4712902 h 5292022"/>
              <a:gd name="connsiteX132-20965" fmla="*/ 4365120 w 10693106"/>
              <a:gd name="connsiteY132-20966" fmla="*/ 4616382 h 5292022"/>
              <a:gd name="connsiteX133-20967" fmla="*/ 4187743 w 10693106"/>
              <a:gd name="connsiteY133-20968" fmla="*/ 4521556 h 5292022"/>
              <a:gd name="connsiteX134-20969" fmla="*/ 4125936 w 10693106"/>
              <a:gd name="connsiteY134-20970" fmla="*/ 4386724 h 5292022"/>
              <a:gd name="connsiteX135-20971" fmla="*/ 3995973 w 10693106"/>
              <a:gd name="connsiteY135-20972" fmla="*/ 4232419 h 5292022"/>
              <a:gd name="connsiteX136-20973" fmla="*/ 3962530 w 10693106"/>
              <a:gd name="connsiteY136-20974" fmla="*/ 4135052 h 5292022"/>
              <a:gd name="connsiteX137-20975" fmla="*/ 3895643 w 10693106"/>
              <a:gd name="connsiteY137-20976" fmla="*/ 4059699 h 5292022"/>
              <a:gd name="connsiteX138-20977" fmla="*/ 3919773 w 10693106"/>
              <a:gd name="connsiteY138-20978" fmla="*/ 3920422 h 5292022"/>
              <a:gd name="connsiteX139-20979" fmla="*/ 3877440 w 10693106"/>
              <a:gd name="connsiteY139-20980" fmla="*/ 3624089 h 5292022"/>
              <a:gd name="connsiteX140-20981" fmla="*/ 3852040 w 10693106"/>
              <a:gd name="connsiteY140-20982" fmla="*/ 3530956 h 5292022"/>
              <a:gd name="connsiteX141-20983" fmla="*/ 3801240 w 10693106"/>
              <a:gd name="connsiteY141-20984" fmla="*/ 3420889 h 5292022"/>
              <a:gd name="connsiteX142-20985" fmla="*/ 3733506 w 10693106"/>
              <a:gd name="connsiteY142-20986" fmla="*/ 3319289 h 5292022"/>
              <a:gd name="connsiteX143-20987" fmla="*/ 3242440 w 10693106"/>
              <a:gd name="connsiteY143-20988" fmla="*/ 3099156 h 5292022"/>
              <a:gd name="connsiteX144-20989" fmla="*/ 3123906 w 10693106"/>
              <a:gd name="connsiteY144-20990" fmla="*/ 2997556 h 5292022"/>
              <a:gd name="connsiteX145-20991" fmla="*/ 2988440 w 10693106"/>
              <a:gd name="connsiteY145-20992" fmla="*/ 2802822 h 5292022"/>
              <a:gd name="connsiteX146-20993" fmla="*/ 2971506 w 10693106"/>
              <a:gd name="connsiteY146-20994" fmla="*/ 2743556 h 5292022"/>
              <a:gd name="connsiteX147-20995" fmla="*/ 2996906 w 10693106"/>
              <a:gd name="connsiteY147-20996" fmla="*/ 2531889 h 5292022"/>
              <a:gd name="connsiteX148-20997" fmla="*/ 3013840 w 10693106"/>
              <a:gd name="connsiteY148-20998" fmla="*/ 2430289 h 5292022"/>
              <a:gd name="connsiteX149-20999" fmla="*/ 3005373 w 10693106"/>
              <a:gd name="connsiteY149-21000" fmla="*/ 2311756 h 5292022"/>
              <a:gd name="connsiteX150-21001" fmla="*/ 2988440 w 10693106"/>
              <a:gd name="connsiteY150-21002" fmla="*/ 2260956 h 5292022"/>
              <a:gd name="connsiteX151-21003" fmla="*/ 2802173 w 10693106"/>
              <a:gd name="connsiteY151-21004" fmla="*/ 2006956 h 5292022"/>
              <a:gd name="connsiteX152-21005" fmla="*/ 2641306 w 10693106"/>
              <a:gd name="connsiteY152-21006" fmla="*/ 1863022 h 5292022"/>
              <a:gd name="connsiteX153-21007" fmla="*/ 2590506 w 10693106"/>
              <a:gd name="connsiteY153-21008" fmla="*/ 1837622 h 5292022"/>
              <a:gd name="connsiteX154-21009" fmla="*/ 2531240 w 10693106"/>
              <a:gd name="connsiteY154-21010" fmla="*/ 1829156 h 5292022"/>
              <a:gd name="connsiteX155-21011" fmla="*/ 2446573 w 10693106"/>
              <a:gd name="connsiteY155-21012" fmla="*/ 1812222 h 5292022"/>
              <a:gd name="connsiteX156-21013" fmla="*/ 2251840 w 10693106"/>
              <a:gd name="connsiteY156-21014" fmla="*/ 1837622 h 5292022"/>
              <a:gd name="connsiteX157-21015" fmla="*/ 2167173 w 10693106"/>
              <a:gd name="connsiteY157-21016" fmla="*/ 1879956 h 5292022"/>
              <a:gd name="connsiteX158-21017" fmla="*/ 1980906 w 10693106"/>
              <a:gd name="connsiteY158-21018" fmla="*/ 1939222 h 5292022"/>
              <a:gd name="connsiteX159-21019" fmla="*/ 1904706 w 10693106"/>
              <a:gd name="connsiteY159-21020" fmla="*/ 1973089 h 5292022"/>
              <a:gd name="connsiteX160-21021" fmla="*/ 1828506 w 10693106"/>
              <a:gd name="connsiteY160-21022" fmla="*/ 1990022 h 5292022"/>
              <a:gd name="connsiteX161-21023" fmla="*/ 1726906 w 10693106"/>
              <a:gd name="connsiteY161-21024" fmla="*/ 2040822 h 5292022"/>
              <a:gd name="connsiteX162-21025" fmla="*/ 1659173 w 10693106"/>
              <a:gd name="connsiteY162-21026" fmla="*/ 2074689 h 5292022"/>
              <a:gd name="connsiteX163-21027" fmla="*/ 1498306 w 10693106"/>
              <a:gd name="connsiteY163-21028" fmla="*/ 2100089 h 5292022"/>
              <a:gd name="connsiteX164-21029" fmla="*/ 914106 w 10693106"/>
              <a:gd name="connsiteY164-21030" fmla="*/ 2032356 h 5292022"/>
              <a:gd name="connsiteX165-21031" fmla="*/ 617773 w 10693106"/>
              <a:gd name="connsiteY165-21032" fmla="*/ 1922289 h 5292022"/>
              <a:gd name="connsiteX166-21033" fmla="*/ 516173 w 10693106"/>
              <a:gd name="connsiteY166-21034" fmla="*/ 1837622 h 5292022"/>
              <a:gd name="connsiteX167-21035" fmla="*/ 355306 w 10693106"/>
              <a:gd name="connsiteY167-21036" fmla="*/ 1625956 h 5292022"/>
              <a:gd name="connsiteX168-21037" fmla="*/ 296040 w 10693106"/>
              <a:gd name="connsiteY168-21038" fmla="*/ 1524356 h 5292022"/>
              <a:gd name="connsiteX169-21039" fmla="*/ 253706 w 10693106"/>
              <a:gd name="connsiteY169-21040" fmla="*/ 1346556 h 5292022"/>
              <a:gd name="connsiteX170-21041" fmla="*/ 245240 w 10693106"/>
              <a:gd name="connsiteY170-21042" fmla="*/ 1219556 h 5292022"/>
              <a:gd name="connsiteX171-21043" fmla="*/ 236773 w 10693106"/>
              <a:gd name="connsiteY171-21044" fmla="*/ 1117956 h 5292022"/>
              <a:gd name="connsiteX172-21045" fmla="*/ 245240 w 10693106"/>
              <a:gd name="connsiteY172-21046" fmla="*/ 847022 h 5292022"/>
              <a:gd name="connsiteX173-21047" fmla="*/ 236773 w 10693106"/>
              <a:gd name="connsiteY173-21048" fmla="*/ 703089 h 5292022"/>
              <a:gd name="connsiteX174-21049" fmla="*/ 109773 w 10693106"/>
              <a:gd name="connsiteY174-21050" fmla="*/ 559156 h 5292022"/>
              <a:gd name="connsiteX175-21051" fmla="*/ 58973 w 10693106"/>
              <a:gd name="connsiteY175-21052" fmla="*/ 482956 h 5292022"/>
              <a:gd name="connsiteX176-21053" fmla="*/ 16640 w 10693106"/>
              <a:gd name="connsiteY176-21054" fmla="*/ 432156 h 5292022"/>
              <a:gd name="connsiteX177-21055" fmla="*/ 8173 w 10693106"/>
              <a:gd name="connsiteY177-21056" fmla="*/ 389822 h 5292022"/>
              <a:gd name="connsiteX178-21057" fmla="*/ 16640 w 10693106"/>
              <a:gd name="connsiteY178-21058" fmla="*/ 339022 h 5292022"/>
              <a:gd name="connsiteX0-21059" fmla="*/ 16640 w 10693106"/>
              <a:gd name="connsiteY0-21060" fmla="*/ 339022 h 5292022"/>
              <a:gd name="connsiteX1-21061" fmla="*/ 58973 w 10693106"/>
              <a:gd name="connsiteY1-21062" fmla="*/ 245889 h 5292022"/>
              <a:gd name="connsiteX2-21063" fmla="*/ 109773 w 10693106"/>
              <a:gd name="connsiteY2-21064" fmla="*/ 178156 h 5292022"/>
              <a:gd name="connsiteX3-21065" fmla="*/ 202906 w 10693106"/>
              <a:gd name="connsiteY3-21066" fmla="*/ 93489 h 5292022"/>
              <a:gd name="connsiteX4-21067" fmla="*/ 236773 w 10693106"/>
              <a:gd name="connsiteY4-21068" fmla="*/ 68089 h 5292022"/>
              <a:gd name="connsiteX5-21069" fmla="*/ 335410 w 10693106"/>
              <a:gd name="connsiteY5-21070" fmla="*/ 58352 h 5292022"/>
              <a:gd name="connsiteX6-21071" fmla="*/ 382400 w 10693106"/>
              <a:gd name="connsiteY6-21072" fmla="*/ 51156 h 5292022"/>
              <a:gd name="connsiteX7-21073" fmla="*/ 434912 w 10693106"/>
              <a:gd name="connsiteY7-21074" fmla="*/ 70071 h 5292022"/>
              <a:gd name="connsiteX8-21075" fmla="*/ 492697 w 10693106"/>
              <a:gd name="connsiteY8-21076" fmla="*/ 74247 h 5292022"/>
              <a:gd name="connsiteX9-21077" fmla="*/ 822897 w 10693106"/>
              <a:gd name="connsiteY9-21078" fmla="*/ 82713 h 5292022"/>
              <a:gd name="connsiteX10-21079" fmla="*/ 1091906 w 10693106"/>
              <a:gd name="connsiteY10-21080" fmla="*/ 356 h 5292022"/>
              <a:gd name="connsiteX11-21081" fmla="*/ 1235840 w 10693106"/>
              <a:gd name="connsiteY11-21082" fmla="*/ 59622 h 5292022"/>
              <a:gd name="connsiteX12-21083" fmla="*/ 1337440 w 10693106"/>
              <a:gd name="connsiteY12-21084" fmla="*/ 135822 h 5292022"/>
              <a:gd name="connsiteX13-21085" fmla="*/ 1422106 w 10693106"/>
              <a:gd name="connsiteY13-21086" fmla="*/ 245889 h 5292022"/>
              <a:gd name="connsiteX14-21087" fmla="*/ 1481373 w 10693106"/>
              <a:gd name="connsiteY14-21088" fmla="*/ 313622 h 5292022"/>
              <a:gd name="connsiteX15-21089" fmla="*/ 1532173 w 10693106"/>
              <a:gd name="connsiteY15-21090" fmla="*/ 347489 h 5292022"/>
              <a:gd name="connsiteX16-21091" fmla="*/ 1684573 w 10693106"/>
              <a:gd name="connsiteY16-21092" fmla="*/ 406756 h 5292022"/>
              <a:gd name="connsiteX17-21093" fmla="*/ 1760773 w 10693106"/>
              <a:gd name="connsiteY17-21094" fmla="*/ 423689 h 5292022"/>
              <a:gd name="connsiteX18-21095" fmla="*/ 1997840 w 10693106"/>
              <a:gd name="connsiteY18-21096" fmla="*/ 415222 h 5292022"/>
              <a:gd name="connsiteX19-21097" fmla="*/ 2116373 w 10693106"/>
              <a:gd name="connsiteY19-21098" fmla="*/ 398289 h 5292022"/>
              <a:gd name="connsiteX20-21099" fmla="*/ 2260306 w 10693106"/>
              <a:gd name="connsiteY20-21100" fmla="*/ 381356 h 5292022"/>
              <a:gd name="connsiteX21-21101" fmla="*/ 2404240 w 10693106"/>
              <a:gd name="connsiteY21-21102" fmla="*/ 355956 h 5292022"/>
              <a:gd name="connsiteX22-21103" fmla="*/ 2455040 w 10693106"/>
              <a:gd name="connsiteY22-21104" fmla="*/ 330556 h 5292022"/>
              <a:gd name="connsiteX23-21105" fmla="*/ 2531240 w 10693106"/>
              <a:gd name="connsiteY23-21106" fmla="*/ 305156 h 5292022"/>
              <a:gd name="connsiteX24-21107" fmla="*/ 2649350 w 10693106"/>
              <a:gd name="connsiteY24-21108" fmla="*/ 225781 h 5292022"/>
              <a:gd name="connsiteX25-21109" fmla="*/ 2742906 w 10693106"/>
              <a:gd name="connsiteY25-21110" fmla="*/ 186622 h 5292022"/>
              <a:gd name="connsiteX26-21111" fmla="*/ 2764920 w 10693106"/>
              <a:gd name="connsiteY26-21112" fmla="*/ 173076 h 5292022"/>
              <a:gd name="connsiteX27-21113" fmla="*/ 2832653 w 10693106"/>
              <a:gd name="connsiteY27-21114" fmla="*/ 167996 h 5292022"/>
              <a:gd name="connsiteX28-21115" fmla="*/ 3002294 w 10693106"/>
              <a:gd name="connsiteY28-21116" fmla="*/ 154680 h 5292022"/>
              <a:gd name="connsiteX29-21117" fmla="*/ 3142763 w 10693106"/>
              <a:gd name="connsiteY29-21118" fmla="*/ 110421 h 5292022"/>
              <a:gd name="connsiteX30-21119" fmla="*/ 3398918 w 10693106"/>
              <a:gd name="connsiteY30-21120" fmla="*/ 72322 h 5292022"/>
              <a:gd name="connsiteX31-21121" fmla="*/ 3606506 w 10693106"/>
              <a:gd name="connsiteY31-21122" fmla="*/ 60393 h 5292022"/>
              <a:gd name="connsiteX32-21123" fmla="*/ 3682706 w 10693106"/>
              <a:gd name="connsiteY32-21124" fmla="*/ 79942 h 5292022"/>
              <a:gd name="connsiteX33-21125" fmla="*/ 3741973 w 10693106"/>
              <a:gd name="connsiteY33-21126" fmla="*/ 86561 h 5292022"/>
              <a:gd name="connsiteX34-21127" fmla="*/ 3794678 w 10693106"/>
              <a:gd name="connsiteY34-21128" fmla="*/ 101321 h 5292022"/>
              <a:gd name="connsiteX35-21129" fmla="*/ 3833625 w 10693106"/>
              <a:gd name="connsiteY35-21130" fmla="*/ 110846 h 5292022"/>
              <a:gd name="connsiteX36-21131" fmla="*/ 3892487 w 10693106"/>
              <a:gd name="connsiteY36-21132" fmla="*/ 116984 h 5292022"/>
              <a:gd name="connsiteX37-21133" fmla="*/ 3933108 w 10693106"/>
              <a:gd name="connsiteY37-21134" fmla="*/ 128837 h 5292022"/>
              <a:gd name="connsiteX38-21135" fmla="*/ 3976923 w 10693106"/>
              <a:gd name="connsiteY38-21136" fmla="*/ 135187 h 5292022"/>
              <a:gd name="connsiteX39-21137" fmla="*/ 4021373 w 10693106"/>
              <a:gd name="connsiteY39-21138" fmla="*/ 144289 h 5292022"/>
              <a:gd name="connsiteX40-21139" fmla="*/ 4055240 w 10693106"/>
              <a:gd name="connsiteY40-21140" fmla="*/ 152756 h 5292022"/>
              <a:gd name="connsiteX41-21141" fmla="*/ 4275373 w 10693106"/>
              <a:gd name="connsiteY41-21142" fmla="*/ 195089 h 5292022"/>
              <a:gd name="connsiteX42-21143" fmla="*/ 4402373 w 10693106"/>
              <a:gd name="connsiteY42-21144" fmla="*/ 228956 h 5292022"/>
              <a:gd name="connsiteX43-21145" fmla="*/ 4529373 w 10693106"/>
              <a:gd name="connsiteY43-21146" fmla="*/ 271289 h 5292022"/>
              <a:gd name="connsiteX44-21147" fmla="*/ 4859573 w 10693106"/>
              <a:gd name="connsiteY44-21148" fmla="*/ 347489 h 5292022"/>
              <a:gd name="connsiteX45-21149" fmla="*/ 5045840 w 10693106"/>
              <a:gd name="connsiteY45-21150" fmla="*/ 423689 h 5292022"/>
              <a:gd name="connsiteX46-21151" fmla="*/ 5325240 w 10693106"/>
              <a:gd name="connsiteY46-21152" fmla="*/ 584556 h 5292022"/>
              <a:gd name="connsiteX47-21153" fmla="*/ 5494573 w 10693106"/>
              <a:gd name="connsiteY47-21154" fmla="*/ 736956 h 5292022"/>
              <a:gd name="connsiteX48-21155" fmla="*/ 5562306 w 10693106"/>
              <a:gd name="connsiteY48-21156" fmla="*/ 813156 h 5292022"/>
              <a:gd name="connsiteX49-21157" fmla="*/ 5621573 w 10693106"/>
              <a:gd name="connsiteY49-21158" fmla="*/ 863956 h 5292022"/>
              <a:gd name="connsiteX50-21159" fmla="*/ 5672373 w 10693106"/>
              <a:gd name="connsiteY50-21160" fmla="*/ 931689 h 5292022"/>
              <a:gd name="connsiteX51-21161" fmla="*/ 5757040 w 10693106"/>
              <a:gd name="connsiteY51-21162" fmla="*/ 1033289 h 5292022"/>
              <a:gd name="connsiteX52-21163" fmla="*/ 5833240 w 10693106"/>
              <a:gd name="connsiteY52-21164" fmla="*/ 1126422 h 5292022"/>
              <a:gd name="connsiteX53-21165" fmla="*/ 6603706 w 10693106"/>
              <a:gd name="connsiteY53-21166" fmla="*/ 1736022 h 5292022"/>
              <a:gd name="connsiteX54-21167" fmla="*/ 7196373 w 10693106"/>
              <a:gd name="connsiteY54-21168" fmla="*/ 1778356 h 5292022"/>
              <a:gd name="connsiteX55-21169" fmla="*/ 7509640 w 10693106"/>
              <a:gd name="connsiteY55-21170" fmla="*/ 1702156 h 5292022"/>
              <a:gd name="connsiteX56-21171" fmla="*/ 7704373 w 10693106"/>
              <a:gd name="connsiteY56-21172" fmla="*/ 1634422 h 5292022"/>
              <a:gd name="connsiteX57-21173" fmla="*/ 7958373 w 10693106"/>
              <a:gd name="connsiteY57-21174" fmla="*/ 1507422 h 5292022"/>
              <a:gd name="connsiteX58-21175" fmla="*/ 8009173 w 10693106"/>
              <a:gd name="connsiteY58-21176" fmla="*/ 1456622 h 5292022"/>
              <a:gd name="connsiteX59-21177" fmla="*/ 8339373 w 10693106"/>
              <a:gd name="connsiteY59-21178" fmla="*/ 1211089 h 5292022"/>
              <a:gd name="connsiteX60-21179" fmla="*/ 8576440 w 10693106"/>
              <a:gd name="connsiteY60-21180" fmla="*/ 957089 h 5292022"/>
              <a:gd name="connsiteX61-21181" fmla="*/ 8652640 w 10693106"/>
              <a:gd name="connsiteY61-21182" fmla="*/ 677689 h 5292022"/>
              <a:gd name="connsiteX62-21183" fmla="*/ 8847373 w 10693106"/>
              <a:gd name="connsiteY62-21184" fmla="*/ 491422 h 5292022"/>
              <a:gd name="connsiteX63-21185" fmla="*/ 8982840 w 10693106"/>
              <a:gd name="connsiteY63-21186" fmla="*/ 398289 h 5292022"/>
              <a:gd name="connsiteX64-21187" fmla="*/ 9084440 w 10693106"/>
              <a:gd name="connsiteY64-21188" fmla="*/ 364422 h 5292022"/>
              <a:gd name="connsiteX65-21189" fmla="*/ 9152173 w 10693106"/>
              <a:gd name="connsiteY65-21190" fmla="*/ 339022 h 5292022"/>
              <a:gd name="connsiteX66-21191" fmla="*/ 9380773 w 10693106"/>
              <a:gd name="connsiteY66-21192" fmla="*/ 355956 h 5292022"/>
              <a:gd name="connsiteX67-21193" fmla="*/ 9744840 w 10693106"/>
              <a:gd name="connsiteY67-21194" fmla="*/ 466022 h 5292022"/>
              <a:gd name="connsiteX68-21195" fmla="*/ 9888773 w 10693106"/>
              <a:gd name="connsiteY68-21196" fmla="*/ 508356 h 5292022"/>
              <a:gd name="connsiteX69-21197" fmla="*/ 9998840 w 10693106"/>
              <a:gd name="connsiteY69-21198" fmla="*/ 559156 h 5292022"/>
              <a:gd name="connsiteX70-21199" fmla="*/ 10083506 w 10693106"/>
              <a:gd name="connsiteY70-21200" fmla="*/ 618422 h 5292022"/>
              <a:gd name="connsiteX71-21201" fmla="*/ 10286706 w 10693106"/>
              <a:gd name="connsiteY71-21202" fmla="*/ 686156 h 5292022"/>
              <a:gd name="connsiteX72-21203" fmla="*/ 10388306 w 10693106"/>
              <a:gd name="connsiteY72-21204" fmla="*/ 889356 h 5292022"/>
              <a:gd name="connsiteX73-21205" fmla="*/ 10540706 w 10693106"/>
              <a:gd name="connsiteY73-21206" fmla="*/ 1261889 h 5292022"/>
              <a:gd name="connsiteX74-21207" fmla="*/ 10557640 w 10693106"/>
              <a:gd name="connsiteY74-21208" fmla="*/ 1346556 h 5292022"/>
              <a:gd name="connsiteX75-21209" fmla="*/ 10583040 w 10693106"/>
              <a:gd name="connsiteY75-21210" fmla="*/ 1448156 h 5292022"/>
              <a:gd name="connsiteX76-21211" fmla="*/ 10616906 w 10693106"/>
              <a:gd name="connsiteY76-21212" fmla="*/ 1651356 h 5292022"/>
              <a:gd name="connsiteX77-21213" fmla="*/ 10633840 w 10693106"/>
              <a:gd name="connsiteY77-21214" fmla="*/ 1736022 h 5292022"/>
              <a:gd name="connsiteX78-21215" fmla="*/ 10650773 w 10693106"/>
              <a:gd name="connsiteY78-21216" fmla="*/ 1769889 h 5292022"/>
              <a:gd name="connsiteX79-21217" fmla="*/ 10676173 w 10693106"/>
              <a:gd name="connsiteY79-21218" fmla="*/ 1854556 h 5292022"/>
              <a:gd name="connsiteX80-21219" fmla="*/ 10693106 w 10693106"/>
              <a:gd name="connsiteY80-21220" fmla="*/ 2006956 h 5292022"/>
              <a:gd name="connsiteX81-21221" fmla="*/ 10625373 w 10693106"/>
              <a:gd name="connsiteY81-21222" fmla="*/ 2227089 h 5292022"/>
              <a:gd name="connsiteX82-21223" fmla="*/ 10608440 w 10693106"/>
              <a:gd name="connsiteY82-21224" fmla="*/ 2252489 h 5292022"/>
              <a:gd name="connsiteX83-21225" fmla="*/ 10540706 w 10693106"/>
              <a:gd name="connsiteY83-21226" fmla="*/ 2396422 h 5292022"/>
              <a:gd name="connsiteX84-21227" fmla="*/ 10498373 w 10693106"/>
              <a:gd name="connsiteY84-21228" fmla="*/ 2481089 h 5292022"/>
              <a:gd name="connsiteX85-21229" fmla="*/ 10439106 w 10693106"/>
              <a:gd name="connsiteY85-21230" fmla="*/ 2667356 h 5292022"/>
              <a:gd name="connsiteX86-21231" fmla="*/ 10430640 w 10693106"/>
              <a:gd name="connsiteY86-21232" fmla="*/ 2709689 h 5292022"/>
              <a:gd name="connsiteX87-21233" fmla="*/ 10405240 w 10693106"/>
              <a:gd name="connsiteY87-21234" fmla="*/ 2785889 h 5292022"/>
              <a:gd name="connsiteX88-21235" fmla="*/ 10396773 w 10693106"/>
              <a:gd name="connsiteY88-21236" fmla="*/ 2819756 h 5292022"/>
              <a:gd name="connsiteX89-21237" fmla="*/ 10362906 w 10693106"/>
              <a:gd name="connsiteY89-21238" fmla="*/ 2912889 h 5292022"/>
              <a:gd name="connsiteX90-21239" fmla="*/ 10329040 w 10693106"/>
              <a:gd name="connsiteY90-21240" fmla="*/ 2955222 h 5292022"/>
              <a:gd name="connsiteX91-21241" fmla="*/ 10227440 w 10693106"/>
              <a:gd name="connsiteY91-21242" fmla="*/ 3056822 h 5292022"/>
              <a:gd name="connsiteX92-21243" fmla="*/ 10168173 w 10693106"/>
              <a:gd name="connsiteY92-21244" fmla="*/ 3124556 h 5292022"/>
              <a:gd name="connsiteX93-21245" fmla="*/ 10117373 w 10693106"/>
              <a:gd name="connsiteY93-21246" fmla="*/ 3175356 h 5292022"/>
              <a:gd name="connsiteX94-21247" fmla="*/ 10032706 w 10693106"/>
              <a:gd name="connsiteY94-21248" fmla="*/ 3276956 h 5292022"/>
              <a:gd name="connsiteX95-21249" fmla="*/ 9948040 w 10693106"/>
              <a:gd name="connsiteY95-21250" fmla="*/ 3336222 h 5292022"/>
              <a:gd name="connsiteX96-21251" fmla="*/ 9905706 w 10693106"/>
              <a:gd name="connsiteY96-21252" fmla="*/ 3361622 h 5292022"/>
              <a:gd name="connsiteX97-21253" fmla="*/ 9829506 w 10693106"/>
              <a:gd name="connsiteY97-21254" fmla="*/ 3378556 h 5292022"/>
              <a:gd name="connsiteX98-21255" fmla="*/ 9727906 w 10693106"/>
              <a:gd name="connsiteY98-21256" fmla="*/ 3420889 h 5292022"/>
              <a:gd name="connsiteX99-21257" fmla="*/ 9634773 w 10693106"/>
              <a:gd name="connsiteY99-21258" fmla="*/ 3446289 h 5292022"/>
              <a:gd name="connsiteX100-21259" fmla="*/ 9456973 w 10693106"/>
              <a:gd name="connsiteY100-21260" fmla="*/ 3539422 h 5292022"/>
              <a:gd name="connsiteX101-21261" fmla="*/ 9313040 w 10693106"/>
              <a:gd name="connsiteY101-21262" fmla="*/ 3666422 h 5292022"/>
              <a:gd name="connsiteX102-21263" fmla="*/ 9279173 w 10693106"/>
              <a:gd name="connsiteY102-21264" fmla="*/ 3683356 h 5292022"/>
              <a:gd name="connsiteX103-21265" fmla="*/ 9067506 w 10693106"/>
              <a:gd name="connsiteY103-21266" fmla="*/ 3861156 h 5292022"/>
              <a:gd name="connsiteX104-21267" fmla="*/ 8999773 w 10693106"/>
              <a:gd name="connsiteY104-21268" fmla="*/ 3928889 h 5292022"/>
              <a:gd name="connsiteX105-21269" fmla="*/ 8813506 w 10693106"/>
              <a:gd name="connsiteY105-21270" fmla="*/ 4064356 h 5292022"/>
              <a:gd name="connsiteX106-21271" fmla="*/ 8728840 w 10693106"/>
              <a:gd name="connsiteY106-21272" fmla="*/ 4106689 h 5292022"/>
              <a:gd name="connsiteX107-21273" fmla="*/ 8373240 w 10693106"/>
              <a:gd name="connsiteY107-21274" fmla="*/ 4140556 h 5292022"/>
              <a:gd name="connsiteX108-21275" fmla="*/ 7966840 w 10693106"/>
              <a:gd name="connsiteY108-21276" fmla="*/ 4233689 h 5292022"/>
              <a:gd name="connsiteX109-21277" fmla="*/ 7687440 w 10693106"/>
              <a:gd name="connsiteY109-21278" fmla="*/ 4394556 h 5292022"/>
              <a:gd name="connsiteX110-21279" fmla="*/ 7551973 w 10693106"/>
              <a:gd name="connsiteY110-21280" fmla="*/ 4479222 h 5292022"/>
              <a:gd name="connsiteX111-21281" fmla="*/ 7374173 w 10693106"/>
              <a:gd name="connsiteY111-21282" fmla="*/ 4657022 h 5292022"/>
              <a:gd name="connsiteX112-21283" fmla="*/ 7374173 w 10693106"/>
              <a:gd name="connsiteY112-21284" fmla="*/ 4657022 h 5292022"/>
              <a:gd name="connsiteX113-21285" fmla="*/ 7221773 w 10693106"/>
              <a:gd name="connsiteY113-21286" fmla="*/ 4775556 h 5292022"/>
              <a:gd name="connsiteX114-21287" fmla="*/ 7027040 w 10693106"/>
              <a:gd name="connsiteY114-21288" fmla="*/ 4902556 h 5292022"/>
              <a:gd name="connsiteX115-21289" fmla="*/ 6883106 w 10693106"/>
              <a:gd name="connsiteY115-21290" fmla="*/ 4970289 h 5292022"/>
              <a:gd name="connsiteX116-21291" fmla="*/ 6815373 w 10693106"/>
              <a:gd name="connsiteY116-21292" fmla="*/ 5012622 h 5292022"/>
              <a:gd name="connsiteX117-21293" fmla="*/ 6646040 w 10693106"/>
              <a:gd name="connsiteY117-21294" fmla="*/ 5105756 h 5292022"/>
              <a:gd name="connsiteX118-21295" fmla="*/ 6527506 w 10693106"/>
              <a:gd name="connsiteY118-21296" fmla="*/ 5165022 h 5292022"/>
              <a:gd name="connsiteX119-21297" fmla="*/ 6298906 w 10693106"/>
              <a:gd name="connsiteY119-21298" fmla="*/ 5241222 h 5292022"/>
              <a:gd name="connsiteX120-21299" fmla="*/ 6197306 w 10693106"/>
              <a:gd name="connsiteY120-21300" fmla="*/ 5266622 h 5292022"/>
              <a:gd name="connsiteX121-21301" fmla="*/ 6061840 w 10693106"/>
              <a:gd name="connsiteY121-21302" fmla="*/ 5275089 h 5292022"/>
              <a:gd name="connsiteX122-21303" fmla="*/ 5917906 w 10693106"/>
              <a:gd name="connsiteY122-21304" fmla="*/ 5292022 h 5292022"/>
              <a:gd name="connsiteX123-21305" fmla="*/ 5748573 w 10693106"/>
              <a:gd name="connsiteY123-21306" fmla="*/ 5283556 h 5292022"/>
              <a:gd name="connsiteX124-21307" fmla="*/ 5282906 w 10693106"/>
              <a:gd name="connsiteY124-21308" fmla="*/ 5173489 h 5292022"/>
              <a:gd name="connsiteX125-21309" fmla="*/ 5138973 w 10693106"/>
              <a:gd name="connsiteY125-21310" fmla="*/ 5071889 h 5292022"/>
              <a:gd name="connsiteX126-21311" fmla="*/ 4959480 w 10693106"/>
              <a:gd name="connsiteY126-21312" fmla="*/ 4988069 h 5292022"/>
              <a:gd name="connsiteX127-21313" fmla="*/ 4842216 w 10693106"/>
              <a:gd name="connsiteY127-21314" fmla="*/ 4953779 h 5292022"/>
              <a:gd name="connsiteX128-21315" fmla="*/ 4797343 w 10693106"/>
              <a:gd name="connsiteY128-21316" fmla="*/ 4878426 h 5292022"/>
              <a:gd name="connsiteX129-21317" fmla="*/ 4686853 w 10693106"/>
              <a:gd name="connsiteY129-21318" fmla="*/ 4788256 h 5292022"/>
              <a:gd name="connsiteX130-21319" fmla="*/ 4536146 w 10693106"/>
              <a:gd name="connsiteY130-21320" fmla="*/ 4712902 h 5292022"/>
              <a:gd name="connsiteX131-21321" fmla="*/ 4365120 w 10693106"/>
              <a:gd name="connsiteY131-21322" fmla="*/ 4616382 h 5292022"/>
              <a:gd name="connsiteX132-21323" fmla="*/ 4187743 w 10693106"/>
              <a:gd name="connsiteY132-21324" fmla="*/ 4521556 h 5292022"/>
              <a:gd name="connsiteX133-21325" fmla="*/ 4125936 w 10693106"/>
              <a:gd name="connsiteY133-21326" fmla="*/ 4386724 h 5292022"/>
              <a:gd name="connsiteX134-21327" fmla="*/ 3995973 w 10693106"/>
              <a:gd name="connsiteY134-21328" fmla="*/ 4232419 h 5292022"/>
              <a:gd name="connsiteX135-21329" fmla="*/ 3962530 w 10693106"/>
              <a:gd name="connsiteY135-21330" fmla="*/ 4135052 h 5292022"/>
              <a:gd name="connsiteX136-21331" fmla="*/ 3895643 w 10693106"/>
              <a:gd name="connsiteY136-21332" fmla="*/ 4059699 h 5292022"/>
              <a:gd name="connsiteX137-21333" fmla="*/ 3919773 w 10693106"/>
              <a:gd name="connsiteY137-21334" fmla="*/ 3920422 h 5292022"/>
              <a:gd name="connsiteX138-21335" fmla="*/ 3877440 w 10693106"/>
              <a:gd name="connsiteY138-21336" fmla="*/ 3624089 h 5292022"/>
              <a:gd name="connsiteX139-21337" fmla="*/ 3852040 w 10693106"/>
              <a:gd name="connsiteY139-21338" fmla="*/ 3530956 h 5292022"/>
              <a:gd name="connsiteX140-21339" fmla="*/ 3801240 w 10693106"/>
              <a:gd name="connsiteY140-21340" fmla="*/ 3420889 h 5292022"/>
              <a:gd name="connsiteX141-21341" fmla="*/ 3733506 w 10693106"/>
              <a:gd name="connsiteY141-21342" fmla="*/ 3319289 h 5292022"/>
              <a:gd name="connsiteX142-21343" fmla="*/ 3242440 w 10693106"/>
              <a:gd name="connsiteY142-21344" fmla="*/ 3099156 h 5292022"/>
              <a:gd name="connsiteX143-21345" fmla="*/ 3123906 w 10693106"/>
              <a:gd name="connsiteY143-21346" fmla="*/ 2997556 h 5292022"/>
              <a:gd name="connsiteX144-21347" fmla="*/ 2988440 w 10693106"/>
              <a:gd name="connsiteY144-21348" fmla="*/ 2802822 h 5292022"/>
              <a:gd name="connsiteX145-21349" fmla="*/ 2971506 w 10693106"/>
              <a:gd name="connsiteY145-21350" fmla="*/ 2743556 h 5292022"/>
              <a:gd name="connsiteX146-21351" fmla="*/ 2996906 w 10693106"/>
              <a:gd name="connsiteY146-21352" fmla="*/ 2531889 h 5292022"/>
              <a:gd name="connsiteX147-21353" fmla="*/ 3013840 w 10693106"/>
              <a:gd name="connsiteY147-21354" fmla="*/ 2430289 h 5292022"/>
              <a:gd name="connsiteX148-21355" fmla="*/ 3005373 w 10693106"/>
              <a:gd name="connsiteY148-21356" fmla="*/ 2311756 h 5292022"/>
              <a:gd name="connsiteX149-21357" fmla="*/ 2988440 w 10693106"/>
              <a:gd name="connsiteY149-21358" fmla="*/ 2260956 h 5292022"/>
              <a:gd name="connsiteX150-21359" fmla="*/ 2802173 w 10693106"/>
              <a:gd name="connsiteY150-21360" fmla="*/ 2006956 h 5292022"/>
              <a:gd name="connsiteX151-21361" fmla="*/ 2641306 w 10693106"/>
              <a:gd name="connsiteY151-21362" fmla="*/ 1863022 h 5292022"/>
              <a:gd name="connsiteX152-21363" fmla="*/ 2590506 w 10693106"/>
              <a:gd name="connsiteY152-21364" fmla="*/ 1837622 h 5292022"/>
              <a:gd name="connsiteX153-21365" fmla="*/ 2531240 w 10693106"/>
              <a:gd name="connsiteY153-21366" fmla="*/ 1829156 h 5292022"/>
              <a:gd name="connsiteX154-21367" fmla="*/ 2446573 w 10693106"/>
              <a:gd name="connsiteY154-21368" fmla="*/ 1812222 h 5292022"/>
              <a:gd name="connsiteX155-21369" fmla="*/ 2251840 w 10693106"/>
              <a:gd name="connsiteY155-21370" fmla="*/ 1837622 h 5292022"/>
              <a:gd name="connsiteX156-21371" fmla="*/ 2167173 w 10693106"/>
              <a:gd name="connsiteY156-21372" fmla="*/ 1879956 h 5292022"/>
              <a:gd name="connsiteX157-21373" fmla="*/ 1980906 w 10693106"/>
              <a:gd name="connsiteY157-21374" fmla="*/ 1939222 h 5292022"/>
              <a:gd name="connsiteX158-21375" fmla="*/ 1904706 w 10693106"/>
              <a:gd name="connsiteY158-21376" fmla="*/ 1973089 h 5292022"/>
              <a:gd name="connsiteX159-21377" fmla="*/ 1828506 w 10693106"/>
              <a:gd name="connsiteY159-21378" fmla="*/ 1990022 h 5292022"/>
              <a:gd name="connsiteX160-21379" fmla="*/ 1726906 w 10693106"/>
              <a:gd name="connsiteY160-21380" fmla="*/ 2040822 h 5292022"/>
              <a:gd name="connsiteX161-21381" fmla="*/ 1659173 w 10693106"/>
              <a:gd name="connsiteY161-21382" fmla="*/ 2074689 h 5292022"/>
              <a:gd name="connsiteX162-21383" fmla="*/ 1498306 w 10693106"/>
              <a:gd name="connsiteY162-21384" fmla="*/ 2100089 h 5292022"/>
              <a:gd name="connsiteX163-21385" fmla="*/ 914106 w 10693106"/>
              <a:gd name="connsiteY163-21386" fmla="*/ 2032356 h 5292022"/>
              <a:gd name="connsiteX164-21387" fmla="*/ 617773 w 10693106"/>
              <a:gd name="connsiteY164-21388" fmla="*/ 1922289 h 5292022"/>
              <a:gd name="connsiteX165-21389" fmla="*/ 516173 w 10693106"/>
              <a:gd name="connsiteY165-21390" fmla="*/ 1837622 h 5292022"/>
              <a:gd name="connsiteX166-21391" fmla="*/ 355306 w 10693106"/>
              <a:gd name="connsiteY166-21392" fmla="*/ 1625956 h 5292022"/>
              <a:gd name="connsiteX167-21393" fmla="*/ 296040 w 10693106"/>
              <a:gd name="connsiteY167-21394" fmla="*/ 1524356 h 5292022"/>
              <a:gd name="connsiteX168-21395" fmla="*/ 253706 w 10693106"/>
              <a:gd name="connsiteY168-21396" fmla="*/ 1346556 h 5292022"/>
              <a:gd name="connsiteX169-21397" fmla="*/ 245240 w 10693106"/>
              <a:gd name="connsiteY169-21398" fmla="*/ 1219556 h 5292022"/>
              <a:gd name="connsiteX170-21399" fmla="*/ 236773 w 10693106"/>
              <a:gd name="connsiteY170-21400" fmla="*/ 1117956 h 5292022"/>
              <a:gd name="connsiteX171-21401" fmla="*/ 245240 w 10693106"/>
              <a:gd name="connsiteY171-21402" fmla="*/ 847022 h 5292022"/>
              <a:gd name="connsiteX172-21403" fmla="*/ 236773 w 10693106"/>
              <a:gd name="connsiteY172-21404" fmla="*/ 703089 h 5292022"/>
              <a:gd name="connsiteX173-21405" fmla="*/ 109773 w 10693106"/>
              <a:gd name="connsiteY173-21406" fmla="*/ 559156 h 5292022"/>
              <a:gd name="connsiteX174-21407" fmla="*/ 58973 w 10693106"/>
              <a:gd name="connsiteY174-21408" fmla="*/ 482956 h 5292022"/>
              <a:gd name="connsiteX175-21409" fmla="*/ 16640 w 10693106"/>
              <a:gd name="connsiteY175-21410" fmla="*/ 432156 h 5292022"/>
              <a:gd name="connsiteX176-21411" fmla="*/ 8173 w 10693106"/>
              <a:gd name="connsiteY176-21412" fmla="*/ 389822 h 5292022"/>
              <a:gd name="connsiteX177-21413" fmla="*/ 16640 w 10693106"/>
              <a:gd name="connsiteY177-21414" fmla="*/ 339022 h 5292022"/>
              <a:gd name="connsiteX0-21415" fmla="*/ 16640 w 10693106"/>
              <a:gd name="connsiteY0-21416" fmla="*/ 339022 h 5292022"/>
              <a:gd name="connsiteX1-21417" fmla="*/ 58973 w 10693106"/>
              <a:gd name="connsiteY1-21418" fmla="*/ 245889 h 5292022"/>
              <a:gd name="connsiteX2-21419" fmla="*/ 109773 w 10693106"/>
              <a:gd name="connsiteY2-21420" fmla="*/ 178156 h 5292022"/>
              <a:gd name="connsiteX3-21421" fmla="*/ 202906 w 10693106"/>
              <a:gd name="connsiteY3-21422" fmla="*/ 93489 h 5292022"/>
              <a:gd name="connsiteX4-21423" fmla="*/ 236773 w 10693106"/>
              <a:gd name="connsiteY4-21424" fmla="*/ 68089 h 5292022"/>
              <a:gd name="connsiteX5-21425" fmla="*/ 335410 w 10693106"/>
              <a:gd name="connsiteY5-21426" fmla="*/ 58352 h 5292022"/>
              <a:gd name="connsiteX6-21427" fmla="*/ 382400 w 10693106"/>
              <a:gd name="connsiteY6-21428" fmla="*/ 51156 h 5292022"/>
              <a:gd name="connsiteX7-21429" fmla="*/ 434912 w 10693106"/>
              <a:gd name="connsiteY7-21430" fmla="*/ 70071 h 5292022"/>
              <a:gd name="connsiteX8-21431" fmla="*/ 492697 w 10693106"/>
              <a:gd name="connsiteY8-21432" fmla="*/ 74247 h 5292022"/>
              <a:gd name="connsiteX9-21433" fmla="*/ 822897 w 10693106"/>
              <a:gd name="connsiteY9-21434" fmla="*/ 82713 h 5292022"/>
              <a:gd name="connsiteX10-21435" fmla="*/ 1091906 w 10693106"/>
              <a:gd name="connsiteY10-21436" fmla="*/ 356 h 5292022"/>
              <a:gd name="connsiteX11-21437" fmla="*/ 1235840 w 10693106"/>
              <a:gd name="connsiteY11-21438" fmla="*/ 59622 h 5292022"/>
              <a:gd name="connsiteX12-21439" fmla="*/ 1337440 w 10693106"/>
              <a:gd name="connsiteY12-21440" fmla="*/ 135822 h 5292022"/>
              <a:gd name="connsiteX13-21441" fmla="*/ 1422106 w 10693106"/>
              <a:gd name="connsiteY13-21442" fmla="*/ 245889 h 5292022"/>
              <a:gd name="connsiteX14-21443" fmla="*/ 1481373 w 10693106"/>
              <a:gd name="connsiteY14-21444" fmla="*/ 313622 h 5292022"/>
              <a:gd name="connsiteX15-21445" fmla="*/ 1532173 w 10693106"/>
              <a:gd name="connsiteY15-21446" fmla="*/ 347489 h 5292022"/>
              <a:gd name="connsiteX16-21447" fmla="*/ 1684573 w 10693106"/>
              <a:gd name="connsiteY16-21448" fmla="*/ 406756 h 5292022"/>
              <a:gd name="connsiteX17-21449" fmla="*/ 1760773 w 10693106"/>
              <a:gd name="connsiteY17-21450" fmla="*/ 423689 h 5292022"/>
              <a:gd name="connsiteX18-21451" fmla="*/ 1997840 w 10693106"/>
              <a:gd name="connsiteY18-21452" fmla="*/ 415222 h 5292022"/>
              <a:gd name="connsiteX19-21453" fmla="*/ 2116373 w 10693106"/>
              <a:gd name="connsiteY19-21454" fmla="*/ 398289 h 5292022"/>
              <a:gd name="connsiteX20-21455" fmla="*/ 2260306 w 10693106"/>
              <a:gd name="connsiteY20-21456" fmla="*/ 381356 h 5292022"/>
              <a:gd name="connsiteX21-21457" fmla="*/ 2404240 w 10693106"/>
              <a:gd name="connsiteY21-21458" fmla="*/ 355956 h 5292022"/>
              <a:gd name="connsiteX22-21459" fmla="*/ 2455040 w 10693106"/>
              <a:gd name="connsiteY22-21460" fmla="*/ 330556 h 5292022"/>
              <a:gd name="connsiteX23-21461" fmla="*/ 2531240 w 10693106"/>
              <a:gd name="connsiteY23-21462" fmla="*/ 305156 h 5292022"/>
              <a:gd name="connsiteX24-21463" fmla="*/ 2649350 w 10693106"/>
              <a:gd name="connsiteY24-21464" fmla="*/ 225781 h 5292022"/>
              <a:gd name="connsiteX25-21465" fmla="*/ 2742906 w 10693106"/>
              <a:gd name="connsiteY25-21466" fmla="*/ 186622 h 5292022"/>
              <a:gd name="connsiteX26-21467" fmla="*/ 2764920 w 10693106"/>
              <a:gd name="connsiteY26-21468" fmla="*/ 173076 h 5292022"/>
              <a:gd name="connsiteX27-21469" fmla="*/ 2832653 w 10693106"/>
              <a:gd name="connsiteY27-21470" fmla="*/ 167996 h 5292022"/>
              <a:gd name="connsiteX28-21471" fmla="*/ 3002294 w 10693106"/>
              <a:gd name="connsiteY28-21472" fmla="*/ 154680 h 5292022"/>
              <a:gd name="connsiteX29-21473" fmla="*/ 3142763 w 10693106"/>
              <a:gd name="connsiteY29-21474" fmla="*/ 110421 h 5292022"/>
              <a:gd name="connsiteX30-21475" fmla="*/ 3398918 w 10693106"/>
              <a:gd name="connsiteY30-21476" fmla="*/ 72322 h 5292022"/>
              <a:gd name="connsiteX31-21477" fmla="*/ 3606506 w 10693106"/>
              <a:gd name="connsiteY31-21478" fmla="*/ 60393 h 5292022"/>
              <a:gd name="connsiteX32-21479" fmla="*/ 3682706 w 10693106"/>
              <a:gd name="connsiteY32-21480" fmla="*/ 79942 h 5292022"/>
              <a:gd name="connsiteX33-21481" fmla="*/ 3741973 w 10693106"/>
              <a:gd name="connsiteY33-21482" fmla="*/ 86561 h 5292022"/>
              <a:gd name="connsiteX34-21483" fmla="*/ 3794678 w 10693106"/>
              <a:gd name="connsiteY34-21484" fmla="*/ 101321 h 5292022"/>
              <a:gd name="connsiteX35-21485" fmla="*/ 3833625 w 10693106"/>
              <a:gd name="connsiteY35-21486" fmla="*/ 110846 h 5292022"/>
              <a:gd name="connsiteX36-21487" fmla="*/ 3892487 w 10693106"/>
              <a:gd name="connsiteY36-21488" fmla="*/ 116984 h 5292022"/>
              <a:gd name="connsiteX37-21489" fmla="*/ 3933108 w 10693106"/>
              <a:gd name="connsiteY37-21490" fmla="*/ 128837 h 5292022"/>
              <a:gd name="connsiteX38-21491" fmla="*/ 3976923 w 10693106"/>
              <a:gd name="connsiteY38-21492" fmla="*/ 135187 h 5292022"/>
              <a:gd name="connsiteX39-21493" fmla="*/ 4021373 w 10693106"/>
              <a:gd name="connsiteY39-21494" fmla="*/ 144289 h 5292022"/>
              <a:gd name="connsiteX40-21495" fmla="*/ 4055240 w 10693106"/>
              <a:gd name="connsiteY40-21496" fmla="*/ 152756 h 5292022"/>
              <a:gd name="connsiteX41-21497" fmla="*/ 4275373 w 10693106"/>
              <a:gd name="connsiteY41-21498" fmla="*/ 195089 h 5292022"/>
              <a:gd name="connsiteX42-21499" fmla="*/ 4402373 w 10693106"/>
              <a:gd name="connsiteY42-21500" fmla="*/ 228956 h 5292022"/>
              <a:gd name="connsiteX43-21501" fmla="*/ 4529373 w 10693106"/>
              <a:gd name="connsiteY43-21502" fmla="*/ 271289 h 5292022"/>
              <a:gd name="connsiteX44-21503" fmla="*/ 4859573 w 10693106"/>
              <a:gd name="connsiteY44-21504" fmla="*/ 347489 h 5292022"/>
              <a:gd name="connsiteX45-21505" fmla="*/ 5045840 w 10693106"/>
              <a:gd name="connsiteY45-21506" fmla="*/ 423689 h 5292022"/>
              <a:gd name="connsiteX46-21507" fmla="*/ 5325240 w 10693106"/>
              <a:gd name="connsiteY46-21508" fmla="*/ 584556 h 5292022"/>
              <a:gd name="connsiteX47-21509" fmla="*/ 5494573 w 10693106"/>
              <a:gd name="connsiteY47-21510" fmla="*/ 736956 h 5292022"/>
              <a:gd name="connsiteX48-21511" fmla="*/ 5562306 w 10693106"/>
              <a:gd name="connsiteY48-21512" fmla="*/ 813156 h 5292022"/>
              <a:gd name="connsiteX49-21513" fmla="*/ 5621573 w 10693106"/>
              <a:gd name="connsiteY49-21514" fmla="*/ 863956 h 5292022"/>
              <a:gd name="connsiteX50-21515" fmla="*/ 5672373 w 10693106"/>
              <a:gd name="connsiteY50-21516" fmla="*/ 931689 h 5292022"/>
              <a:gd name="connsiteX51-21517" fmla="*/ 5757040 w 10693106"/>
              <a:gd name="connsiteY51-21518" fmla="*/ 1033289 h 5292022"/>
              <a:gd name="connsiteX52-21519" fmla="*/ 5833240 w 10693106"/>
              <a:gd name="connsiteY52-21520" fmla="*/ 1126422 h 5292022"/>
              <a:gd name="connsiteX53-21521" fmla="*/ 6603706 w 10693106"/>
              <a:gd name="connsiteY53-21522" fmla="*/ 1736022 h 5292022"/>
              <a:gd name="connsiteX54-21523" fmla="*/ 7196373 w 10693106"/>
              <a:gd name="connsiteY54-21524" fmla="*/ 1778356 h 5292022"/>
              <a:gd name="connsiteX55-21525" fmla="*/ 7509640 w 10693106"/>
              <a:gd name="connsiteY55-21526" fmla="*/ 1702156 h 5292022"/>
              <a:gd name="connsiteX56-21527" fmla="*/ 7704373 w 10693106"/>
              <a:gd name="connsiteY56-21528" fmla="*/ 1634422 h 5292022"/>
              <a:gd name="connsiteX57-21529" fmla="*/ 8009173 w 10693106"/>
              <a:gd name="connsiteY57-21530" fmla="*/ 1456622 h 5292022"/>
              <a:gd name="connsiteX58-21531" fmla="*/ 8339373 w 10693106"/>
              <a:gd name="connsiteY58-21532" fmla="*/ 1211089 h 5292022"/>
              <a:gd name="connsiteX59-21533" fmla="*/ 8576440 w 10693106"/>
              <a:gd name="connsiteY59-21534" fmla="*/ 957089 h 5292022"/>
              <a:gd name="connsiteX60-21535" fmla="*/ 8652640 w 10693106"/>
              <a:gd name="connsiteY60-21536" fmla="*/ 677689 h 5292022"/>
              <a:gd name="connsiteX61-21537" fmla="*/ 8847373 w 10693106"/>
              <a:gd name="connsiteY61-21538" fmla="*/ 491422 h 5292022"/>
              <a:gd name="connsiteX62-21539" fmla="*/ 8982840 w 10693106"/>
              <a:gd name="connsiteY62-21540" fmla="*/ 398289 h 5292022"/>
              <a:gd name="connsiteX63-21541" fmla="*/ 9084440 w 10693106"/>
              <a:gd name="connsiteY63-21542" fmla="*/ 364422 h 5292022"/>
              <a:gd name="connsiteX64-21543" fmla="*/ 9152173 w 10693106"/>
              <a:gd name="connsiteY64-21544" fmla="*/ 339022 h 5292022"/>
              <a:gd name="connsiteX65-21545" fmla="*/ 9380773 w 10693106"/>
              <a:gd name="connsiteY65-21546" fmla="*/ 355956 h 5292022"/>
              <a:gd name="connsiteX66-21547" fmla="*/ 9744840 w 10693106"/>
              <a:gd name="connsiteY66-21548" fmla="*/ 466022 h 5292022"/>
              <a:gd name="connsiteX67-21549" fmla="*/ 9888773 w 10693106"/>
              <a:gd name="connsiteY67-21550" fmla="*/ 508356 h 5292022"/>
              <a:gd name="connsiteX68-21551" fmla="*/ 9998840 w 10693106"/>
              <a:gd name="connsiteY68-21552" fmla="*/ 559156 h 5292022"/>
              <a:gd name="connsiteX69-21553" fmla="*/ 10083506 w 10693106"/>
              <a:gd name="connsiteY69-21554" fmla="*/ 618422 h 5292022"/>
              <a:gd name="connsiteX70-21555" fmla="*/ 10286706 w 10693106"/>
              <a:gd name="connsiteY70-21556" fmla="*/ 686156 h 5292022"/>
              <a:gd name="connsiteX71-21557" fmla="*/ 10388306 w 10693106"/>
              <a:gd name="connsiteY71-21558" fmla="*/ 889356 h 5292022"/>
              <a:gd name="connsiteX72-21559" fmla="*/ 10540706 w 10693106"/>
              <a:gd name="connsiteY72-21560" fmla="*/ 1261889 h 5292022"/>
              <a:gd name="connsiteX73-21561" fmla="*/ 10557640 w 10693106"/>
              <a:gd name="connsiteY73-21562" fmla="*/ 1346556 h 5292022"/>
              <a:gd name="connsiteX74-21563" fmla="*/ 10583040 w 10693106"/>
              <a:gd name="connsiteY74-21564" fmla="*/ 1448156 h 5292022"/>
              <a:gd name="connsiteX75-21565" fmla="*/ 10616906 w 10693106"/>
              <a:gd name="connsiteY75-21566" fmla="*/ 1651356 h 5292022"/>
              <a:gd name="connsiteX76-21567" fmla="*/ 10633840 w 10693106"/>
              <a:gd name="connsiteY76-21568" fmla="*/ 1736022 h 5292022"/>
              <a:gd name="connsiteX77-21569" fmla="*/ 10650773 w 10693106"/>
              <a:gd name="connsiteY77-21570" fmla="*/ 1769889 h 5292022"/>
              <a:gd name="connsiteX78-21571" fmla="*/ 10676173 w 10693106"/>
              <a:gd name="connsiteY78-21572" fmla="*/ 1854556 h 5292022"/>
              <a:gd name="connsiteX79-21573" fmla="*/ 10693106 w 10693106"/>
              <a:gd name="connsiteY79-21574" fmla="*/ 2006956 h 5292022"/>
              <a:gd name="connsiteX80-21575" fmla="*/ 10625373 w 10693106"/>
              <a:gd name="connsiteY80-21576" fmla="*/ 2227089 h 5292022"/>
              <a:gd name="connsiteX81-21577" fmla="*/ 10608440 w 10693106"/>
              <a:gd name="connsiteY81-21578" fmla="*/ 2252489 h 5292022"/>
              <a:gd name="connsiteX82-21579" fmla="*/ 10540706 w 10693106"/>
              <a:gd name="connsiteY82-21580" fmla="*/ 2396422 h 5292022"/>
              <a:gd name="connsiteX83-21581" fmla="*/ 10498373 w 10693106"/>
              <a:gd name="connsiteY83-21582" fmla="*/ 2481089 h 5292022"/>
              <a:gd name="connsiteX84-21583" fmla="*/ 10439106 w 10693106"/>
              <a:gd name="connsiteY84-21584" fmla="*/ 2667356 h 5292022"/>
              <a:gd name="connsiteX85-21585" fmla="*/ 10430640 w 10693106"/>
              <a:gd name="connsiteY85-21586" fmla="*/ 2709689 h 5292022"/>
              <a:gd name="connsiteX86-21587" fmla="*/ 10405240 w 10693106"/>
              <a:gd name="connsiteY86-21588" fmla="*/ 2785889 h 5292022"/>
              <a:gd name="connsiteX87-21589" fmla="*/ 10396773 w 10693106"/>
              <a:gd name="connsiteY87-21590" fmla="*/ 2819756 h 5292022"/>
              <a:gd name="connsiteX88-21591" fmla="*/ 10362906 w 10693106"/>
              <a:gd name="connsiteY88-21592" fmla="*/ 2912889 h 5292022"/>
              <a:gd name="connsiteX89-21593" fmla="*/ 10329040 w 10693106"/>
              <a:gd name="connsiteY89-21594" fmla="*/ 2955222 h 5292022"/>
              <a:gd name="connsiteX90-21595" fmla="*/ 10227440 w 10693106"/>
              <a:gd name="connsiteY90-21596" fmla="*/ 3056822 h 5292022"/>
              <a:gd name="connsiteX91-21597" fmla="*/ 10168173 w 10693106"/>
              <a:gd name="connsiteY91-21598" fmla="*/ 3124556 h 5292022"/>
              <a:gd name="connsiteX92-21599" fmla="*/ 10117373 w 10693106"/>
              <a:gd name="connsiteY92-21600" fmla="*/ 3175356 h 5292022"/>
              <a:gd name="connsiteX93-21601" fmla="*/ 10032706 w 10693106"/>
              <a:gd name="connsiteY93-21602" fmla="*/ 3276956 h 5292022"/>
              <a:gd name="connsiteX94-21603" fmla="*/ 9948040 w 10693106"/>
              <a:gd name="connsiteY94-21604" fmla="*/ 3336222 h 5292022"/>
              <a:gd name="connsiteX95-21605" fmla="*/ 9905706 w 10693106"/>
              <a:gd name="connsiteY95-21606" fmla="*/ 3361622 h 5292022"/>
              <a:gd name="connsiteX96-21607" fmla="*/ 9829506 w 10693106"/>
              <a:gd name="connsiteY96-21608" fmla="*/ 3378556 h 5292022"/>
              <a:gd name="connsiteX97-21609" fmla="*/ 9727906 w 10693106"/>
              <a:gd name="connsiteY97-21610" fmla="*/ 3420889 h 5292022"/>
              <a:gd name="connsiteX98-21611" fmla="*/ 9634773 w 10693106"/>
              <a:gd name="connsiteY98-21612" fmla="*/ 3446289 h 5292022"/>
              <a:gd name="connsiteX99-21613" fmla="*/ 9456973 w 10693106"/>
              <a:gd name="connsiteY99-21614" fmla="*/ 3539422 h 5292022"/>
              <a:gd name="connsiteX100-21615" fmla="*/ 9313040 w 10693106"/>
              <a:gd name="connsiteY100-21616" fmla="*/ 3666422 h 5292022"/>
              <a:gd name="connsiteX101-21617" fmla="*/ 9279173 w 10693106"/>
              <a:gd name="connsiteY101-21618" fmla="*/ 3683356 h 5292022"/>
              <a:gd name="connsiteX102-21619" fmla="*/ 9067506 w 10693106"/>
              <a:gd name="connsiteY102-21620" fmla="*/ 3861156 h 5292022"/>
              <a:gd name="connsiteX103-21621" fmla="*/ 8999773 w 10693106"/>
              <a:gd name="connsiteY103-21622" fmla="*/ 3928889 h 5292022"/>
              <a:gd name="connsiteX104-21623" fmla="*/ 8813506 w 10693106"/>
              <a:gd name="connsiteY104-21624" fmla="*/ 4064356 h 5292022"/>
              <a:gd name="connsiteX105-21625" fmla="*/ 8728840 w 10693106"/>
              <a:gd name="connsiteY105-21626" fmla="*/ 4106689 h 5292022"/>
              <a:gd name="connsiteX106-21627" fmla="*/ 8373240 w 10693106"/>
              <a:gd name="connsiteY106-21628" fmla="*/ 4140556 h 5292022"/>
              <a:gd name="connsiteX107-21629" fmla="*/ 7966840 w 10693106"/>
              <a:gd name="connsiteY107-21630" fmla="*/ 4233689 h 5292022"/>
              <a:gd name="connsiteX108-21631" fmla="*/ 7687440 w 10693106"/>
              <a:gd name="connsiteY108-21632" fmla="*/ 4394556 h 5292022"/>
              <a:gd name="connsiteX109-21633" fmla="*/ 7551973 w 10693106"/>
              <a:gd name="connsiteY109-21634" fmla="*/ 4479222 h 5292022"/>
              <a:gd name="connsiteX110-21635" fmla="*/ 7374173 w 10693106"/>
              <a:gd name="connsiteY110-21636" fmla="*/ 4657022 h 5292022"/>
              <a:gd name="connsiteX111-21637" fmla="*/ 7374173 w 10693106"/>
              <a:gd name="connsiteY111-21638" fmla="*/ 4657022 h 5292022"/>
              <a:gd name="connsiteX112-21639" fmla="*/ 7221773 w 10693106"/>
              <a:gd name="connsiteY112-21640" fmla="*/ 4775556 h 5292022"/>
              <a:gd name="connsiteX113-21641" fmla="*/ 7027040 w 10693106"/>
              <a:gd name="connsiteY113-21642" fmla="*/ 4902556 h 5292022"/>
              <a:gd name="connsiteX114-21643" fmla="*/ 6883106 w 10693106"/>
              <a:gd name="connsiteY114-21644" fmla="*/ 4970289 h 5292022"/>
              <a:gd name="connsiteX115-21645" fmla="*/ 6815373 w 10693106"/>
              <a:gd name="connsiteY115-21646" fmla="*/ 5012622 h 5292022"/>
              <a:gd name="connsiteX116-21647" fmla="*/ 6646040 w 10693106"/>
              <a:gd name="connsiteY116-21648" fmla="*/ 5105756 h 5292022"/>
              <a:gd name="connsiteX117-21649" fmla="*/ 6527506 w 10693106"/>
              <a:gd name="connsiteY117-21650" fmla="*/ 5165022 h 5292022"/>
              <a:gd name="connsiteX118-21651" fmla="*/ 6298906 w 10693106"/>
              <a:gd name="connsiteY118-21652" fmla="*/ 5241222 h 5292022"/>
              <a:gd name="connsiteX119-21653" fmla="*/ 6197306 w 10693106"/>
              <a:gd name="connsiteY119-21654" fmla="*/ 5266622 h 5292022"/>
              <a:gd name="connsiteX120-21655" fmla="*/ 6061840 w 10693106"/>
              <a:gd name="connsiteY120-21656" fmla="*/ 5275089 h 5292022"/>
              <a:gd name="connsiteX121-21657" fmla="*/ 5917906 w 10693106"/>
              <a:gd name="connsiteY121-21658" fmla="*/ 5292022 h 5292022"/>
              <a:gd name="connsiteX122-21659" fmla="*/ 5748573 w 10693106"/>
              <a:gd name="connsiteY122-21660" fmla="*/ 5283556 h 5292022"/>
              <a:gd name="connsiteX123-21661" fmla="*/ 5282906 w 10693106"/>
              <a:gd name="connsiteY123-21662" fmla="*/ 5173489 h 5292022"/>
              <a:gd name="connsiteX124-21663" fmla="*/ 5138973 w 10693106"/>
              <a:gd name="connsiteY124-21664" fmla="*/ 5071889 h 5292022"/>
              <a:gd name="connsiteX125-21665" fmla="*/ 4959480 w 10693106"/>
              <a:gd name="connsiteY125-21666" fmla="*/ 4988069 h 5292022"/>
              <a:gd name="connsiteX126-21667" fmla="*/ 4842216 w 10693106"/>
              <a:gd name="connsiteY126-21668" fmla="*/ 4953779 h 5292022"/>
              <a:gd name="connsiteX127-21669" fmla="*/ 4797343 w 10693106"/>
              <a:gd name="connsiteY127-21670" fmla="*/ 4878426 h 5292022"/>
              <a:gd name="connsiteX128-21671" fmla="*/ 4686853 w 10693106"/>
              <a:gd name="connsiteY128-21672" fmla="*/ 4788256 h 5292022"/>
              <a:gd name="connsiteX129-21673" fmla="*/ 4536146 w 10693106"/>
              <a:gd name="connsiteY129-21674" fmla="*/ 4712902 h 5292022"/>
              <a:gd name="connsiteX130-21675" fmla="*/ 4365120 w 10693106"/>
              <a:gd name="connsiteY130-21676" fmla="*/ 4616382 h 5292022"/>
              <a:gd name="connsiteX131-21677" fmla="*/ 4187743 w 10693106"/>
              <a:gd name="connsiteY131-21678" fmla="*/ 4521556 h 5292022"/>
              <a:gd name="connsiteX132-21679" fmla="*/ 4125936 w 10693106"/>
              <a:gd name="connsiteY132-21680" fmla="*/ 4386724 h 5292022"/>
              <a:gd name="connsiteX133-21681" fmla="*/ 3995973 w 10693106"/>
              <a:gd name="connsiteY133-21682" fmla="*/ 4232419 h 5292022"/>
              <a:gd name="connsiteX134-21683" fmla="*/ 3962530 w 10693106"/>
              <a:gd name="connsiteY134-21684" fmla="*/ 4135052 h 5292022"/>
              <a:gd name="connsiteX135-21685" fmla="*/ 3895643 w 10693106"/>
              <a:gd name="connsiteY135-21686" fmla="*/ 4059699 h 5292022"/>
              <a:gd name="connsiteX136-21687" fmla="*/ 3919773 w 10693106"/>
              <a:gd name="connsiteY136-21688" fmla="*/ 3920422 h 5292022"/>
              <a:gd name="connsiteX137-21689" fmla="*/ 3877440 w 10693106"/>
              <a:gd name="connsiteY137-21690" fmla="*/ 3624089 h 5292022"/>
              <a:gd name="connsiteX138-21691" fmla="*/ 3852040 w 10693106"/>
              <a:gd name="connsiteY138-21692" fmla="*/ 3530956 h 5292022"/>
              <a:gd name="connsiteX139-21693" fmla="*/ 3801240 w 10693106"/>
              <a:gd name="connsiteY139-21694" fmla="*/ 3420889 h 5292022"/>
              <a:gd name="connsiteX140-21695" fmla="*/ 3733506 w 10693106"/>
              <a:gd name="connsiteY140-21696" fmla="*/ 3319289 h 5292022"/>
              <a:gd name="connsiteX141-21697" fmla="*/ 3242440 w 10693106"/>
              <a:gd name="connsiteY141-21698" fmla="*/ 3099156 h 5292022"/>
              <a:gd name="connsiteX142-21699" fmla="*/ 3123906 w 10693106"/>
              <a:gd name="connsiteY142-21700" fmla="*/ 2997556 h 5292022"/>
              <a:gd name="connsiteX143-21701" fmla="*/ 2988440 w 10693106"/>
              <a:gd name="connsiteY143-21702" fmla="*/ 2802822 h 5292022"/>
              <a:gd name="connsiteX144-21703" fmla="*/ 2971506 w 10693106"/>
              <a:gd name="connsiteY144-21704" fmla="*/ 2743556 h 5292022"/>
              <a:gd name="connsiteX145-21705" fmla="*/ 2996906 w 10693106"/>
              <a:gd name="connsiteY145-21706" fmla="*/ 2531889 h 5292022"/>
              <a:gd name="connsiteX146-21707" fmla="*/ 3013840 w 10693106"/>
              <a:gd name="connsiteY146-21708" fmla="*/ 2430289 h 5292022"/>
              <a:gd name="connsiteX147-21709" fmla="*/ 3005373 w 10693106"/>
              <a:gd name="connsiteY147-21710" fmla="*/ 2311756 h 5292022"/>
              <a:gd name="connsiteX148-21711" fmla="*/ 2988440 w 10693106"/>
              <a:gd name="connsiteY148-21712" fmla="*/ 2260956 h 5292022"/>
              <a:gd name="connsiteX149-21713" fmla="*/ 2802173 w 10693106"/>
              <a:gd name="connsiteY149-21714" fmla="*/ 2006956 h 5292022"/>
              <a:gd name="connsiteX150-21715" fmla="*/ 2641306 w 10693106"/>
              <a:gd name="connsiteY150-21716" fmla="*/ 1863022 h 5292022"/>
              <a:gd name="connsiteX151-21717" fmla="*/ 2590506 w 10693106"/>
              <a:gd name="connsiteY151-21718" fmla="*/ 1837622 h 5292022"/>
              <a:gd name="connsiteX152-21719" fmla="*/ 2531240 w 10693106"/>
              <a:gd name="connsiteY152-21720" fmla="*/ 1829156 h 5292022"/>
              <a:gd name="connsiteX153-21721" fmla="*/ 2446573 w 10693106"/>
              <a:gd name="connsiteY153-21722" fmla="*/ 1812222 h 5292022"/>
              <a:gd name="connsiteX154-21723" fmla="*/ 2251840 w 10693106"/>
              <a:gd name="connsiteY154-21724" fmla="*/ 1837622 h 5292022"/>
              <a:gd name="connsiteX155-21725" fmla="*/ 2167173 w 10693106"/>
              <a:gd name="connsiteY155-21726" fmla="*/ 1879956 h 5292022"/>
              <a:gd name="connsiteX156-21727" fmla="*/ 1980906 w 10693106"/>
              <a:gd name="connsiteY156-21728" fmla="*/ 1939222 h 5292022"/>
              <a:gd name="connsiteX157-21729" fmla="*/ 1904706 w 10693106"/>
              <a:gd name="connsiteY157-21730" fmla="*/ 1973089 h 5292022"/>
              <a:gd name="connsiteX158-21731" fmla="*/ 1828506 w 10693106"/>
              <a:gd name="connsiteY158-21732" fmla="*/ 1990022 h 5292022"/>
              <a:gd name="connsiteX159-21733" fmla="*/ 1726906 w 10693106"/>
              <a:gd name="connsiteY159-21734" fmla="*/ 2040822 h 5292022"/>
              <a:gd name="connsiteX160-21735" fmla="*/ 1659173 w 10693106"/>
              <a:gd name="connsiteY160-21736" fmla="*/ 2074689 h 5292022"/>
              <a:gd name="connsiteX161-21737" fmla="*/ 1498306 w 10693106"/>
              <a:gd name="connsiteY161-21738" fmla="*/ 2100089 h 5292022"/>
              <a:gd name="connsiteX162-21739" fmla="*/ 914106 w 10693106"/>
              <a:gd name="connsiteY162-21740" fmla="*/ 2032356 h 5292022"/>
              <a:gd name="connsiteX163-21741" fmla="*/ 617773 w 10693106"/>
              <a:gd name="connsiteY163-21742" fmla="*/ 1922289 h 5292022"/>
              <a:gd name="connsiteX164-21743" fmla="*/ 516173 w 10693106"/>
              <a:gd name="connsiteY164-21744" fmla="*/ 1837622 h 5292022"/>
              <a:gd name="connsiteX165-21745" fmla="*/ 355306 w 10693106"/>
              <a:gd name="connsiteY165-21746" fmla="*/ 1625956 h 5292022"/>
              <a:gd name="connsiteX166-21747" fmla="*/ 296040 w 10693106"/>
              <a:gd name="connsiteY166-21748" fmla="*/ 1524356 h 5292022"/>
              <a:gd name="connsiteX167-21749" fmla="*/ 253706 w 10693106"/>
              <a:gd name="connsiteY167-21750" fmla="*/ 1346556 h 5292022"/>
              <a:gd name="connsiteX168-21751" fmla="*/ 245240 w 10693106"/>
              <a:gd name="connsiteY168-21752" fmla="*/ 1219556 h 5292022"/>
              <a:gd name="connsiteX169-21753" fmla="*/ 236773 w 10693106"/>
              <a:gd name="connsiteY169-21754" fmla="*/ 1117956 h 5292022"/>
              <a:gd name="connsiteX170-21755" fmla="*/ 245240 w 10693106"/>
              <a:gd name="connsiteY170-21756" fmla="*/ 847022 h 5292022"/>
              <a:gd name="connsiteX171-21757" fmla="*/ 236773 w 10693106"/>
              <a:gd name="connsiteY171-21758" fmla="*/ 703089 h 5292022"/>
              <a:gd name="connsiteX172-21759" fmla="*/ 109773 w 10693106"/>
              <a:gd name="connsiteY172-21760" fmla="*/ 559156 h 5292022"/>
              <a:gd name="connsiteX173-21761" fmla="*/ 58973 w 10693106"/>
              <a:gd name="connsiteY173-21762" fmla="*/ 482956 h 5292022"/>
              <a:gd name="connsiteX174-21763" fmla="*/ 16640 w 10693106"/>
              <a:gd name="connsiteY174-21764" fmla="*/ 432156 h 5292022"/>
              <a:gd name="connsiteX175-21765" fmla="*/ 8173 w 10693106"/>
              <a:gd name="connsiteY175-21766" fmla="*/ 389822 h 5292022"/>
              <a:gd name="connsiteX176-21767" fmla="*/ 16640 w 10693106"/>
              <a:gd name="connsiteY176-21768" fmla="*/ 339022 h 5292022"/>
              <a:gd name="connsiteX0-21769" fmla="*/ 16640 w 10693106"/>
              <a:gd name="connsiteY0-21770" fmla="*/ 339022 h 5292022"/>
              <a:gd name="connsiteX1-21771" fmla="*/ 58973 w 10693106"/>
              <a:gd name="connsiteY1-21772" fmla="*/ 245889 h 5292022"/>
              <a:gd name="connsiteX2-21773" fmla="*/ 109773 w 10693106"/>
              <a:gd name="connsiteY2-21774" fmla="*/ 178156 h 5292022"/>
              <a:gd name="connsiteX3-21775" fmla="*/ 202906 w 10693106"/>
              <a:gd name="connsiteY3-21776" fmla="*/ 93489 h 5292022"/>
              <a:gd name="connsiteX4-21777" fmla="*/ 236773 w 10693106"/>
              <a:gd name="connsiteY4-21778" fmla="*/ 68089 h 5292022"/>
              <a:gd name="connsiteX5-21779" fmla="*/ 335410 w 10693106"/>
              <a:gd name="connsiteY5-21780" fmla="*/ 58352 h 5292022"/>
              <a:gd name="connsiteX6-21781" fmla="*/ 382400 w 10693106"/>
              <a:gd name="connsiteY6-21782" fmla="*/ 51156 h 5292022"/>
              <a:gd name="connsiteX7-21783" fmla="*/ 434912 w 10693106"/>
              <a:gd name="connsiteY7-21784" fmla="*/ 70071 h 5292022"/>
              <a:gd name="connsiteX8-21785" fmla="*/ 492697 w 10693106"/>
              <a:gd name="connsiteY8-21786" fmla="*/ 74247 h 5292022"/>
              <a:gd name="connsiteX9-21787" fmla="*/ 822897 w 10693106"/>
              <a:gd name="connsiteY9-21788" fmla="*/ 82713 h 5292022"/>
              <a:gd name="connsiteX10-21789" fmla="*/ 1091906 w 10693106"/>
              <a:gd name="connsiteY10-21790" fmla="*/ 356 h 5292022"/>
              <a:gd name="connsiteX11-21791" fmla="*/ 1235840 w 10693106"/>
              <a:gd name="connsiteY11-21792" fmla="*/ 59622 h 5292022"/>
              <a:gd name="connsiteX12-21793" fmla="*/ 1337440 w 10693106"/>
              <a:gd name="connsiteY12-21794" fmla="*/ 135822 h 5292022"/>
              <a:gd name="connsiteX13-21795" fmla="*/ 1422106 w 10693106"/>
              <a:gd name="connsiteY13-21796" fmla="*/ 245889 h 5292022"/>
              <a:gd name="connsiteX14-21797" fmla="*/ 1481373 w 10693106"/>
              <a:gd name="connsiteY14-21798" fmla="*/ 313622 h 5292022"/>
              <a:gd name="connsiteX15-21799" fmla="*/ 1532173 w 10693106"/>
              <a:gd name="connsiteY15-21800" fmla="*/ 347489 h 5292022"/>
              <a:gd name="connsiteX16-21801" fmla="*/ 1684573 w 10693106"/>
              <a:gd name="connsiteY16-21802" fmla="*/ 406756 h 5292022"/>
              <a:gd name="connsiteX17-21803" fmla="*/ 1760773 w 10693106"/>
              <a:gd name="connsiteY17-21804" fmla="*/ 423689 h 5292022"/>
              <a:gd name="connsiteX18-21805" fmla="*/ 1997840 w 10693106"/>
              <a:gd name="connsiteY18-21806" fmla="*/ 415222 h 5292022"/>
              <a:gd name="connsiteX19-21807" fmla="*/ 2116373 w 10693106"/>
              <a:gd name="connsiteY19-21808" fmla="*/ 398289 h 5292022"/>
              <a:gd name="connsiteX20-21809" fmla="*/ 2260306 w 10693106"/>
              <a:gd name="connsiteY20-21810" fmla="*/ 381356 h 5292022"/>
              <a:gd name="connsiteX21-21811" fmla="*/ 2404240 w 10693106"/>
              <a:gd name="connsiteY21-21812" fmla="*/ 355956 h 5292022"/>
              <a:gd name="connsiteX22-21813" fmla="*/ 2455040 w 10693106"/>
              <a:gd name="connsiteY22-21814" fmla="*/ 330556 h 5292022"/>
              <a:gd name="connsiteX23-21815" fmla="*/ 2531240 w 10693106"/>
              <a:gd name="connsiteY23-21816" fmla="*/ 305156 h 5292022"/>
              <a:gd name="connsiteX24-21817" fmla="*/ 2649350 w 10693106"/>
              <a:gd name="connsiteY24-21818" fmla="*/ 225781 h 5292022"/>
              <a:gd name="connsiteX25-21819" fmla="*/ 2742906 w 10693106"/>
              <a:gd name="connsiteY25-21820" fmla="*/ 186622 h 5292022"/>
              <a:gd name="connsiteX26-21821" fmla="*/ 2764920 w 10693106"/>
              <a:gd name="connsiteY26-21822" fmla="*/ 173076 h 5292022"/>
              <a:gd name="connsiteX27-21823" fmla="*/ 2832653 w 10693106"/>
              <a:gd name="connsiteY27-21824" fmla="*/ 167996 h 5292022"/>
              <a:gd name="connsiteX28-21825" fmla="*/ 3002294 w 10693106"/>
              <a:gd name="connsiteY28-21826" fmla="*/ 154680 h 5292022"/>
              <a:gd name="connsiteX29-21827" fmla="*/ 3142763 w 10693106"/>
              <a:gd name="connsiteY29-21828" fmla="*/ 110421 h 5292022"/>
              <a:gd name="connsiteX30-21829" fmla="*/ 3398918 w 10693106"/>
              <a:gd name="connsiteY30-21830" fmla="*/ 72322 h 5292022"/>
              <a:gd name="connsiteX31-21831" fmla="*/ 3606506 w 10693106"/>
              <a:gd name="connsiteY31-21832" fmla="*/ 60393 h 5292022"/>
              <a:gd name="connsiteX32-21833" fmla="*/ 3682706 w 10693106"/>
              <a:gd name="connsiteY32-21834" fmla="*/ 79942 h 5292022"/>
              <a:gd name="connsiteX33-21835" fmla="*/ 3741973 w 10693106"/>
              <a:gd name="connsiteY33-21836" fmla="*/ 86561 h 5292022"/>
              <a:gd name="connsiteX34-21837" fmla="*/ 3794678 w 10693106"/>
              <a:gd name="connsiteY34-21838" fmla="*/ 101321 h 5292022"/>
              <a:gd name="connsiteX35-21839" fmla="*/ 3833625 w 10693106"/>
              <a:gd name="connsiteY35-21840" fmla="*/ 110846 h 5292022"/>
              <a:gd name="connsiteX36-21841" fmla="*/ 3892487 w 10693106"/>
              <a:gd name="connsiteY36-21842" fmla="*/ 116984 h 5292022"/>
              <a:gd name="connsiteX37-21843" fmla="*/ 3933108 w 10693106"/>
              <a:gd name="connsiteY37-21844" fmla="*/ 128837 h 5292022"/>
              <a:gd name="connsiteX38-21845" fmla="*/ 3976923 w 10693106"/>
              <a:gd name="connsiteY38-21846" fmla="*/ 135187 h 5292022"/>
              <a:gd name="connsiteX39-21847" fmla="*/ 4021373 w 10693106"/>
              <a:gd name="connsiteY39-21848" fmla="*/ 144289 h 5292022"/>
              <a:gd name="connsiteX40-21849" fmla="*/ 4055240 w 10693106"/>
              <a:gd name="connsiteY40-21850" fmla="*/ 152756 h 5292022"/>
              <a:gd name="connsiteX41-21851" fmla="*/ 4275373 w 10693106"/>
              <a:gd name="connsiteY41-21852" fmla="*/ 195089 h 5292022"/>
              <a:gd name="connsiteX42-21853" fmla="*/ 4402373 w 10693106"/>
              <a:gd name="connsiteY42-21854" fmla="*/ 228956 h 5292022"/>
              <a:gd name="connsiteX43-21855" fmla="*/ 4529373 w 10693106"/>
              <a:gd name="connsiteY43-21856" fmla="*/ 271289 h 5292022"/>
              <a:gd name="connsiteX44-21857" fmla="*/ 4859573 w 10693106"/>
              <a:gd name="connsiteY44-21858" fmla="*/ 347489 h 5292022"/>
              <a:gd name="connsiteX45-21859" fmla="*/ 5045840 w 10693106"/>
              <a:gd name="connsiteY45-21860" fmla="*/ 423689 h 5292022"/>
              <a:gd name="connsiteX46-21861" fmla="*/ 5325240 w 10693106"/>
              <a:gd name="connsiteY46-21862" fmla="*/ 584556 h 5292022"/>
              <a:gd name="connsiteX47-21863" fmla="*/ 5494573 w 10693106"/>
              <a:gd name="connsiteY47-21864" fmla="*/ 736956 h 5292022"/>
              <a:gd name="connsiteX48-21865" fmla="*/ 5562306 w 10693106"/>
              <a:gd name="connsiteY48-21866" fmla="*/ 813156 h 5292022"/>
              <a:gd name="connsiteX49-21867" fmla="*/ 5621573 w 10693106"/>
              <a:gd name="connsiteY49-21868" fmla="*/ 863956 h 5292022"/>
              <a:gd name="connsiteX50-21869" fmla="*/ 5672373 w 10693106"/>
              <a:gd name="connsiteY50-21870" fmla="*/ 931689 h 5292022"/>
              <a:gd name="connsiteX51-21871" fmla="*/ 5757040 w 10693106"/>
              <a:gd name="connsiteY51-21872" fmla="*/ 1033289 h 5292022"/>
              <a:gd name="connsiteX52-21873" fmla="*/ 5833240 w 10693106"/>
              <a:gd name="connsiteY52-21874" fmla="*/ 1126422 h 5292022"/>
              <a:gd name="connsiteX53-21875" fmla="*/ 6603706 w 10693106"/>
              <a:gd name="connsiteY53-21876" fmla="*/ 1736022 h 5292022"/>
              <a:gd name="connsiteX54-21877" fmla="*/ 7196373 w 10693106"/>
              <a:gd name="connsiteY54-21878" fmla="*/ 1778356 h 5292022"/>
              <a:gd name="connsiteX55-21879" fmla="*/ 7509640 w 10693106"/>
              <a:gd name="connsiteY55-21880" fmla="*/ 1702156 h 5292022"/>
              <a:gd name="connsiteX56-21881" fmla="*/ 7704373 w 10693106"/>
              <a:gd name="connsiteY56-21882" fmla="*/ 1634422 h 5292022"/>
              <a:gd name="connsiteX57-21883" fmla="*/ 8009173 w 10693106"/>
              <a:gd name="connsiteY57-21884" fmla="*/ 1456622 h 5292022"/>
              <a:gd name="connsiteX58-21885" fmla="*/ 8576440 w 10693106"/>
              <a:gd name="connsiteY58-21886" fmla="*/ 957089 h 5292022"/>
              <a:gd name="connsiteX59-21887" fmla="*/ 8652640 w 10693106"/>
              <a:gd name="connsiteY59-21888" fmla="*/ 677689 h 5292022"/>
              <a:gd name="connsiteX60-21889" fmla="*/ 8847373 w 10693106"/>
              <a:gd name="connsiteY60-21890" fmla="*/ 491422 h 5292022"/>
              <a:gd name="connsiteX61-21891" fmla="*/ 8982840 w 10693106"/>
              <a:gd name="connsiteY61-21892" fmla="*/ 398289 h 5292022"/>
              <a:gd name="connsiteX62-21893" fmla="*/ 9084440 w 10693106"/>
              <a:gd name="connsiteY62-21894" fmla="*/ 364422 h 5292022"/>
              <a:gd name="connsiteX63-21895" fmla="*/ 9152173 w 10693106"/>
              <a:gd name="connsiteY63-21896" fmla="*/ 339022 h 5292022"/>
              <a:gd name="connsiteX64-21897" fmla="*/ 9380773 w 10693106"/>
              <a:gd name="connsiteY64-21898" fmla="*/ 355956 h 5292022"/>
              <a:gd name="connsiteX65-21899" fmla="*/ 9744840 w 10693106"/>
              <a:gd name="connsiteY65-21900" fmla="*/ 466022 h 5292022"/>
              <a:gd name="connsiteX66-21901" fmla="*/ 9888773 w 10693106"/>
              <a:gd name="connsiteY66-21902" fmla="*/ 508356 h 5292022"/>
              <a:gd name="connsiteX67-21903" fmla="*/ 9998840 w 10693106"/>
              <a:gd name="connsiteY67-21904" fmla="*/ 559156 h 5292022"/>
              <a:gd name="connsiteX68-21905" fmla="*/ 10083506 w 10693106"/>
              <a:gd name="connsiteY68-21906" fmla="*/ 618422 h 5292022"/>
              <a:gd name="connsiteX69-21907" fmla="*/ 10286706 w 10693106"/>
              <a:gd name="connsiteY69-21908" fmla="*/ 686156 h 5292022"/>
              <a:gd name="connsiteX70-21909" fmla="*/ 10388306 w 10693106"/>
              <a:gd name="connsiteY70-21910" fmla="*/ 889356 h 5292022"/>
              <a:gd name="connsiteX71-21911" fmla="*/ 10540706 w 10693106"/>
              <a:gd name="connsiteY71-21912" fmla="*/ 1261889 h 5292022"/>
              <a:gd name="connsiteX72-21913" fmla="*/ 10557640 w 10693106"/>
              <a:gd name="connsiteY72-21914" fmla="*/ 1346556 h 5292022"/>
              <a:gd name="connsiteX73-21915" fmla="*/ 10583040 w 10693106"/>
              <a:gd name="connsiteY73-21916" fmla="*/ 1448156 h 5292022"/>
              <a:gd name="connsiteX74-21917" fmla="*/ 10616906 w 10693106"/>
              <a:gd name="connsiteY74-21918" fmla="*/ 1651356 h 5292022"/>
              <a:gd name="connsiteX75-21919" fmla="*/ 10633840 w 10693106"/>
              <a:gd name="connsiteY75-21920" fmla="*/ 1736022 h 5292022"/>
              <a:gd name="connsiteX76-21921" fmla="*/ 10650773 w 10693106"/>
              <a:gd name="connsiteY76-21922" fmla="*/ 1769889 h 5292022"/>
              <a:gd name="connsiteX77-21923" fmla="*/ 10676173 w 10693106"/>
              <a:gd name="connsiteY77-21924" fmla="*/ 1854556 h 5292022"/>
              <a:gd name="connsiteX78-21925" fmla="*/ 10693106 w 10693106"/>
              <a:gd name="connsiteY78-21926" fmla="*/ 2006956 h 5292022"/>
              <a:gd name="connsiteX79-21927" fmla="*/ 10625373 w 10693106"/>
              <a:gd name="connsiteY79-21928" fmla="*/ 2227089 h 5292022"/>
              <a:gd name="connsiteX80-21929" fmla="*/ 10608440 w 10693106"/>
              <a:gd name="connsiteY80-21930" fmla="*/ 2252489 h 5292022"/>
              <a:gd name="connsiteX81-21931" fmla="*/ 10540706 w 10693106"/>
              <a:gd name="connsiteY81-21932" fmla="*/ 2396422 h 5292022"/>
              <a:gd name="connsiteX82-21933" fmla="*/ 10498373 w 10693106"/>
              <a:gd name="connsiteY82-21934" fmla="*/ 2481089 h 5292022"/>
              <a:gd name="connsiteX83-21935" fmla="*/ 10439106 w 10693106"/>
              <a:gd name="connsiteY83-21936" fmla="*/ 2667356 h 5292022"/>
              <a:gd name="connsiteX84-21937" fmla="*/ 10430640 w 10693106"/>
              <a:gd name="connsiteY84-21938" fmla="*/ 2709689 h 5292022"/>
              <a:gd name="connsiteX85-21939" fmla="*/ 10405240 w 10693106"/>
              <a:gd name="connsiteY85-21940" fmla="*/ 2785889 h 5292022"/>
              <a:gd name="connsiteX86-21941" fmla="*/ 10396773 w 10693106"/>
              <a:gd name="connsiteY86-21942" fmla="*/ 2819756 h 5292022"/>
              <a:gd name="connsiteX87-21943" fmla="*/ 10362906 w 10693106"/>
              <a:gd name="connsiteY87-21944" fmla="*/ 2912889 h 5292022"/>
              <a:gd name="connsiteX88-21945" fmla="*/ 10329040 w 10693106"/>
              <a:gd name="connsiteY88-21946" fmla="*/ 2955222 h 5292022"/>
              <a:gd name="connsiteX89-21947" fmla="*/ 10227440 w 10693106"/>
              <a:gd name="connsiteY89-21948" fmla="*/ 3056822 h 5292022"/>
              <a:gd name="connsiteX90-21949" fmla="*/ 10168173 w 10693106"/>
              <a:gd name="connsiteY90-21950" fmla="*/ 3124556 h 5292022"/>
              <a:gd name="connsiteX91-21951" fmla="*/ 10117373 w 10693106"/>
              <a:gd name="connsiteY91-21952" fmla="*/ 3175356 h 5292022"/>
              <a:gd name="connsiteX92-21953" fmla="*/ 10032706 w 10693106"/>
              <a:gd name="connsiteY92-21954" fmla="*/ 3276956 h 5292022"/>
              <a:gd name="connsiteX93-21955" fmla="*/ 9948040 w 10693106"/>
              <a:gd name="connsiteY93-21956" fmla="*/ 3336222 h 5292022"/>
              <a:gd name="connsiteX94-21957" fmla="*/ 9905706 w 10693106"/>
              <a:gd name="connsiteY94-21958" fmla="*/ 3361622 h 5292022"/>
              <a:gd name="connsiteX95-21959" fmla="*/ 9829506 w 10693106"/>
              <a:gd name="connsiteY95-21960" fmla="*/ 3378556 h 5292022"/>
              <a:gd name="connsiteX96-21961" fmla="*/ 9727906 w 10693106"/>
              <a:gd name="connsiteY96-21962" fmla="*/ 3420889 h 5292022"/>
              <a:gd name="connsiteX97-21963" fmla="*/ 9634773 w 10693106"/>
              <a:gd name="connsiteY97-21964" fmla="*/ 3446289 h 5292022"/>
              <a:gd name="connsiteX98-21965" fmla="*/ 9456973 w 10693106"/>
              <a:gd name="connsiteY98-21966" fmla="*/ 3539422 h 5292022"/>
              <a:gd name="connsiteX99-21967" fmla="*/ 9313040 w 10693106"/>
              <a:gd name="connsiteY99-21968" fmla="*/ 3666422 h 5292022"/>
              <a:gd name="connsiteX100-21969" fmla="*/ 9279173 w 10693106"/>
              <a:gd name="connsiteY100-21970" fmla="*/ 3683356 h 5292022"/>
              <a:gd name="connsiteX101-21971" fmla="*/ 9067506 w 10693106"/>
              <a:gd name="connsiteY101-21972" fmla="*/ 3861156 h 5292022"/>
              <a:gd name="connsiteX102-21973" fmla="*/ 8999773 w 10693106"/>
              <a:gd name="connsiteY102-21974" fmla="*/ 3928889 h 5292022"/>
              <a:gd name="connsiteX103-21975" fmla="*/ 8813506 w 10693106"/>
              <a:gd name="connsiteY103-21976" fmla="*/ 4064356 h 5292022"/>
              <a:gd name="connsiteX104-21977" fmla="*/ 8728840 w 10693106"/>
              <a:gd name="connsiteY104-21978" fmla="*/ 4106689 h 5292022"/>
              <a:gd name="connsiteX105-21979" fmla="*/ 8373240 w 10693106"/>
              <a:gd name="connsiteY105-21980" fmla="*/ 4140556 h 5292022"/>
              <a:gd name="connsiteX106-21981" fmla="*/ 7966840 w 10693106"/>
              <a:gd name="connsiteY106-21982" fmla="*/ 4233689 h 5292022"/>
              <a:gd name="connsiteX107-21983" fmla="*/ 7687440 w 10693106"/>
              <a:gd name="connsiteY107-21984" fmla="*/ 4394556 h 5292022"/>
              <a:gd name="connsiteX108-21985" fmla="*/ 7551973 w 10693106"/>
              <a:gd name="connsiteY108-21986" fmla="*/ 4479222 h 5292022"/>
              <a:gd name="connsiteX109-21987" fmla="*/ 7374173 w 10693106"/>
              <a:gd name="connsiteY109-21988" fmla="*/ 4657022 h 5292022"/>
              <a:gd name="connsiteX110-21989" fmla="*/ 7374173 w 10693106"/>
              <a:gd name="connsiteY110-21990" fmla="*/ 4657022 h 5292022"/>
              <a:gd name="connsiteX111-21991" fmla="*/ 7221773 w 10693106"/>
              <a:gd name="connsiteY111-21992" fmla="*/ 4775556 h 5292022"/>
              <a:gd name="connsiteX112-21993" fmla="*/ 7027040 w 10693106"/>
              <a:gd name="connsiteY112-21994" fmla="*/ 4902556 h 5292022"/>
              <a:gd name="connsiteX113-21995" fmla="*/ 6883106 w 10693106"/>
              <a:gd name="connsiteY113-21996" fmla="*/ 4970289 h 5292022"/>
              <a:gd name="connsiteX114-21997" fmla="*/ 6815373 w 10693106"/>
              <a:gd name="connsiteY114-21998" fmla="*/ 5012622 h 5292022"/>
              <a:gd name="connsiteX115-21999" fmla="*/ 6646040 w 10693106"/>
              <a:gd name="connsiteY115-22000" fmla="*/ 5105756 h 5292022"/>
              <a:gd name="connsiteX116-22001" fmla="*/ 6527506 w 10693106"/>
              <a:gd name="connsiteY116-22002" fmla="*/ 5165022 h 5292022"/>
              <a:gd name="connsiteX117-22003" fmla="*/ 6298906 w 10693106"/>
              <a:gd name="connsiteY117-22004" fmla="*/ 5241222 h 5292022"/>
              <a:gd name="connsiteX118-22005" fmla="*/ 6197306 w 10693106"/>
              <a:gd name="connsiteY118-22006" fmla="*/ 5266622 h 5292022"/>
              <a:gd name="connsiteX119-22007" fmla="*/ 6061840 w 10693106"/>
              <a:gd name="connsiteY119-22008" fmla="*/ 5275089 h 5292022"/>
              <a:gd name="connsiteX120-22009" fmla="*/ 5917906 w 10693106"/>
              <a:gd name="connsiteY120-22010" fmla="*/ 5292022 h 5292022"/>
              <a:gd name="connsiteX121-22011" fmla="*/ 5748573 w 10693106"/>
              <a:gd name="connsiteY121-22012" fmla="*/ 5283556 h 5292022"/>
              <a:gd name="connsiteX122-22013" fmla="*/ 5282906 w 10693106"/>
              <a:gd name="connsiteY122-22014" fmla="*/ 5173489 h 5292022"/>
              <a:gd name="connsiteX123-22015" fmla="*/ 5138973 w 10693106"/>
              <a:gd name="connsiteY123-22016" fmla="*/ 5071889 h 5292022"/>
              <a:gd name="connsiteX124-22017" fmla="*/ 4959480 w 10693106"/>
              <a:gd name="connsiteY124-22018" fmla="*/ 4988069 h 5292022"/>
              <a:gd name="connsiteX125-22019" fmla="*/ 4842216 w 10693106"/>
              <a:gd name="connsiteY125-22020" fmla="*/ 4953779 h 5292022"/>
              <a:gd name="connsiteX126-22021" fmla="*/ 4797343 w 10693106"/>
              <a:gd name="connsiteY126-22022" fmla="*/ 4878426 h 5292022"/>
              <a:gd name="connsiteX127-22023" fmla="*/ 4686853 w 10693106"/>
              <a:gd name="connsiteY127-22024" fmla="*/ 4788256 h 5292022"/>
              <a:gd name="connsiteX128-22025" fmla="*/ 4536146 w 10693106"/>
              <a:gd name="connsiteY128-22026" fmla="*/ 4712902 h 5292022"/>
              <a:gd name="connsiteX129-22027" fmla="*/ 4365120 w 10693106"/>
              <a:gd name="connsiteY129-22028" fmla="*/ 4616382 h 5292022"/>
              <a:gd name="connsiteX130-22029" fmla="*/ 4187743 w 10693106"/>
              <a:gd name="connsiteY130-22030" fmla="*/ 4521556 h 5292022"/>
              <a:gd name="connsiteX131-22031" fmla="*/ 4125936 w 10693106"/>
              <a:gd name="connsiteY131-22032" fmla="*/ 4386724 h 5292022"/>
              <a:gd name="connsiteX132-22033" fmla="*/ 3995973 w 10693106"/>
              <a:gd name="connsiteY132-22034" fmla="*/ 4232419 h 5292022"/>
              <a:gd name="connsiteX133-22035" fmla="*/ 3962530 w 10693106"/>
              <a:gd name="connsiteY133-22036" fmla="*/ 4135052 h 5292022"/>
              <a:gd name="connsiteX134-22037" fmla="*/ 3895643 w 10693106"/>
              <a:gd name="connsiteY134-22038" fmla="*/ 4059699 h 5292022"/>
              <a:gd name="connsiteX135-22039" fmla="*/ 3919773 w 10693106"/>
              <a:gd name="connsiteY135-22040" fmla="*/ 3920422 h 5292022"/>
              <a:gd name="connsiteX136-22041" fmla="*/ 3877440 w 10693106"/>
              <a:gd name="connsiteY136-22042" fmla="*/ 3624089 h 5292022"/>
              <a:gd name="connsiteX137-22043" fmla="*/ 3852040 w 10693106"/>
              <a:gd name="connsiteY137-22044" fmla="*/ 3530956 h 5292022"/>
              <a:gd name="connsiteX138-22045" fmla="*/ 3801240 w 10693106"/>
              <a:gd name="connsiteY138-22046" fmla="*/ 3420889 h 5292022"/>
              <a:gd name="connsiteX139-22047" fmla="*/ 3733506 w 10693106"/>
              <a:gd name="connsiteY139-22048" fmla="*/ 3319289 h 5292022"/>
              <a:gd name="connsiteX140-22049" fmla="*/ 3242440 w 10693106"/>
              <a:gd name="connsiteY140-22050" fmla="*/ 3099156 h 5292022"/>
              <a:gd name="connsiteX141-22051" fmla="*/ 3123906 w 10693106"/>
              <a:gd name="connsiteY141-22052" fmla="*/ 2997556 h 5292022"/>
              <a:gd name="connsiteX142-22053" fmla="*/ 2988440 w 10693106"/>
              <a:gd name="connsiteY142-22054" fmla="*/ 2802822 h 5292022"/>
              <a:gd name="connsiteX143-22055" fmla="*/ 2971506 w 10693106"/>
              <a:gd name="connsiteY143-22056" fmla="*/ 2743556 h 5292022"/>
              <a:gd name="connsiteX144-22057" fmla="*/ 2996906 w 10693106"/>
              <a:gd name="connsiteY144-22058" fmla="*/ 2531889 h 5292022"/>
              <a:gd name="connsiteX145-22059" fmla="*/ 3013840 w 10693106"/>
              <a:gd name="connsiteY145-22060" fmla="*/ 2430289 h 5292022"/>
              <a:gd name="connsiteX146-22061" fmla="*/ 3005373 w 10693106"/>
              <a:gd name="connsiteY146-22062" fmla="*/ 2311756 h 5292022"/>
              <a:gd name="connsiteX147-22063" fmla="*/ 2988440 w 10693106"/>
              <a:gd name="connsiteY147-22064" fmla="*/ 2260956 h 5292022"/>
              <a:gd name="connsiteX148-22065" fmla="*/ 2802173 w 10693106"/>
              <a:gd name="connsiteY148-22066" fmla="*/ 2006956 h 5292022"/>
              <a:gd name="connsiteX149-22067" fmla="*/ 2641306 w 10693106"/>
              <a:gd name="connsiteY149-22068" fmla="*/ 1863022 h 5292022"/>
              <a:gd name="connsiteX150-22069" fmla="*/ 2590506 w 10693106"/>
              <a:gd name="connsiteY150-22070" fmla="*/ 1837622 h 5292022"/>
              <a:gd name="connsiteX151-22071" fmla="*/ 2531240 w 10693106"/>
              <a:gd name="connsiteY151-22072" fmla="*/ 1829156 h 5292022"/>
              <a:gd name="connsiteX152-22073" fmla="*/ 2446573 w 10693106"/>
              <a:gd name="connsiteY152-22074" fmla="*/ 1812222 h 5292022"/>
              <a:gd name="connsiteX153-22075" fmla="*/ 2251840 w 10693106"/>
              <a:gd name="connsiteY153-22076" fmla="*/ 1837622 h 5292022"/>
              <a:gd name="connsiteX154-22077" fmla="*/ 2167173 w 10693106"/>
              <a:gd name="connsiteY154-22078" fmla="*/ 1879956 h 5292022"/>
              <a:gd name="connsiteX155-22079" fmla="*/ 1980906 w 10693106"/>
              <a:gd name="connsiteY155-22080" fmla="*/ 1939222 h 5292022"/>
              <a:gd name="connsiteX156-22081" fmla="*/ 1904706 w 10693106"/>
              <a:gd name="connsiteY156-22082" fmla="*/ 1973089 h 5292022"/>
              <a:gd name="connsiteX157-22083" fmla="*/ 1828506 w 10693106"/>
              <a:gd name="connsiteY157-22084" fmla="*/ 1990022 h 5292022"/>
              <a:gd name="connsiteX158-22085" fmla="*/ 1726906 w 10693106"/>
              <a:gd name="connsiteY158-22086" fmla="*/ 2040822 h 5292022"/>
              <a:gd name="connsiteX159-22087" fmla="*/ 1659173 w 10693106"/>
              <a:gd name="connsiteY159-22088" fmla="*/ 2074689 h 5292022"/>
              <a:gd name="connsiteX160-22089" fmla="*/ 1498306 w 10693106"/>
              <a:gd name="connsiteY160-22090" fmla="*/ 2100089 h 5292022"/>
              <a:gd name="connsiteX161-22091" fmla="*/ 914106 w 10693106"/>
              <a:gd name="connsiteY161-22092" fmla="*/ 2032356 h 5292022"/>
              <a:gd name="connsiteX162-22093" fmla="*/ 617773 w 10693106"/>
              <a:gd name="connsiteY162-22094" fmla="*/ 1922289 h 5292022"/>
              <a:gd name="connsiteX163-22095" fmla="*/ 516173 w 10693106"/>
              <a:gd name="connsiteY163-22096" fmla="*/ 1837622 h 5292022"/>
              <a:gd name="connsiteX164-22097" fmla="*/ 355306 w 10693106"/>
              <a:gd name="connsiteY164-22098" fmla="*/ 1625956 h 5292022"/>
              <a:gd name="connsiteX165-22099" fmla="*/ 296040 w 10693106"/>
              <a:gd name="connsiteY165-22100" fmla="*/ 1524356 h 5292022"/>
              <a:gd name="connsiteX166-22101" fmla="*/ 253706 w 10693106"/>
              <a:gd name="connsiteY166-22102" fmla="*/ 1346556 h 5292022"/>
              <a:gd name="connsiteX167-22103" fmla="*/ 245240 w 10693106"/>
              <a:gd name="connsiteY167-22104" fmla="*/ 1219556 h 5292022"/>
              <a:gd name="connsiteX168-22105" fmla="*/ 236773 w 10693106"/>
              <a:gd name="connsiteY168-22106" fmla="*/ 1117956 h 5292022"/>
              <a:gd name="connsiteX169-22107" fmla="*/ 245240 w 10693106"/>
              <a:gd name="connsiteY169-22108" fmla="*/ 847022 h 5292022"/>
              <a:gd name="connsiteX170-22109" fmla="*/ 236773 w 10693106"/>
              <a:gd name="connsiteY170-22110" fmla="*/ 703089 h 5292022"/>
              <a:gd name="connsiteX171-22111" fmla="*/ 109773 w 10693106"/>
              <a:gd name="connsiteY171-22112" fmla="*/ 559156 h 5292022"/>
              <a:gd name="connsiteX172-22113" fmla="*/ 58973 w 10693106"/>
              <a:gd name="connsiteY172-22114" fmla="*/ 482956 h 5292022"/>
              <a:gd name="connsiteX173-22115" fmla="*/ 16640 w 10693106"/>
              <a:gd name="connsiteY173-22116" fmla="*/ 432156 h 5292022"/>
              <a:gd name="connsiteX174-22117" fmla="*/ 8173 w 10693106"/>
              <a:gd name="connsiteY174-22118" fmla="*/ 389822 h 5292022"/>
              <a:gd name="connsiteX175-22119" fmla="*/ 16640 w 10693106"/>
              <a:gd name="connsiteY175-22120" fmla="*/ 339022 h 5292022"/>
              <a:gd name="connsiteX0-22121" fmla="*/ 16640 w 10693106"/>
              <a:gd name="connsiteY0-22122" fmla="*/ 339022 h 5292022"/>
              <a:gd name="connsiteX1-22123" fmla="*/ 58973 w 10693106"/>
              <a:gd name="connsiteY1-22124" fmla="*/ 245889 h 5292022"/>
              <a:gd name="connsiteX2-22125" fmla="*/ 109773 w 10693106"/>
              <a:gd name="connsiteY2-22126" fmla="*/ 178156 h 5292022"/>
              <a:gd name="connsiteX3-22127" fmla="*/ 202906 w 10693106"/>
              <a:gd name="connsiteY3-22128" fmla="*/ 93489 h 5292022"/>
              <a:gd name="connsiteX4-22129" fmla="*/ 236773 w 10693106"/>
              <a:gd name="connsiteY4-22130" fmla="*/ 68089 h 5292022"/>
              <a:gd name="connsiteX5-22131" fmla="*/ 335410 w 10693106"/>
              <a:gd name="connsiteY5-22132" fmla="*/ 58352 h 5292022"/>
              <a:gd name="connsiteX6-22133" fmla="*/ 382400 w 10693106"/>
              <a:gd name="connsiteY6-22134" fmla="*/ 51156 h 5292022"/>
              <a:gd name="connsiteX7-22135" fmla="*/ 434912 w 10693106"/>
              <a:gd name="connsiteY7-22136" fmla="*/ 70071 h 5292022"/>
              <a:gd name="connsiteX8-22137" fmla="*/ 492697 w 10693106"/>
              <a:gd name="connsiteY8-22138" fmla="*/ 74247 h 5292022"/>
              <a:gd name="connsiteX9-22139" fmla="*/ 822897 w 10693106"/>
              <a:gd name="connsiteY9-22140" fmla="*/ 82713 h 5292022"/>
              <a:gd name="connsiteX10-22141" fmla="*/ 1091906 w 10693106"/>
              <a:gd name="connsiteY10-22142" fmla="*/ 356 h 5292022"/>
              <a:gd name="connsiteX11-22143" fmla="*/ 1235840 w 10693106"/>
              <a:gd name="connsiteY11-22144" fmla="*/ 59622 h 5292022"/>
              <a:gd name="connsiteX12-22145" fmla="*/ 1337440 w 10693106"/>
              <a:gd name="connsiteY12-22146" fmla="*/ 135822 h 5292022"/>
              <a:gd name="connsiteX13-22147" fmla="*/ 1422106 w 10693106"/>
              <a:gd name="connsiteY13-22148" fmla="*/ 245889 h 5292022"/>
              <a:gd name="connsiteX14-22149" fmla="*/ 1481373 w 10693106"/>
              <a:gd name="connsiteY14-22150" fmla="*/ 313622 h 5292022"/>
              <a:gd name="connsiteX15-22151" fmla="*/ 1532173 w 10693106"/>
              <a:gd name="connsiteY15-22152" fmla="*/ 347489 h 5292022"/>
              <a:gd name="connsiteX16-22153" fmla="*/ 1684573 w 10693106"/>
              <a:gd name="connsiteY16-22154" fmla="*/ 406756 h 5292022"/>
              <a:gd name="connsiteX17-22155" fmla="*/ 1760773 w 10693106"/>
              <a:gd name="connsiteY17-22156" fmla="*/ 423689 h 5292022"/>
              <a:gd name="connsiteX18-22157" fmla="*/ 1997840 w 10693106"/>
              <a:gd name="connsiteY18-22158" fmla="*/ 415222 h 5292022"/>
              <a:gd name="connsiteX19-22159" fmla="*/ 2116373 w 10693106"/>
              <a:gd name="connsiteY19-22160" fmla="*/ 398289 h 5292022"/>
              <a:gd name="connsiteX20-22161" fmla="*/ 2260306 w 10693106"/>
              <a:gd name="connsiteY20-22162" fmla="*/ 381356 h 5292022"/>
              <a:gd name="connsiteX21-22163" fmla="*/ 2404240 w 10693106"/>
              <a:gd name="connsiteY21-22164" fmla="*/ 355956 h 5292022"/>
              <a:gd name="connsiteX22-22165" fmla="*/ 2455040 w 10693106"/>
              <a:gd name="connsiteY22-22166" fmla="*/ 330556 h 5292022"/>
              <a:gd name="connsiteX23-22167" fmla="*/ 2531240 w 10693106"/>
              <a:gd name="connsiteY23-22168" fmla="*/ 305156 h 5292022"/>
              <a:gd name="connsiteX24-22169" fmla="*/ 2649350 w 10693106"/>
              <a:gd name="connsiteY24-22170" fmla="*/ 225781 h 5292022"/>
              <a:gd name="connsiteX25-22171" fmla="*/ 2742906 w 10693106"/>
              <a:gd name="connsiteY25-22172" fmla="*/ 186622 h 5292022"/>
              <a:gd name="connsiteX26-22173" fmla="*/ 2764920 w 10693106"/>
              <a:gd name="connsiteY26-22174" fmla="*/ 173076 h 5292022"/>
              <a:gd name="connsiteX27-22175" fmla="*/ 2832653 w 10693106"/>
              <a:gd name="connsiteY27-22176" fmla="*/ 167996 h 5292022"/>
              <a:gd name="connsiteX28-22177" fmla="*/ 3002294 w 10693106"/>
              <a:gd name="connsiteY28-22178" fmla="*/ 154680 h 5292022"/>
              <a:gd name="connsiteX29-22179" fmla="*/ 3142763 w 10693106"/>
              <a:gd name="connsiteY29-22180" fmla="*/ 110421 h 5292022"/>
              <a:gd name="connsiteX30-22181" fmla="*/ 3398918 w 10693106"/>
              <a:gd name="connsiteY30-22182" fmla="*/ 72322 h 5292022"/>
              <a:gd name="connsiteX31-22183" fmla="*/ 3606506 w 10693106"/>
              <a:gd name="connsiteY31-22184" fmla="*/ 60393 h 5292022"/>
              <a:gd name="connsiteX32-22185" fmla="*/ 3682706 w 10693106"/>
              <a:gd name="connsiteY32-22186" fmla="*/ 79942 h 5292022"/>
              <a:gd name="connsiteX33-22187" fmla="*/ 3741973 w 10693106"/>
              <a:gd name="connsiteY33-22188" fmla="*/ 86561 h 5292022"/>
              <a:gd name="connsiteX34-22189" fmla="*/ 3794678 w 10693106"/>
              <a:gd name="connsiteY34-22190" fmla="*/ 101321 h 5292022"/>
              <a:gd name="connsiteX35-22191" fmla="*/ 3833625 w 10693106"/>
              <a:gd name="connsiteY35-22192" fmla="*/ 110846 h 5292022"/>
              <a:gd name="connsiteX36-22193" fmla="*/ 3892487 w 10693106"/>
              <a:gd name="connsiteY36-22194" fmla="*/ 116984 h 5292022"/>
              <a:gd name="connsiteX37-22195" fmla="*/ 3933108 w 10693106"/>
              <a:gd name="connsiteY37-22196" fmla="*/ 128837 h 5292022"/>
              <a:gd name="connsiteX38-22197" fmla="*/ 3976923 w 10693106"/>
              <a:gd name="connsiteY38-22198" fmla="*/ 135187 h 5292022"/>
              <a:gd name="connsiteX39-22199" fmla="*/ 4021373 w 10693106"/>
              <a:gd name="connsiteY39-22200" fmla="*/ 144289 h 5292022"/>
              <a:gd name="connsiteX40-22201" fmla="*/ 4055240 w 10693106"/>
              <a:gd name="connsiteY40-22202" fmla="*/ 152756 h 5292022"/>
              <a:gd name="connsiteX41-22203" fmla="*/ 4275373 w 10693106"/>
              <a:gd name="connsiteY41-22204" fmla="*/ 195089 h 5292022"/>
              <a:gd name="connsiteX42-22205" fmla="*/ 4402373 w 10693106"/>
              <a:gd name="connsiteY42-22206" fmla="*/ 228956 h 5292022"/>
              <a:gd name="connsiteX43-22207" fmla="*/ 4529373 w 10693106"/>
              <a:gd name="connsiteY43-22208" fmla="*/ 271289 h 5292022"/>
              <a:gd name="connsiteX44-22209" fmla="*/ 4859573 w 10693106"/>
              <a:gd name="connsiteY44-22210" fmla="*/ 347489 h 5292022"/>
              <a:gd name="connsiteX45-22211" fmla="*/ 5045840 w 10693106"/>
              <a:gd name="connsiteY45-22212" fmla="*/ 423689 h 5292022"/>
              <a:gd name="connsiteX46-22213" fmla="*/ 5325240 w 10693106"/>
              <a:gd name="connsiteY46-22214" fmla="*/ 584556 h 5292022"/>
              <a:gd name="connsiteX47-22215" fmla="*/ 5494573 w 10693106"/>
              <a:gd name="connsiteY47-22216" fmla="*/ 736956 h 5292022"/>
              <a:gd name="connsiteX48-22217" fmla="*/ 5562306 w 10693106"/>
              <a:gd name="connsiteY48-22218" fmla="*/ 813156 h 5292022"/>
              <a:gd name="connsiteX49-22219" fmla="*/ 5621573 w 10693106"/>
              <a:gd name="connsiteY49-22220" fmla="*/ 863956 h 5292022"/>
              <a:gd name="connsiteX50-22221" fmla="*/ 5672373 w 10693106"/>
              <a:gd name="connsiteY50-22222" fmla="*/ 931689 h 5292022"/>
              <a:gd name="connsiteX51-22223" fmla="*/ 5757040 w 10693106"/>
              <a:gd name="connsiteY51-22224" fmla="*/ 1033289 h 5292022"/>
              <a:gd name="connsiteX52-22225" fmla="*/ 5833240 w 10693106"/>
              <a:gd name="connsiteY52-22226" fmla="*/ 1126422 h 5292022"/>
              <a:gd name="connsiteX53-22227" fmla="*/ 6603706 w 10693106"/>
              <a:gd name="connsiteY53-22228" fmla="*/ 1736022 h 5292022"/>
              <a:gd name="connsiteX54-22229" fmla="*/ 7196373 w 10693106"/>
              <a:gd name="connsiteY54-22230" fmla="*/ 1778356 h 5292022"/>
              <a:gd name="connsiteX55-22231" fmla="*/ 7509640 w 10693106"/>
              <a:gd name="connsiteY55-22232" fmla="*/ 1702156 h 5292022"/>
              <a:gd name="connsiteX56-22233" fmla="*/ 7704373 w 10693106"/>
              <a:gd name="connsiteY56-22234" fmla="*/ 1634422 h 5292022"/>
              <a:gd name="connsiteX57-22235" fmla="*/ 8009173 w 10693106"/>
              <a:gd name="connsiteY57-22236" fmla="*/ 1456622 h 5292022"/>
              <a:gd name="connsiteX58-22237" fmla="*/ 8652640 w 10693106"/>
              <a:gd name="connsiteY58-22238" fmla="*/ 677689 h 5292022"/>
              <a:gd name="connsiteX59-22239" fmla="*/ 8847373 w 10693106"/>
              <a:gd name="connsiteY59-22240" fmla="*/ 491422 h 5292022"/>
              <a:gd name="connsiteX60-22241" fmla="*/ 8982840 w 10693106"/>
              <a:gd name="connsiteY60-22242" fmla="*/ 398289 h 5292022"/>
              <a:gd name="connsiteX61-22243" fmla="*/ 9084440 w 10693106"/>
              <a:gd name="connsiteY61-22244" fmla="*/ 364422 h 5292022"/>
              <a:gd name="connsiteX62-22245" fmla="*/ 9152173 w 10693106"/>
              <a:gd name="connsiteY62-22246" fmla="*/ 339022 h 5292022"/>
              <a:gd name="connsiteX63-22247" fmla="*/ 9380773 w 10693106"/>
              <a:gd name="connsiteY63-22248" fmla="*/ 355956 h 5292022"/>
              <a:gd name="connsiteX64-22249" fmla="*/ 9744840 w 10693106"/>
              <a:gd name="connsiteY64-22250" fmla="*/ 466022 h 5292022"/>
              <a:gd name="connsiteX65-22251" fmla="*/ 9888773 w 10693106"/>
              <a:gd name="connsiteY65-22252" fmla="*/ 508356 h 5292022"/>
              <a:gd name="connsiteX66-22253" fmla="*/ 9998840 w 10693106"/>
              <a:gd name="connsiteY66-22254" fmla="*/ 559156 h 5292022"/>
              <a:gd name="connsiteX67-22255" fmla="*/ 10083506 w 10693106"/>
              <a:gd name="connsiteY67-22256" fmla="*/ 618422 h 5292022"/>
              <a:gd name="connsiteX68-22257" fmla="*/ 10286706 w 10693106"/>
              <a:gd name="connsiteY68-22258" fmla="*/ 686156 h 5292022"/>
              <a:gd name="connsiteX69-22259" fmla="*/ 10388306 w 10693106"/>
              <a:gd name="connsiteY69-22260" fmla="*/ 889356 h 5292022"/>
              <a:gd name="connsiteX70-22261" fmla="*/ 10540706 w 10693106"/>
              <a:gd name="connsiteY70-22262" fmla="*/ 1261889 h 5292022"/>
              <a:gd name="connsiteX71-22263" fmla="*/ 10557640 w 10693106"/>
              <a:gd name="connsiteY71-22264" fmla="*/ 1346556 h 5292022"/>
              <a:gd name="connsiteX72-22265" fmla="*/ 10583040 w 10693106"/>
              <a:gd name="connsiteY72-22266" fmla="*/ 1448156 h 5292022"/>
              <a:gd name="connsiteX73-22267" fmla="*/ 10616906 w 10693106"/>
              <a:gd name="connsiteY73-22268" fmla="*/ 1651356 h 5292022"/>
              <a:gd name="connsiteX74-22269" fmla="*/ 10633840 w 10693106"/>
              <a:gd name="connsiteY74-22270" fmla="*/ 1736022 h 5292022"/>
              <a:gd name="connsiteX75-22271" fmla="*/ 10650773 w 10693106"/>
              <a:gd name="connsiteY75-22272" fmla="*/ 1769889 h 5292022"/>
              <a:gd name="connsiteX76-22273" fmla="*/ 10676173 w 10693106"/>
              <a:gd name="connsiteY76-22274" fmla="*/ 1854556 h 5292022"/>
              <a:gd name="connsiteX77-22275" fmla="*/ 10693106 w 10693106"/>
              <a:gd name="connsiteY77-22276" fmla="*/ 2006956 h 5292022"/>
              <a:gd name="connsiteX78-22277" fmla="*/ 10625373 w 10693106"/>
              <a:gd name="connsiteY78-22278" fmla="*/ 2227089 h 5292022"/>
              <a:gd name="connsiteX79-22279" fmla="*/ 10608440 w 10693106"/>
              <a:gd name="connsiteY79-22280" fmla="*/ 2252489 h 5292022"/>
              <a:gd name="connsiteX80-22281" fmla="*/ 10540706 w 10693106"/>
              <a:gd name="connsiteY80-22282" fmla="*/ 2396422 h 5292022"/>
              <a:gd name="connsiteX81-22283" fmla="*/ 10498373 w 10693106"/>
              <a:gd name="connsiteY81-22284" fmla="*/ 2481089 h 5292022"/>
              <a:gd name="connsiteX82-22285" fmla="*/ 10439106 w 10693106"/>
              <a:gd name="connsiteY82-22286" fmla="*/ 2667356 h 5292022"/>
              <a:gd name="connsiteX83-22287" fmla="*/ 10430640 w 10693106"/>
              <a:gd name="connsiteY83-22288" fmla="*/ 2709689 h 5292022"/>
              <a:gd name="connsiteX84-22289" fmla="*/ 10405240 w 10693106"/>
              <a:gd name="connsiteY84-22290" fmla="*/ 2785889 h 5292022"/>
              <a:gd name="connsiteX85-22291" fmla="*/ 10396773 w 10693106"/>
              <a:gd name="connsiteY85-22292" fmla="*/ 2819756 h 5292022"/>
              <a:gd name="connsiteX86-22293" fmla="*/ 10362906 w 10693106"/>
              <a:gd name="connsiteY86-22294" fmla="*/ 2912889 h 5292022"/>
              <a:gd name="connsiteX87-22295" fmla="*/ 10329040 w 10693106"/>
              <a:gd name="connsiteY87-22296" fmla="*/ 2955222 h 5292022"/>
              <a:gd name="connsiteX88-22297" fmla="*/ 10227440 w 10693106"/>
              <a:gd name="connsiteY88-22298" fmla="*/ 3056822 h 5292022"/>
              <a:gd name="connsiteX89-22299" fmla="*/ 10168173 w 10693106"/>
              <a:gd name="connsiteY89-22300" fmla="*/ 3124556 h 5292022"/>
              <a:gd name="connsiteX90-22301" fmla="*/ 10117373 w 10693106"/>
              <a:gd name="connsiteY90-22302" fmla="*/ 3175356 h 5292022"/>
              <a:gd name="connsiteX91-22303" fmla="*/ 10032706 w 10693106"/>
              <a:gd name="connsiteY91-22304" fmla="*/ 3276956 h 5292022"/>
              <a:gd name="connsiteX92-22305" fmla="*/ 9948040 w 10693106"/>
              <a:gd name="connsiteY92-22306" fmla="*/ 3336222 h 5292022"/>
              <a:gd name="connsiteX93-22307" fmla="*/ 9905706 w 10693106"/>
              <a:gd name="connsiteY93-22308" fmla="*/ 3361622 h 5292022"/>
              <a:gd name="connsiteX94-22309" fmla="*/ 9829506 w 10693106"/>
              <a:gd name="connsiteY94-22310" fmla="*/ 3378556 h 5292022"/>
              <a:gd name="connsiteX95-22311" fmla="*/ 9727906 w 10693106"/>
              <a:gd name="connsiteY95-22312" fmla="*/ 3420889 h 5292022"/>
              <a:gd name="connsiteX96-22313" fmla="*/ 9634773 w 10693106"/>
              <a:gd name="connsiteY96-22314" fmla="*/ 3446289 h 5292022"/>
              <a:gd name="connsiteX97-22315" fmla="*/ 9456973 w 10693106"/>
              <a:gd name="connsiteY97-22316" fmla="*/ 3539422 h 5292022"/>
              <a:gd name="connsiteX98-22317" fmla="*/ 9313040 w 10693106"/>
              <a:gd name="connsiteY98-22318" fmla="*/ 3666422 h 5292022"/>
              <a:gd name="connsiteX99-22319" fmla="*/ 9279173 w 10693106"/>
              <a:gd name="connsiteY99-22320" fmla="*/ 3683356 h 5292022"/>
              <a:gd name="connsiteX100-22321" fmla="*/ 9067506 w 10693106"/>
              <a:gd name="connsiteY100-22322" fmla="*/ 3861156 h 5292022"/>
              <a:gd name="connsiteX101-22323" fmla="*/ 8999773 w 10693106"/>
              <a:gd name="connsiteY101-22324" fmla="*/ 3928889 h 5292022"/>
              <a:gd name="connsiteX102-22325" fmla="*/ 8813506 w 10693106"/>
              <a:gd name="connsiteY102-22326" fmla="*/ 4064356 h 5292022"/>
              <a:gd name="connsiteX103-22327" fmla="*/ 8728840 w 10693106"/>
              <a:gd name="connsiteY103-22328" fmla="*/ 4106689 h 5292022"/>
              <a:gd name="connsiteX104-22329" fmla="*/ 8373240 w 10693106"/>
              <a:gd name="connsiteY104-22330" fmla="*/ 4140556 h 5292022"/>
              <a:gd name="connsiteX105-22331" fmla="*/ 7966840 w 10693106"/>
              <a:gd name="connsiteY105-22332" fmla="*/ 4233689 h 5292022"/>
              <a:gd name="connsiteX106-22333" fmla="*/ 7687440 w 10693106"/>
              <a:gd name="connsiteY106-22334" fmla="*/ 4394556 h 5292022"/>
              <a:gd name="connsiteX107-22335" fmla="*/ 7551973 w 10693106"/>
              <a:gd name="connsiteY107-22336" fmla="*/ 4479222 h 5292022"/>
              <a:gd name="connsiteX108-22337" fmla="*/ 7374173 w 10693106"/>
              <a:gd name="connsiteY108-22338" fmla="*/ 4657022 h 5292022"/>
              <a:gd name="connsiteX109-22339" fmla="*/ 7374173 w 10693106"/>
              <a:gd name="connsiteY109-22340" fmla="*/ 4657022 h 5292022"/>
              <a:gd name="connsiteX110-22341" fmla="*/ 7221773 w 10693106"/>
              <a:gd name="connsiteY110-22342" fmla="*/ 4775556 h 5292022"/>
              <a:gd name="connsiteX111-22343" fmla="*/ 7027040 w 10693106"/>
              <a:gd name="connsiteY111-22344" fmla="*/ 4902556 h 5292022"/>
              <a:gd name="connsiteX112-22345" fmla="*/ 6883106 w 10693106"/>
              <a:gd name="connsiteY112-22346" fmla="*/ 4970289 h 5292022"/>
              <a:gd name="connsiteX113-22347" fmla="*/ 6815373 w 10693106"/>
              <a:gd name="connsiteY113-22348" fmla="*/ 5012622 h 5292022"/>
              <a:gd name="connsiteX114-22349" fmla="*/ 6646040 w 10693106"/>
              <a:gd name="connsiteY114-22350" fmla="*/ 5105756 h 5292022"/>
              <a:gd name="connsiteX115-22351" fmla="*/ 6527506 w 10693106"/>
              <a:gd name="connsiteY115-22352" fmla="*/ 5165022 h 5292022"/>
              <a:gd name="connsiteX116-22353" fmla="*/ 6298906 w 10693106"/>
              <a:gd name="connsiteY116-22354" fmla="*/ 5241222 h 5292022"/>
              <a:gd name="connsiteX117-22355" fmla="*/ 6197306 w 10693106"/>
              <a:gd name="connsiteY117-22356" fmla="*/ 5266622 h 5292022"/>
              <a:gd name="connsiteX118-22357" fmla="*/ 6061840 w 10693106"/>
              <a:gd name="connsiteY118-22358" fmla="*/ 5275089 h 5292022"/>
              <a:gd name="connsiteX119-22359" fmla="*/ 5917906 w 10693106"/>
              <a:gd name="connsiteY119-22360" fmla="*/ 5292022 h 5292022"/>
              <a:gd name="connsiteX120-22361" fmla="*/ 5748573 w 10693106"/>
              <a:gd name="connsiteY120-22362" fmla="*/ 5283556 h 5292022"/>
              <a:gd name="connsiteX121-22363" fmla="*/ 5282906 w 10693106"/>
              <a:gd name="connsiteY121-22364" fmla="*/ 5173489 h 5292022"/>
              <a:gd name="connsiteX122-22365" fmla="*/ 5138973 w 10693106"/>
              <a:gd name="connsiteY122-22366" fmla="*/ 5071889 h 5292022"/>
              <a:gd name="connsiteX123-22367" fmla="*/ 4959480 w 10693106"/>
              <a:gd name="connsiteY123-22368" fmla="*/ 4988069 h 5292022"/>
              <a:gd name="connsiteX124-22369" fmla="*/ 4842216 w 10693106"/>
              <a:gd name="connsiteY124-22370" fmla="*/ 4953779 h 5292022"/>
              <a:gd name="connsiteX125-22371" fmla="*/ 4797343 w 10693106"/>
              <a:gd name="connsiteY125-22372" fmla="*/ 4878426 h 5292022"/>
              <a:gd name="connsiteX126-22373" fmla="*/ 4686853 w 10693106"/>
              <a:gd name="connsiteY126-22374" fmla="*/ 4788256 h 5292022"/>
              <a:gd name="connsiteX127-22375" fmla="*/ 4536146 w 10693106"/>
              <a:gd name="connsiteY127-22376" fmla="*/ 4712902 h 5292022"/>
              <a:gd name="connsiteX128-22377" fmla="*/ 4365120 w 10693106"/>
              <a:gd name="connsiteY128-22378" fmla="*/ 4616382 h 5292022"/>
              <a:gd name="connsiteX129-22379" fmla="*/ 4187743 w 10693106"/>
              <a:gd name="connsiteY129-22380" fmla="*/ 4521556 h 5292022"/>
              <a:gd name="connsiteX130-22381" fmla="*/ 4125936 w 10693106"/>
              <a:gd name="connsiteY130-22382" fmla="*/ 4386724 h 5292022"/>
              <a:gd name="connsiteX131-22383" fmla="*/ 3995973 w 10693106"/>
              <a:gd name="connsiteY131-22384" fmla="*/ 4232419 h 5292022"/>
              <a:gd name="connsiteX132-22385" fmla="*/ 3962530 w 10693106"/>
              <a:gd name="connsiteY132-22386" fmla="*/ 4135052 h 5292022"/>
              <a:gd name="connsiteX133-22387" fmla="*/ 3895643 w 10693106"/>
              <a:gd name="connsiteY133-22388" fmla="*/ 4059699 h 5292022"/>
              <a:gd name="connsiteX134-22389" fmla="*/ 3919773 w 10693106"/>
              <a:gd name="connsiteY134-22390" fmla="*/ 3920422 h 5292022"/>
              <a:gd name="connsiteX135-22391" fmla="*/ 3877440 w 10693106"/>
              <a:gd name="connsiteY135-22392" fmla="*/ 3624089 h 5292022"/>
              <a:gd name="connsiteX136-22393" fmla="*/ 3852040 w 10693106"/>
              <a:gd name="connsiteY136-22394" fmla="*/ 3530956 h 5292022"/>
              <a:gd name="connsiteX137-22395" fmla="*/ 3801240 w 10693106"/>
              <a:gd name="connsiteY137-22396" fmla="*/ 3420889 h 5292022"/>
              <a:gd name="connsiteX138-22397" fmla="*/ 3733506 w 10693106"/>
              <a:gd name="connsiteY138-22398" fmla="*/ 3319289 h 5292022"/>
              <a:gd name="connsiteX139-22399" fmla="*/ 3242440 w 10693106"/>
              <a:gd name="connsiteY139-22400" fmla="*/ 3099156 h 5292022"/>
              <a:gd name="connsiteX140-22401" fmla="*/ 3123906 w 10693106"/>
              <a:gd name="connsiteY140-22402" fmla="*/ 2997556 h 5292022"/>
              <a:gd name="connsiteX141-22403" fmla="*/ 2988440 w 10693106"/>
              <a:gd name="connsiteY141-22404" fmla="*/ 2802822 h 5292022"/>
              <a:gd name="connsiteX142-22405" fmla="*/ 2971506 w 10693106"/>
              <a:gd name="connsiteY142-22406" fmla="*/ 2743556 h 5292022"/>
              <a:gd name="connsiteX143-22407" fmla="*/ 2996906 w 10693106"/>
              <a:gd name="connsiteY143-22408" fmla="*/ 2531889 h 5292022"/>
              <a:gd name="connsiteX144-22409" fmla="*/ 3013840 w 10693106"/>
              <a:gd name="connsiteY144-22410" fmla="*/ 2430289 h 5292022"/>
              <a:gd name="connsiteX145-22411" fmla="*/ 3005373 w 10693106"/>
              <a:gd name="connsiteY145-22412" fmla="*/ 2311756 h 5292022"/>
              <a:gd name="connsiteX146-22413" fmla="*/ 2988440 w 10693106"/>
              <a:gd name="connsiteY146-22414" fmla="*/ 2260956 h 5292022"/>
              <a:gd name="connsiteX147-22415" fmla="*/ 2802173 w 10693106"/>
              <a:gd name="connsiteY147-22416" fmla="*/ 2006956 h 5292022"/>
              <a:gd name="connsiteX148-22417" fmla="*/ 2641306 w 10693106"/>
              <a:gd name="connsiteY148-22418" fmla="*/ 1863022 h 5292022"/>
              <a:gd name="connsiteX149-22419" fmla="*/ 2590506 w 10693106"/>
              <a:gd name="connsiteY149-22420" fmla="*/ 1837622 h 5292022"/>
              <a:gd name="connsiteX150-22421" fmla="*/ 2531240 w 10693106"/>
              <a:gd name="connsiteY150-22422" fmla="*/ 1829156 h 5292022"/>
              <a:gd name="connsiteX151-22423" fmla="*/ 2446573 w 10693106"/>
              <a:gd name="connsiteY151-22424" fmla="*/ 1812222 h 5292022"/>
              <a:gd name="connsiteX152-22425" fmla="*/ 2251840 w 10693106"/>
              <a:gd name="connsiteY152-22426" fmla="*/ 1837622 h 5292022"/>
              <a:gd name="connsiteX153-22427" fmla="*/ 2167173 w 10693106"/>
              <a:gd name="connsiteY153-22428" fmla="*/ 1879956 h 5292022"/>
              <a:gd name="connsiteX154-22429" fmla="*/ 1980906 w 10693106"/>
              <a:gd name="connsiteY154-22430" fmla="*/ 1939222 h 5292022"/>
              <a:gd name="connsiteX155-22431" fmla="*/ 1904706 w 10693106"/>
              <a:gd name="connsiteY155-22432" fmla="*/ 1973089 h 5292022"/>
              <a:gd name="connsiteX156-22433" fmla="*/ 1828506 w 10693106"/>
              <a:gd name="connsiteY156-22434" fmla="*/ 1990022 h 5292022"/>
              <a:gd name="connsiteX157-22435" fmla="*/ 1726906 w 10693106"/>
              <a:gd name="connsiteY157-22436" fmla="*/ 2040822 h 5292022"/>
              <a:gd name="connsiteX158-22437" fmla="*/ 1659173 w 10693106"/>
              <a:gd name="connsiteY158-22438" fmla="*/ 2074689 h 5292022"/>
              <a:gd name="connsiteX159-22439" fmla="*/ 1498306 w 10693106"/>
              <a:gd name="connsiteY159-22440" fmla="*/ 2100089 h 5292022"/>
              <a:gd name="connsiteX160-22441" fmla="*/ 914106 w 10693106"/>
              <a:gd name="connsiteY160-22442" fmla="*/ 2032356 h 5292022"/>
              <a:gd name="connsiteX161-22443" fmla="*/ 617773 w 10693106"/>
              <a:gd name="connsiteY161-22444" fmla="*/ 1922289 h 5292022"/>
              <a:gd name="connsiteX162-22445" fmla="*/ 516173 w 10693106"/>
              <a:gd name="connsiteY162-22446" fmla="*/ 1837622 h 5292022"/>
              <a:gd name="connsiteX163-22447" fmla="*/ 355306 w 10693106"/>
              <a:gd name="connsiteY163-22448" fmla="*/ 1625956 h 5292022"/>
              <a:gd name="connsiteX164-22449" fmla="*/ 296040 w 10693106"/>
              <a:gd name="connsiteY164-22450" fmla="*/ 1524356 h 5292022"/>
              <a:gd name="connsiteX165-22451" fmla="*/ 253706 w 10693106"/>
              <a:gd name="connsiteY165-22452" fmla="*/ 1346556 h 5292022"/>
              <a:gd name="connsiteX166-22453" fmla="*/ 245240 w 10693106"/>
              <a:gd name="connsiteY166-22454" fmla="*/ 1219556 h 5292022"/>
              <a:gd name="connsiteX167-22455" fmla="*/ 236773 w 10693106"/>
              <a:gd name="connsiteY167-22456" fmla="*/ 1117956 h 5292022"/>
              <a:gd name="connsiteX168-22457" fmla="*/ 245240 w 10693106"/>
              <a:gd name="connsiteY168-22458" fmla="*/ 847022 h 5292022"/>
              <a:gd name="connsiteX169-22459" fmla="*/ 236773 w 10693106"/>
              <a:gd name="connsiteY169-22460" fmla="*/ 703089 h 5292022"/>
              <a:gd name="connsiteX170-22461" fmla="*/ 109773 w 10693106"/>
              <a:gd name="connsiteY170-22462" fmla="*/ 559156 h 5292022"/>
              <a:gd name="connsiteX171-22463" fmla="*/ 58973 w 10693106"/>
              <a:gd name="connsiteY171-22464" fmla="*/ 482956 h 5292022"/>
              <a:gd name="connsiteX172-22465" fmla="*/ 16640 w 10693106"/>
              <a:gd name="connsiteY172-22466" fmla="*/ 432156 h 5292022"/>
              <a:gd name="connsiteX173-22467" fmla="*/ 8173 w 10693106"/>
              <a:gd name="connsiteY173-22468" fmla="*/ 389822 h 5292022"/>
              <a:gd name="connsiteX174-22469" fmla="*/ 16640 w 10693106"/>
              <a:gd name="connsiteY174-22470" fmla="*/ 339022 h 5292022"/>
              <a:gd name="connsiteX0-22471" fmla="*/ 16640 w 10693106"/>
              <a:gd name="connsiteY0-22472" fmla="*/ 339022 h 5292022"/>
              <a:gd name="connsiteX1-22473" fmla="*/ 58973 w 10693106"/>
              <a:gd name="connsiteY1-22474" fmla="*/ 245889 h 5292022"/>
              <a:gd name="connsiteX2-22475" fmla="*/ 109773 w 10693106"/>
              <a:gd name="connsiteY2-22476" fmla="*/ 178156 h 5292022"/>
              <a:gd name="connsiteX3-22477" fmla="*/ 202906 w 10693106"/>
              <a:gd name="connsiteY3-22478" fmla="*/ 93489 h 5292022"/>
              <a:gd name="connsiteX4-22479" fmla="*/ 236773 w 10693106"/>
              <a:gd name="connsiteY4-22480" fmla="*/ 68089 h 5292022"/>
              <a:gd name="connsiteX5-22481" fmla="*/ 335410 w 10693106"/>
              <a:gd name="connsiteY5-22482" fmla="*/ 58352 h 5292022"/>
              <a:gd name="connsiteX6-22483" fmla="*/ 382400 w 10693106"/>
              <a:gd name="connsiteY6-22484" fmla="*/ 51156 h 5292022"/>
              <a:gd name="connsiteX7-22485" fmla="*/ 434912 w 10693106"/>
              <a:gd name="connsiteY7-22486" fmla="*/ 70071 h 5292022"/>
              <a:gd name="connsiteX8-22487" fmla="*/ 492697 w 10693106"/>
              <a:gd name="connsiteY8-22488" fmla="*/ 74247 h 5292022"/>
              <a:gd name="connsiteX9-22489" fmla="*/ 822897 w 10693106"/>
              <a:gd name="connsiteY9-22490" fmla="*/ 82713 h 5292022"/>
              <a:gd name="connsiteX10-22491" fmla="*/ 1091906 w 10693106"/>
              <a:gd name="connsiteY10-22492" fmla="*/ 356 h 5292022"/>
              <a:gd name="connsiteX11-22493" fmla="*/ 1235840 w 10693106"/>
              <a:gd name="connsiteY11-22494" fmla="*/ 59622 h 5292022"/>
              <a:gd name="connsiteX12-22495" fmla="*/ 1337440 w 10693106"/>
              <a:gd name="connsiteY12-22496" fmla="*/ 135822 h 5292022"/>
              <a:gd name="connsiteX13-22497" fmla="*/ 1422106 w 10693106"/>
              <a:gd name="connsiteY13-22498" fmla="*/ 245889 h 5292022"/>
              <a:gd name="connsiteX14-22499" fmla="*/ 1481373 w 10693106"/>
              <a:gd name="connsiteY14-22500" fmla="*/ 313622 h 5292022"/>
              <a:gd name="connsiteX15-22501" fmla="*/ 1532173 w 10693106"/>
              <a:gd name="connsiteY15-22502" fmla="*/ 347489 h 5292022"/>
              <a:gd name="connsiteX16-22503" fmla="*/ 1684573 w 10693106"/>
              <a:gd name="connsiteY16-22504" fmla="*/ 406756 h 5292022"/>
              <a:gd name="connsiteX17-22505" fmla="*/ 1760773 w 10693106"/>
              <a:gd name="connsiteY17-22506" fmla="*/ 423689 h 5292022"/>
              <a:gd name="connsiteX18-22507" fmla="*/ 1997840 w 10693106"/>
              <a:gd name="connsiteY18-22508" fmla="*/ 415222 h 5292022"/>
              <a:gd name="connsiteX19-22509" fmla="*/ 2116373 w 10693106"/>
              <a:gd name="connsiteY19-22510" fmla="*/ 398289 h 5292022"/>
              <a:gd name="connsiteX20-22511" fmla="*/ 2260306 w 10693106"/>
              <a:gd name="connsiteY20-22512" fmla="*/ 381356 h 5292022"/>
              <a:gd name="connsiteX21-22513" fmla="*/ 2404240 w 10693106"/>
              <a:gd name="connsiteY21-22514" fmla="*/ 355956 h 5292022"/>
              <a:gd name="connsiteX22-22515" fmla="*/ 2455040 w 10693106"/>
              <a:gd name="connsiteY22-22516" fmla="*/ 330556 h 5292022"/>
              <a:gd name="connsiteX23-22517" fmla="*/ 2531240 w 10693106"/>
              <a:gd name="connsiteY23-22518" fmla="*/ 305156 h 5292022"/>
              <a:gd name="connsiteX24-22519" fmla="*/ 2649350 w 10693106"/>
              <a:gd name="connsiteY24-22520" fmla="*/ 225781 h 5292022"/>
              <a:gd name="connsiteX25-22521" fmla="*/ 2742906 w 10693106"/>
              <a:gd name="connsiteY25-22522" fmla="*/ 186622 h 5292022"/>
              <a:gd name="connsiteX26-22523" fmla="*/ 2764920 w 10693106"/>
              <a:gd name="connsiteY26-22524" fmla="*/ 173076 h 5292022"/>
              <a:gd name="connsiteX27-22525" fmla="*/ 2832653 w 10693106"/>
              <a:gd name="connsiteY27-22526" fmla="*/ 167996 h 5292022"/>
              <a:gd name="connsiteX28-22527" fmla="*/ 3002294 w 10693106"/>
              <a:gd name="connsiteY28-22528" fmla="*/ 154680 h 5292022"/>
              <a:gd name="connsiteX29-22529" fmla="*/ 3142763 w 10693106"/>
              <a:gd name="connsiteY29-22530" fmla="*/ 110421 h 5292022"/>
              <a:gd name="connsiteX30-22531" fmla="*/ 3398918 w 10693106"/>
              <a:gd name="connsiteY30-22532" fmla="*/ 72322 h 5292022"/>
              <a:gd name="connsiteX31-22533" fmla="*/ 3606506 w 10693106"/>
              <a:gd name="connsiteY31-22534" fmla="*/ 60393 h 5292022"/>
              <a:gd name="connsiteX32-22535" fmla="*/ 3682706 w 10693106"/>
              <a:gd name="connsiteY32-22536" fmla="*/ 79942 h 5292022"/>
              <a:gd name="connsiteX33-22537" fmla="*/ 3741973 w 10693106"/>
              <a:gd name="connsiteY33-22538" fmla="*/ 86561 h 5292022"/>
              <a:gd name="connsiteX34-22539" fmla="*/ 3794678 w 10693106"/>
              <a:gd name="connsiteY34-22540" fmla="*/ 101321 h 5292022"/>
              <a:gd name="connsiteX35-22541" fmla="*/ 3833625 w 10693106"/>
              <a:gd name="connsiteY35-22542" fmla="*/ 110846 h 5292022"/>
              <a:gd name="connsiteX36-22543" fmla="*/ 3892487 w 10693106"/>
              <a:gd name="connsiteY36-22544" fmla="*/ 116984 h 5292022"/>
              <a:gd name="connsiteX37-22545" fmla="*/ 3933108 w 10693106"/>
              <a:gd name="connsiteY37-22546" fmla="*/ 128837 h 5292022"/>
              <a:gd name="connsiteX38-22547" fmla="*/ 3976923 w 10693106"/>
              <a:gd name="connsiteY38-22548" fmla="*/ 135187 h 5292022"/>
              <a:gd name="connsiteX39-22549" fmla="*/ 4021373 w 10693106"/>
              <a:gd name="connsiteY39-22550" fmla="*/ 144289 h 5292022"/>
              <a:gd name="connsiteX40-22551" fmla="*/ 4055240 w 10693106"/>
              <a:gd name="connsiteY40-22552" fmla="*/ 152756 h 5292022"/>
              <a:gd name="connsiteX41-22553" fmla="*/ 4275373 w 10693106"/>
              <a:gd name="connsiteY41-22554" fmla="*/ 195089 h 5292022"/>
              <a:gd name="connsiteX42-22555" fmla="*/ 4402373 w 10693106"/>
              <a:gd name="connsiteY42-22556" fmla="*/ 228956 h 5292022"/>
              <a:gd name="connsiteX43-22557" fmla="*/ 4529373 w 10693106"/>
              <a:gd name="connsiteY43-22558" fmla="*/ 271289 h 5292022"/>
              <a:gd name="connsiteX44-22559" fmla="*/ 4859573 w 10693106"/>
              <a:gd name="connsiteY44-22560" fmla="*/ 347489 h 5292022"/>
              <a:gd name="connsiteX45-22561" fmla="*/ 5045840 w 10693106"/>
              <a:gd name="connsiteY45-22562" fmla="*/ 423689 h 5292022"/>
              <a:gd name="connsiteX46-22563" fmla="*/ 5325240 w 10693106"/>
              <a:gd name="connsiteY46-22564" fmla="*/ 584556 h 5292022"/>
              <a:gd name="connsiteX47-22565" fmla="*/ 5494573 w 10693106"/>
              <a:gd name="connsiteY47-22566" fmla="*/ 736956 h 5292022"/>
              <a:gd name="connsiteX48-22567" fmla="*/ 5562306 w 10693106"/>
              <a:gd name="connsiteY48-22568" fmla="*/ 813156 h 5292022"/>
              <a:gd name="connsiteX49-22569" fmla="*/ 5621573 w 10693106"/>
              <a:gd name="connsiteY49-22570" fmla="*/ 863956 h 5292022"/>
              <a:gd name="connsiteX50-22571" fmla="*/ 5672373 w 10693106"/>
              <a:gd name="connsiteY50-22572" fmla="*/ 931689 h 5292022"/>
              <a:gd name="connsiteX51-22573" fmla="*/ 5757040 w 10693106"/>
              <a:gd name="connsiteY51-22574" fmla="*/ 1033289 h 5292022"/>
              <a:gd name="connsiteX52-22575" fmla="*/ 5833240 w 10693106"/>
              <a:gd name="connsiteY52-22576" fmla="*/ 1126422 h 5292022"/>
              <a:gd name="connsiteX53-22577" fmla="*/ 6763726 w 10693106"/>
              <a:gd name="connsiteY53-22578" fmla="*/ 1389312 h 5292022"/>
              <a:gd name="connsiteX54-22579" fmla="*/ 7196373 w 10693106"/>
              <a:gd name="connsiteY54-22580" fmla="*/ 1778356 h 5292022"/>
              <a:gd name="connsiteX55-22581" fmla="*/ 7509640 w 10693106"/>
              <a:gd name="connsiteY55-22582" fmla="*/ 1702156 h 5292022"/>
              <a:gd name="connsiteX56-22583" fmla="*/ 7704373 w 10693106"/>
              <a:gd name="connsiteY56-22584" fmla="*/ 1634422 h 5292022"/>
              <a:gd name="connsiteX57-22585" fmla="*/ 8009173 w 10693106"/>
              <a:gd name="connsiteY57-22586" fmla="*/ 1456622 h 5292022"/>
              <a:gd name="connsiteX58-22587" fmla="*/ 8652640 w 10693106"/>
              <a:gd name="connsiteY58-22588" fmla="*/ 677689 h 5292022"/>
              <a:gd name="connsiteX59-22589" fmla="*/ 8847373 w 10693106"/>
              <a:gd name="connsiteY59-22590" fmla="*/ 491422 h 5292022"/>
              <a:gd name="connsiteX60-22591" fmla="*/ 8982840 w 10693106"/>
              <a:gd name="connsiteY60-22592" fmla="*/ 398289 h 5292022"/>
              <a:gd name="connsiteX61-22593" fmla="*/ 9084440 w 10693106"/>
              <a:gd name="connsiteY61-22594" fmla="*/ 364422 h 5292022"/>
              <a:gd name="connsiteX62-22595" fmla="*/ 9152173 w 10693106"/>
              <a:gd name="connsiteY62-22596" fmla="*/ 339022 h 5292022"/>
              <a:gd name="connsiteX63-22597" fmla="*/ 9380773 w 10693106"/>
              <a:gd name="connsiteY63-22598" fmla="*/ 355956 h 5292022"/>
              <a:gd name="connsiteX64-22599" fmla="*/ 9744840 w 10693106"/>
              <a:gd name="connsiteY64-22600" fmla="*/ 466022 h 5292022"/>
              <a:gd name="connsiteX65-22601" fmla="*/ 9888773 w 10693106"/>
              <a:gd name="connsiteY65-22602" fmla="*/ 508356 h 5292022"/>
              <a:gd name="connsiteX66-22603" fmla="*/ 9998840 w 10693106"/>
              <a:gd name="connsiteY66-22604" fmla="*/ 559156 h 5292022"/>
              <a:gd name="connsiteX67-22605" fmla="*/ 10083506 w 10693106"/>
              <a:gd name="connsiteY67-22606" fmla="*/ 618422 h 5292022"/>
              <a:gd name="connsiteX68-22607" fmla="*/ 10286706 w 10693106"/>
              <a:gd name="connsiteY68-22608" fmla="*/ 686156 h 5292022"/>
              <a:gd name="connsiteX69-22609" fmla="*/ 10388306 w 10693106"/>
              <a:gd name="connsiteY69-22610" fmla="*/ 889356 h 5292022"/>
              <a:gd name="connsiteX70-22611" fmla="*/ 10540706 w 10693106"/>
              <a:gd name="connsiteY70-22612" fmla="*/ 1261889 h 5292022"/>
              <a:gd name="connsiteX71-22613" fmla="*/ 10557640 w 10693106"/>
              <a:gd name="connsiteY71-22614" fmla="*/ 1346556 h 5292022"/>
              <a:gd name="connsiteX72-22615" fmla="*/ 10583040 w 10693106"/>
              <a:gd name="connsiteY72-22616" fmla="*/ 1448156 h 5292022"/>
              <a:gd name="connsiteX73-22617" fmla="*/ 10616906 w 10693106"/>
              <a:gd name="connsiteY73-22618" fmla="*/ 1651356 h 5292022"/>
              <a:gd name="connsiteX74-22619" fmla="*/ 10633840 w 10693106"/>
              <a:gd name="connsiteY74-22620" fmla="*/ 1736022 h 5292022"/>
              <a:gd name="connsiteX75-22621" fmla="*/ 10650773 w 10693106"/>
              <a:gd name="connsiteY75-22622" fmla="*/ 1769889 h 5292022"/>
              <a:gd name="connsiteX76-22623" fmla="*/ 10676173 w 10693106"/>
              <a:gd name="connsiteY76-22624" fmla="*/ 1854556 h 5292022"/>
              <a:gd name="connsiteX77-22625" fmla="*/ 10693106 w 10693106"/>
              <a:gd name="connsiteY77-22626" fmla="*/ 2006956 h 5292022"/>
              <a:gd name="connsiteX78-22627" fmla="*/ 10625373 w 10693106"/>
              <a:gd name="connsiteY78-22628" fmla="*/ 2227089 h 5292022"/>
              <a:gd name="connsiteX79-22629" fmla="*/ 10608440 w 10693106"/>
              <a:gd name="connsiteY79-22630" fmla="*/ 2252489 h 5292022"/>
              <a:gd name="connsiteX80-22631" fmla="*/ 10540706 w 10693106"/>
              <a:gd name="connsiteY80-22632" fmla="*/ 2396422 h 5292022"/>
              <a:gd name="connsiteX81-22633" fmla="*/ 10498373 w 10693106"/>
              <a:gd name="connsiteY81-22634" fmla="*/ 2481089 h 5292022"/>
              <a:gd name="connsiteX82-22635" fmla="*/ 10439106 w 10693106"/>
              <a:gd name="connsiteY82-22636" fmla="*/ 2667356 h 5292022"/>
              <a:gd name="connsiteX83-22637" fmla="*/ 10430640 w 10693106"/>
              <a:gd name="connsiteY83-22638" fmla="*/ 2709689 h 5292022"/>
              <a:gd name="connsiteX84-22639" fmla="*/ 10405240 w 10693106"/>
              <a:gd name="connsiteY84-22640" fmla="*/ 2785889 h 5292022"/>
              <a:gd name="connsiteX85-22641" fmla="*/ 10396773 w 10693106"/>
              <a:gd name="connsiteY85-22642" fmla="*/ 2819756 h 5292022"/>
              <a:gd name="connsiteX86-22643" fmla="*/ 10362906 w 10693106"/>
              <a:gd name="connsiteY86-22644" fmla="*/ 2912889 h 5292022"/>
              <a:gd name="connsiteX87-22645" fmla="*/ 10329040 w 10693106"/>
              <a:gd name="connsiteY87-22646" fmla="*/ 2955222 h 5292022"/>
              <a:gd name="connsiteX88-22647" fmla="*/ 10227440 w 10693106"/>
              <a:gd name="connsiteY88-22648" fmla="*/ 3056822 h 5292022"/>
              <a:gd name="connsiteX89-22649" fmla="*/ 10168173 w 10693106"/>
              <a:gd name="connsiteY89-22650" fmla="*/ 3124556 h 5292022"/>
              <a:gd name="connsiteX90-22651" fmla="*/ 10117373 w 10693106"/>
              <a:gd name="connsiteY90-22652" fmla="*/ 3175356 h 5292022"/>
              <a:gd name="connsiteX91-22653" fmla="*/ 10032706 w 10693106"/>
              <a:gd name="connsiteY91-22654" fmla="*/ 3276956 h 5292022"/>
              <a:gd name="connsiteX92-22655" fmla="*/ 9948040 w 10693106"/>
              <a:gd name="connsiteY92-22656" fmla="*/ 3336222 h 5292022"/>
              <a:gd name="connsiteX93-22657" fmla="*/ 9905706 w 10693106"/>
              <a:gd name="connsiteY93-22658" fmla="*/ 3361622 h 5292022"/>
              <a:gd name="connsiteX94-22659" fmla="*/ 9829506 w 10693106"/>
              <a:gd name="connsiteY94-22660" fmla="*/ 3378556 h 5292022"/>
              <a:gd name="connsiteX95-22661" fmla="*/ 9727906 w 10693106"/>
              <a:gd name="connsiteY95-22662" fmla="*/ 3420889 h 5292022"/>
              <a:gd name="connsiteX96-22663" fmla="*/ 9634773 w 10693106"/>
              <a:gd name="connsiteY96-22664" fmla="*/ 3446289 h 5292022"/>
              <a:gd name="connsiteX97-22665" fmla="*/ 9456973 w 10693106"/>
              <a:gd name="connsiteY97-22666" fmla="*/ 3539422 h 5292022"/>
              <a:gd name="connsiteX98-22667" fmla="*/ 9313040 w 10693106"/>
              <a:gd name="connsiteY98-22668" fmla="*/ 3666422 h 5292022"/>
              <a:gd name="connsiteX99-22669" fmla="*/ 9279173 w 10693106"/>
              <a:gd name="connsiteY99-22670" fmla="*/ 3683356 h 5292022"/>
              <a:gd name="connsiteX100-22671" fmla="*/ 9067506 w 10693106"/>
              <a:gd name="connsiteY100-22672" fmla="*/ 3861156 h 5292022"/>
              <a:gd name="connsiteX101-22673" fmla="*/ 8999773 w 10693106"/>
              <a:gd name="connsiteY101-22674" fmla="*/ 3928889 h 5292022"/>
              <a:gd name="connsiteX102-22675" fmla="*/ 8813506 w 10693106"/>
              <a:gd name="connsiteY102-22676" fmla="*/ 4064356 h 5292022"/>
              <a:gd name="connsiteX103-22677" fmla="*/ 8728840 w 10693106"/>
              <a:gd name="connsiteY103-22678" fmla="*/ 4106689 h 5292022"/>
              <a:gd name="connsiteX104-22679" fmla="*/ 8373240 w 10693106"/>
              <a:gd name="connsiteY104-22680" fmla="*/ 4140556 h 5292022"/>
              <a:gd name="connsiteX105-22681" fmla="*/ 7966840 w 10693106"/>
              <a:gd name="connsiteY105-22682" fmla="*/ 4233689 h 5292022"/>
              <a:gd name="connsiteX106-22683" fmla="*/ 7687440 w 10693106"/>
              <a:gd name="connsiteY106-22684" fmla="*/ 4394556 h 5292022"/>
              <a:gd name="connsiteX107-22685" fmla="*/ 7551973 w 10693106"/>
              <a:gd name="connsiteY107-22686" fmla="*/ 4479222 h 5292022"/>
              <a:gd name="connsiteX108-22687" fmla="*/ 7374173 w 10693106"/>
              <a:gd name="connsiteY108-22688" fmla="*/ 4657022 h 5292022"/>
              <a:gd name="connsiteX109-22689" fmla="*/ 7374173 w 10693106"/>
              <a:gd name="connsiteY109-22690" fmla="*/ 4657022 h 5292022"/>
              <a:gd name="connsiteX110-22691" fmla="*/ 7221773 w 10693106"/>
              <a:gd name="connsiteY110-22692" fmla="*/ 4775556 h 5292022"/>
              <a:gd name="connsiteX111-22693" fmla="*/ 7027040 w 10693106"/>
              <a:gd name="connsiteY111-22694" fmla="*/ 4902556 h 5292022"/>
              <a:gd name="connsiteX112-22695" fmla="*/ 6883106 w 10693106"/>
              <a:gd name="connsiteY112-22696" fmla="*/ 4970289 h 5292022"/>
              <a:gd name="connsiteX113-22697" fmla="*/ 6815373 w 10693106"/>
              <a:gd name="connsiteY113-22698" fmla="*/ 5012622 h 5292022"/>
              <a:gd name="connsiteX114-22699" fmla="*/ 6646040 w 10693106"/>
              <a:gd name="connsiteY114-22700" fmla="*/ 5105756 h 5292022"/>
              <a:gd name="connsiteX115-22701" fmla="*/ 6527506 w 10693106"/>
              <a:gd name="connsiteY115-22702" fmla="*/ 5165022 h 5292022"/>
              <a:gd name="connsiteX116-22703" fmla="*/ 6298906 w 10693106"/>
              <a:gd name="connsiteY116-22704" fmla="*/ 5241222 h 5292022"/>
              <a:gd name="connsiteX117-22705" fmla="*/ 6197306 w 10693106"/>
              <a:gd name="connsiteY117-22706" fmla="*/ 5266622 h 5292022"/>
              <a:gd name="connsiteX118-22707" fmla="*/ 6061840 w 10693106"/>
              <a:gd name="connsiteY118-22708" fmla="*/ 5275089 h 5292022"/>
              <a:gd name="connsiteX119-22709" fmla="*/ 5917906 w 10693106"/>
              <a:gd name="connsiteY119-22710" fmla="*/ 5292022 h 5292022"/>
              <a:gd name="connsiteX120-22711" fmla="*/ 5748573 w 10693106"/>
              <a:gd name="connsiteY120-22712" fmla="*/ 5283556 h 5292022"/>
              <a:gd name="connsiteX121-22713" fmla="*/ 5282906 w 10693106"/>
              <a:gd name="connsiteY121-22714" fmla="*/ 5173489 h 5292022"/>
              <a:gd name="connsiteX122-22715" fmla="*/ 5138973 w 10693106"/>
              <a:gd name="connsiteY122-22716" fmla="*/ 5071889 h 5292022"/>
              <a:gd name="connsiteX123-22717" fmla="*/ 4959480 w 10693106"/>
              <a:gd name="connsiteY123-22718" fmla="*/ 4988069 h 5292022"/>
              <a:gd name="connsiteX124-22719" fmla="*/ 4842216 w 10693106"/>
              <a:gd name="connsiteY124-22720" fmla="*/ 4953779 h 5292022"/>
              <a:gd name="connsiteX125-22721" fmla="*/ 4797343 w 10693106"/>
              <a:gd name="connsiteY125-22722" fmla="*/ 4878426 h 5292022"/>
              <a:gd name="connsiteX126-22723" fmla="*/ 4686853 w 10693106"/>
              <a:gd name="connsiteY126-22724" fmla="*/ 4788256 h 5292022"/>
              <a:gd name="connsiteX127-22725" fmla="*/ 4536146 w 10693106"/>
              <a:gd name="connsiteY127-22726" fmla="*/ 4712902 h 5292022"/>
              <a:gd name="connsiteX128-22727" fmla="*/ 4365120 w 10693106"/>
              <a:gd name="connsiteY128-22728" fmla="*/ 4616382 h 5292022"/>
              <a:gd name="connsiteX129-22729" fmla="*/ 4187743 w 10693106"/>
              <a:gd name="connsiteY129-22730" fmla="*/ 4521556 h 5292022"/>
              <a:gd name="connsiteX130-22731" fmla="*/ 4125936 w 10693106"/>
              <a:gd name="connsiteY130-22732" fmla="*/ 4386724 h 5292022"/>
              <a:gd name="connsiteX131-22733" fmla="*/ 3995973 w 10693106"/>
              <a:gd name="connsiteY131-22734" fmla="*/ 4232419 h 5292022"/>
              <a:gd name="connsiteX132-22735" fmla="*/ 3962530 w 10693106"/>
              <a:gd name="connsiteY132-22736" fmla="*/ 4135052 h 5292022"/>
              <a:gd name="connsiteX133-22737" fmla="*/ 3895643 w 10693106"/>
              <a:gd name="connsiteY133-22738" fmla="*/ 4059699 h 5292022"/>
              <a:gd name="connsiteX134-22739" fmla="*/ 3919773 w 10693106"/>
              <a:gd name="connsiteY134-22740" fmla="*/ 3920422 h 5292022"/>
              <a:gd name="connsiteX135-22741" fmla="*/ 3877440 w 10693106"/>
              <a:gd name="connsiteY135-22742" fmla="*/ 3624089 h 5292022"/>
              <a:gd name="connsiteX136-22743" fmla="*/ 3852040 w 10693106"/>
              <a:gd name="connsiteY136-22744" fmla="*/ 3530956 h 5292022"/>
              <a:gd name="connsiteX137-22745" fmla="*/ 3801240 w 10693106"/>
              <a:gd name="connsiteY137-22746" fmla="*/ 3420889 h 5292022"/>
              <a:gd name="connsiteX138-22747" fmla="*/ 3733506 w 10693106"/>
              <a:gd name="connsiteY138-22748" fmla="*/ 3319289 h 5292022"/>
              <a:gd name="connsiteX139-22749" fmla="*/ 3242440 w 10693106"/>
              <a:gd name="connsiteY139-22750" fmla="*/ 3099156 h 5292022"/>
              <a:gd name="connsiteX140-22751" fmla="*/ 3123906 w 10693106"/>
              <a:gd name="connsiteY140-22752" fmla="*/ 2997556 h 5292022"/>
              <a:gd name="connsiteX141-22753" fmla="*/ 2988440 w 10693106"/>
              <a:gd name="connsiteY141-22754" fmla="*/ 2802822 h 5292022"/>
              <a:gd name="connsiteX142-22755" fmla="*/ 2971506 w 10693106"/>
              <a:gd name="connsiteY142-22756" fmla="*/ 2743556 h 5292022"/>
              <a:gd name="connsiteX143-22757" fmla="*/ 2996906 w 10693106"/>
              <a:gd name="connsiteY143-22758" fmla="*/ 2531889 h 5292022"/>
              <a:gd name="connsiteX144-22759" fmla="*/ 3013840 w 10693106"/>
              <a:gd name="connsiteY144-22760" fmla="*/ 2430289 h 5292022"/>
              <a:gd name="connsiteX145-22761" fmla="*/ 3005373 w 10693106"/>
              <a:gd name="connsiteY145-22762" fmla="*/ 2311756 h 5292022"/>
              <a:gd name="connsiteX146-22763" fmla="*/ 2988440 w 10693106"/>
              <a:gd name="connsiteY146-22764" fmla="*/ 2260956 h 5292022"/>
              <a:gd name="connsiteX147-22765" fmla="*/ 2802173 w 10693106"/>
              <a:gd name="connsiteY147-22766" fmla="*/ 2006956 h 5292022"/>
              <a:gd name="connsiteX148-22767" fmla="*/ 2641306 w 10693106"/>
              <a:gd name="connsiteY148-22768" fmla="*/ 1863022 h 5292022"/>
              <a:gd name="connsiteX149-22769" fmla="*/ 2590506 w 10693106"/>
              <a:gd name="connsiteY149-22770" fmla="*/ 1837622 h 5292022"/>
              <a:gd name="connsiteX150-22771" fmla="*/ 2531240 w 10693106"/>
              <a:gd name="connsiteY150-22772" fmla="*/ 1829156 h 5292022"/>
              <a:gd name="connsiteX151-22773" fmla="*/ 2446573 w 10693106"/>
              <a:gd name="connsiteY151-22774" fmla="*/ 1812222 h 5292022"/>
              <a:gd name="connsiteX152-22775" fmla="*/ 2251840 w 10693106"/>
              <a:gd name="connsiteY152-22776" fmla="*/ 1837622 h 5292022"/>
              <a:gd name="connsiteX153-22777" fmla="*/ 2167173 w 10693106"/>
              <a:gd name="connsiteY153-22778" fmla="*/ 1879956 h 5292022"/>
              <a:gd name="connsiteX154-22779" fmla="*/ 1980906 w 10693106"/>
              <a:gd name="connsiteY154-22780" fmla="*/ 1939222 h 5292022"/>
              <a:gd name="connsiteX155-22781" fmla="*/ 1904706 w 10693106"/>
              <a:gd name="connsiteY155-22782" fmla="*/ 1973089 h 5292022"/>
              <a:gd name="connsiteX156-22783" fmla="*/ 1828506 w 10693106"/>
              <a:gd name="connsiteY156-22784" fmla="*/ 1990022 h 5292022"/>
              <a:gd name="connsiteX157-22785" fmla="*/ 1726906 w 10693106"/>
              <a:gd name="connsiteY157-22786" fmla="*/ 2040822 h 5292022"/>
              <a:gd name="connsiteX158-22787" fmla="*/ 1659173 w 10693106"/>
              <a:gd name="connsiteY158-22788" fmla="*/ 2074689 h 5292022"/>
              <a:gd name="connsiteX159-22789" fmla="*/ 1498306 w 10693106"/>
              <a:gd name="connsiteY159-22790" fmla="*/ 2100089 h 5292022"/>
              <a:gd name="connsiteX160-22791" fmla="*/ 914106 w 10693106"/>
              <a:gd name="connsiteY160-22792" fmla="*/ 2032356 h 5292022"/>
              <a:gd name="connsiteX161-22793" fmla="*/ 617773 w 10693106"/>
              <a:gd name="connsiteY161-22794" fmla="*/ 1922289 h 5292022"/>
              <a:gd name="connsiteX162-22795" fmla="*/ 516173 w 10693106"/>
              <a:gd name="connsiteY162-22796" fmla="*/ 1837622 h 5292022"/>
              <a:gd name="connsiteX163-22797" fmla="*/ 355306 w 10693106"/>
              <a:gd name="connsiteY163-22798" fmla="*/ 1625956 h 5292022"/>
              <a:gd name="connsiteX164-22799" fmla="*/ 296040 w 10693106"/>
              <a:gd name="connsiteY164-22800" fmla="*/ 1524356 h 5292022"/>
              <a:gd name="connsiteX165-22801" fmla="*/ 253706 w 10693106"/>
              <a:gd name="connsiteY165-22802" fmla="*/ 1346556 h 5292022"/>
              <a:gd name="connsiteX166-22803" fmla="*/ 245240 w 10693106"/>
              <a:gd name="connsiteY166-22804" fmla="*/ 1219556 h 5292022"/>
              <a:gd name="connsiteX167-22805" fmla="*/ 236773 w 10693106"/>
              <a:gd name="connsiteY167-22806" fmla="*/ 1117956 h 5292022"/>
              <a:gd name="connsiteX168-22807" fmla="*/ 245240 w 10693106"/>
              <a:gd name="connsiteY168-22808" fmla="*/ 847022 h 5292022"/>
              <a:gd name="connsiteX169-22809" fmla="*/ 236773 w 10693106"/>
              <a:gd name="connsiteY169-22810" fmla="*/ 703089 h 5292022"/>
              <a:gd name="connsiteX170-22811" fmla="*/ 109773 w 10693106"/>
              <a:gd name="connsiteY170-22812" fmla="*/ 559156 h 5292022"/>
              <a:gd name="connsiteX171-22813" fmla="*/ 58973 w 10693106"/>
              <a:gd name="connsiteY171-22814" fmla="*/ 482956 h 5292022"/>
              <a:gd name="connsiteX172-22815" fmla="*/ 16640 w 10693106"/>
              <a:gd name="connsiteY172-22816" fmla="*/ 432156 h 5292022"/>
              <a:gd name="connsiteX173-22817" fmla="*/ 8173 w 10693106"/>
              <a:gd name="connsiteY173-22818" fmla="*/ 389822 h 5292022"/>
              <a:gd name="connsiteX174-22819" fmla="*/ 16640 w 10693106"/>
              <a:gd name="connsiteY174-22820" fmla="*/ 339022 h 5292022"/>
              <a:gd name="connsiteX0-22821" fmla="*/ 16640 w 10693106"/>
              <a:gd name="connsiteY0-22822" fmla="*/ 339022 h 5292022"/>
              <a:gd name="connsiteX1-22823" fmla="*/ 58973 w 10693106"/>
              <a:gd name="connsiteY1-22824" fmla="*/ 245889 h 5292022"/>
              <a:gd name="connsiteX2-22825" fmla="*/ 109773 w 10693106"/>
              <a:gd name="connsiteY2-22826" fmla="*/ 178156 h 5292022"/>
              <a:gd name="connsiteX3-22827" fmla="*/ 202906 w 10693106"/>
              <a:gd name="connsiteY3-22828" fmla="*/ 93489 h 5292022"/>
              <a:gd name="connsiteX4-22829" fmla="*/ 236773 w 10693106"/>
              <a:gd name="connsiteY4-22830" fmla="*/ 68089 h 5292022"/>
              <a:gd name="connsiteX5-22831" fmla="*/ 335410 w 10693106"/>
              <a:gd name="connsiteY5-22832" fmla="*/ 58352 h 5292022"/>
              <a:gd name="connsiteX6-22833" fmla="*/ 382400 w 10693106"/>
              <a:gd name="connsiteY6-22834" fmla="*/ 51156 h 5292022"/>
              <a:gd name="connsiteX7-22835" fmla="*/ 434912 w 10693106"/>
              <a:gd name="connsiteY7-22836" fmla="*/ 70071 h 5292022"/>
              <a:gd name="connsiteX8-22837" fmla="*/ 492697 w 10693106"/>
              <a:gd name="connsiteY8-22838" fmla="*/ 74247 h 5292022"/>
              <a:gd name="connsiteX9-22839" fmla="*/ 822897 w 10693106"/>
              <a:gd name="connsiteY9-22840" fmla="*/ 82713 h 5292022"/>
              <a:gd name="connsiteX10-22841" fmla="*/ 1091906 w 10693106"/>
              <a:gd name="connsiteY10-22842" fmla="*/ 356 h 5292022"/>
              <a:gd name="connsiteX11-22843" fmla="*/ 1235840 w 10693106"/>
              <a:gd name="connsiteY11-22844" fmla="*/ 59622 h 5292022"/>
              <a:gd name="connsiteX12-22845" fmla="*/ 1337440 w 10693106"/>
              <a:gd name="connsiteY12-22846" fmla="*/ 135822 h 5292022"/>
              <a:gd name="connsiteX13-22847" fmla="*/ 1422106 w 10693106"/>
              <a:gd name="connsiteY13-22848" fmla="*/ 245889 h 5292022"/>
              <a:gd name="connsiteX14-22849" fmla="*/ 1481373 w 10693106"/>
              <a:gd name="connsiteY14-22850" fmla="*/ 313622 h 5292022"/>
              <a:gd name="connsiteX15-22851" fmla="*/ 1532173 w 10693106"/>
              <a:gd name="connsiteY15-22852" fmla="*/ 347489 h 5292022"/>
              <a:gd name="connsiteX16-22853" fmla="*/ 1684573 w 10693106"/>
              <a:gd name="connsiteY16-22854" fmla="*/ 406756 h 5292022"/>
              <a:gd name="connsiteX17-22855" fmla="*/ 1760773 w 10693106"/>
              <a:gd name="connsiteY17-22856" fmla="*/ 423689 h 5292022"/>
              <a:gd name="connsiteX18-22857" fmla="*/ 1997840 w 10693106"/>
              <a:gd name="connsiteY18-22858" fmla="*/ 415222 h 5292022"/>
              <a:gd name="connsiteX19-22859" fmla="*/ 2116373 w 10693106"/>
              <a:gd name="connsiteY19-22860" fmla="*/ 398289 h 5292022"/>
              <a:gd name="connsiteX20-22861" fmla="*/ 2260306 w 10693106"/>
              <a:gd name="connsiteY20-22862" fmla="*/ 381356 h 5292022"/>
              <a:gd name="connsiteX21-22863" fmla="*/ 2404240 w 10693106"/>
              <a:gd name="connsiteY21-22864" fmla="*/ 355956 h 5292022"/>
              <a:gd name="connsiteX22-22865" fmla="*/ 2455040 w 10693106"/>
              <a:gd name="connsiteY22-22866" fmla="*/ 330556 h 5292022"/>
              <a:gd name="connsiteX23-22867" fmla="*/ 2531240 w 10693106"/>
              <a:gd name="connsiteY23-22868" fmla="*/ 305156 h 5292022"/>
              <a:gd name="connsiteX24-22869" fmla="*/ 2649350 w 10693106"/>
              <a:gd name="connsiteY24-22870" fmla="*/ 225781 h 5292022"/>
              <a:gd name="connsiteX25-22871" fmla="*/ 2742906 w 10693106"/>
              <a:gd name="connsiteY25-22872" fmla="*/ 186622 h 5292022"/>
              <a:gd name="connsiteX26-22873" fmla="*/ 2764920 w 10693106"/>
              <a:gd name="connsiteY26-22874" fmla="*/ 173076 h 5292022"/>
              <a:gd name="connsiteX27-22875" fmla="*/ 2832653 w 10693106"/>
              <a:gd name="connsiteY27-22876" fmla="*/ 167996 h 5292022"/>
              <a:gd name="connsiteX28-22877" fmla="*/ 3002294 w 10693106"/>
              <a:gd name="connsiteY28-22878" fmla="*/ 154680 h 5292022"/>
              <a:gd name="connsiteX29-22879" fmla="*/ 3142763 w 10693106"/>
              <a:gd name="connsiteY29-22880" fmla="*/ 110421 h 5292022"/>
              <a:gd name="connsiteX30-22881" fmla="*/ 3398918 w 10693106"/>
              <a:gd name="connsiteY30-22882" fmla="*/ 72322 h 5292022"/>
              <a:gd name="connsiteX31-22883" fmla="*/ 3606506 w 10693106"/>
              <a:gd name="connsiteY31-22884" fmla="*/ 60393 h 5292022"/>
              <a:gd name="connsiteX32-22885" fmla="*/ 3682706 w 10693106"/>
              <a:gd name="connsiteY32-22886" fmla="*/ 79942 h 5292022"/>
              <a:gd name="connsiteX33-22887" fmla="*/ 3741973 w 10693106"/>
              <a:gd name="connsiteY33-22888" fmla="*/ 86561 h 5292022"/>
              <a:gd name="connsiteX34-22889" fmla="*/ 3794678 w 10693106"/>
              <a:gd name="connsiteY34-22890" fmla="*/ 101321 h 5292022"/>
              <a:gd name="connsiteX35-22891" fmla="*/ 3833625 w 10693106"/>
              <a:gd name="connsiteY35-22892" fmla="*/ 110846 h 5292022"/>
              <a:gd name="connsiteX36-22893" fmla="*/ 3892487 w 10693106"/>
              <a:gd name="connsiteY36-22894" fmla="*/ 116984 h 5292022"/>
              <a:gd name="connsiteX37-22895" fmla="*/ 3933108 w 10693106"/>
              <a:gd name="connsiteY37-22896" fmla="*/ 128837 h 5292022"/>
              <a:gd name="connsiteX38-22897" fmla="*/ 3976923 w 10693106"/>
              <a:gd name="connsiteY38-22898" fmla="*/ 135187 h 5292022"/>
              <a:gd name="connsiteX39-22899" fmla="*/ 4021373 w 10693106"/>
              <a:gd name="connsiteY39-22900" fmla="*/ 144289 h 5292022"/>
              <a:gd name="connsiteX40-22901" fmla="*/ 4055240 w 10693106"/>
              <a:gd name="connsiteY40-22902" fmla="*/ 152756 h 5292022"/>
              <a:gd name="connsiteX41-22903" fmla="*/ 4275373 w 10693106"/>
              <a:gd name="connsiteY41-22904" fmla="*/ 195089 h 5292022"/>
              <a:gd name="connsiteX42-22905" fmla="*/ 4402373 w 10693106"/>
              <a:gd name="connsiteY42-22906" fmla="*/ 228956 h 5292022"/>
              <a:gd name="connsiteX43-22907" fmla="*/ 4529373 w 10693106"/>
              <a:gd name="connsiteY43-22908" fmla="*/ 271289 h 5292022"/>
              <a:gd name="connsiteX44-22909" fmla="*/ 4859573 w 10693106"/>
              <a:gd name="connsiteY44-22910" fmla="*/ 347489 h 5292022"/>
              <a:gd name="connsiteX45-22911" fmla="*/ 5045840 w 10693106"/>
              <a:gd name="connsiteY45-22912" fmla="*/ 423689 h 5292022"/>
              <a:gd name="connsiteX46-22913" fmla="*/ 5325240 w 10693106"/>
              <a:gd name="connsiteY46-22914" fmla="*/ 584556 h 5292022"/>
              <a:gd name="connsiteX47-22915" fmla="*/ 5494573 w 10693106"/>
              <a:gd name="connsiteY47-22916" fmla="*/ 736956 h 5292022"/>
              <a:gd name="connsiteX48-22917" fmla="*/ 5562306 w 10693106"/>
              <a:gd name="connsiteY48-22918" fmla="*/ 813156 h 5292022"/>
              <a:gd name="connsiteX49-22919" fmla="*/ 5621573 w 10693106"/>
              <a:gd name="connsiteY49-22920" fmla="*/ 863956 h 5292022"/>
              <a:gd name="connsiteX50-22921" fmla="*/ 5672373 w 10693106"/>
              <a:gd name="connsiteY50-22922" fmla="*/ 931689 h 5292022"/>
              <a:gd name="connsiteX51-22923" fmla="*/ 5757040 w 10693106"/>
              <a:gd name="connsiteY51-22924" fmla="*/ 1033289 h 5292022"/>
              <a:gd name="connsiteX52-22925" fmla="*/ 5833240 w 10693106"/>
              <a:gd name="connsiteY52-22926" fmla="*/ 1126422 h 5292022"/>
              <a:gd name="connsiteX53-22927" fmla="*/ 6763726 w 10693106"/>
              <a:gd name="connsiteY53-22928" fmla="*/ 1389312 h 5292022"/>
              <a:gd name="connsiteX54-22929" fmla="*/ 7314483 w 10693106"/>
              <a:gd name="connsiteY54-22930" fmla="*/ 1511656 h 5292022"/>
              <a:gd name="connsiteX55-22931" fmla="*/ 7509640 w 10693106"/>
              <a:gd name="connsiteY55-22932" fmla="*/ 1702156 h 5292022"/>
              <a:gd name="connsiteX56-22933" fmla="*/ 7704373 w 10693106"/>
              <a:gd name="connsiteY56-22934" fmla="*/ 1634422 h 5292022"/>
              <a:gd name="connsiteX57-22935" fmla="*/ 8009173 w 10693106"/>
              <a:gd name="connsiteY57-22936" fmla="*/ 1456622 h 5292022"/>
              <a:gd name="connsiteX58-22937" fmla="*/ 8652640 w 10693106"/>
              <a:gd name="connsiteY58-22938" fmla="*/ 677689 h 5292022"/>
              <a:gd name="connsiteX59-22939" fmla="*/ 8847373 w 10693106"/>
              <a:gd name="connsiteY59-22940" fmla="*/ 491422 h 5292022"/>
              <a:gd name="connsiteX60-22941" fmla="*/ 8982840 w 10693106"/>
              <a:gd name="connsiteY60-22942" fmla="*/ 398289 h 5292022"/>
              <a:gd name="connsiteX61-22943" fmla="*/ 9084440 w 10693106"/>
              <a:gd name="connsiteY61-22944" fmla="*/ 364422 h 5292022"/>
              <a:gd name="connsiteX62-22945" fmla="*/ 9152173 w 10693106"/>
              <a:gd name="connsiteY62-22946" fmla="*/ 339022 h 5292022"/>
              <a:gd name="connsiteX63-22947" fmla="*/ 9380773 w 10693106"/>
              <a:gd name="connsiteY63-22948" fmla="*/ 355956 h 5292022"/>
              <a:gd name="connsiteX64-22949" fmla="*/ 9744840 w 10693106"/>
              <a:gd name="connsiteY64-22950" fmla="*/ 466022 h 5292022"/>
              <a:gd name="connsiteX65-22951" fmla="*/ 9888773 w 10693106"/>
              <a:gd name="connsiteY65-22952" fmla="*/ 508356 h 5292022"/>
              <a:gd name="connsiteX66-22953" fmla="*/ 9998840 w 10693106"/>
              <a:gd name="connsiteY66-22954" fmla="*/ 559156 h 5292022"/>
              <a:gd name="connsiteX67-22955" fmla="*/ 10083506 w 10693106"/>
              <a:gd name="connsiteY67-22956" fmla="*/ 618422 h 5292022"/>
              <a:gd name="connsiteX68-22957" fmla="*/ 10286706 w 10693106"/>
              <a:gd name="connsiteY68-22958" fmla="*/ 686156 h 5292022"/>
              <a:gd name="connsiteX69-22959" fmla="*/ 10388306 w 10693106"/>
              <a:gd name="connsiteY69-22960" fmla="*/ 889356 h 5292022"/>
              <a:gd name="connsiteX70-22961" fmla="*/ 10540706 w 10693106"/>
              <a:gd name="connsiteY70-22962" fmla="*/ 1261889 h 5292022"/>
              <a:gd name="connsiteX71-22963" fmla="*/ 10557640 w 10693106"/>
              <a:gd name="connsiteY71-22964" fmla="*/ 1346556 h 5292022"/>
              <a:gd name="connsiteX72-22965" fmla="*/ 10583040 w 10693106"/>
              <a:gd name="connsiteY72-22966" fmla="*/ 1448156 h 5292022"/>
              <a:gd name="connsiteX73-22967" fmla="*/ 10616906 w 10693106"/>
              <a:gd name="connsiteY73-22968" fmla="*/ 1651356 h 5292022"/>
              <a:gd name="connsiteX74-22969" fmla="*/ 10633840 w 10693106"/>
              <a:gd name="connsiteY74-22970" fmla="*/ 1736022 h 5292022"/>
              <a:gd name="connsiteX75-22971" fmla="*/ 10650773 w 10693106"/>
              <a:gd name="connsiteY75-22972" fmla="*/ 1769889 h 5292022"/>
              <a:gd name="connsiteX76-22973" fmla="*/ 10676173 w 10693106"/>
              <a:gd name="connsiteY76-22974" fmla="*/ 1854556 h 5292022"/>
              <a:gd name="connsiteX77-22975" fmla="*/ 10693106 w 10693106"/>
              <a:gd name="connsiteY77-22976" fmla="*/ 2006956 h 5292022"/>
              <a:gd name="connsiteX78-22977" fmla="*/ 10625373 w 10693106"/>
              <a:gd name="connsiteY78-22978" fmla="*/ 2227089 h 5292022"/>
              <a:gd name="connsiteX79-22979" fmla="*/ 10608440 w 10693106"/>
              <a:gd name="connsiteY79-22980" fmla="*/ 2252489 h 5292022"/>
              <a:gd name="connsiteX80-22981" fmla="*/ 10540706 w 10693106"/>
              <a:gd name="connsiteY80-22982" fmla="*/ 2396422 h 5292022"/>
              <a:gd name="connsiteX81-22983" fmla="*/ 10498373 w 10693106"/>
              <a:gd name="connsiteY81-22984" fmla="*/ 2481089 h 5292022"/>
              <a:gd name="connsiteX82-22985" fmla="*/ 10439106 w 10693106"/>
              <a:gd name="connsiteY82-22986" fmla="*/ 2667356 h 5292022"/>
              <a:gd name="connsiteX83-22987" fmla="*/ 10430640 w 10693106"/>
              <a:gd name="connsiteY83-22988" fmla="*/ 2709689 h 5292022"/>
              <a:gd name="connsiteX84-22989" fmla="*/ 10405240 w 10693106"/>
              <a:gd name="connsiteY84-22990" fmla="*/ 2785889 h 5292022"/>
              <a:gd name="connsiteX85-22991" fmla="*/ 10396773 w 10693106"/>
              <a:gd name="connsiteY85-22992" fmla="*/ 2819756 h 5292022"/>
              <a:gd name="connsiteX86-22993" fmla="*/ 10362906 w 10693106"/>
              <a:gd name="connsiteY86-22994" fmla="*/ 2912889 h 5292022"/>
              <a:gd name="connsiteX87-22995" fmla="*/ 10329040 w 10693106"/>
              <a:gd name="connsiteY87-22996" fmla="*/ 2955222 h 5292022"/>
              <a:gd name="connsiteX88-22997" fmla="*/ 10227440 w 10693106"/>
              <a:gd name="connsiteY88-22998" fmla="*/ 3056822 h 5292022"/>
              <a:gd name="connsiteX89-22999" fmla="*/ 10168173 w 10693106"/>
              <a:gd name="connsiteY89-23000" fmla="*/ 3124556 h 5292022"/>
              <a:gd name="connsiteX90-23001" fmla="*/ 10117373 w 10693106"/>
              <a:gd name="connsiteY90-23002" fmla="*/ 3175356 h 5292022"/>
              <a:gd name="connsiteX91-23003" fmla="*/ 10032706 w 10693106"/>
              <a:gd name="connsiteY91-23004" fmla="*/ 3276956 h 5292022"/>
              <a:gd name="connsiteX92-23005" fmla="*/ 9948040 w 10693106"/>
              <a:gd name="connsiteY92-23006" fmla="*/ 3336222 h 5292022"/>
              <a:gd name="connsiteX93-23007" fmla="*/ 9905706 w 10693106"/>
              <a:gd name="connsiteY93-23008" fmla="*/ 3361622 h 5292022"/>
              <a:gd name="connsiteX94-23009" fmla="*/ 9829506 w 10693106"/>
              <a:gd name="connsiteY94-23010" fmla="*/ 3378556 h 5292022"/>
              <a:gd name="connsiteX95-23011" fmla="*/ 9727906 w 10693106"/>
              <a:gd name="connsiteY95-23012" fmla="*/ 3420889 h 5292022"/>
              <a:gd name="connsiteX96-23013" fmla="*/ 9634773 w 10693106"/>
              <a:gd name="connsiteY96-23014" fmla="*/ 3446289 h 5292022"/>
              <a:gd name="connsiteX97-23015" fmla="*/ 9456973 w 10693106"/>
              <a:gd name="connsiteY97-23016" fmla="*/ 3539422 h 5292022"/>
              <a:gd name="connsiteX98-23017" fmla="*/ 9313040 w 10693106"/>
              <a:gd name="connsiteY98-23018" fmla="*/ 3666422 h 5292022"/>
              <a:gd name="connsiteX99-23019" fmla="*/ 9279173 w 10693106"/>
              <a:gd name="connsiteY99-23020" fmla="*/ 3683356 h 5292022"/>
              <a:gd name="connsiteX100-23021" fmla="*/ 9067506 w 10693106"/>
              <a:gd name="connsiteY100-23022" fmla="*/ 3861156 h 5292022"/>
              <a:gd name="connsiteX101-23023" fmla="*/ 8999773 w 10693106"/>
              <a:gd name="connsiteY101-23024" fmla="*/ 3928889 h 5292022"/>
              <a:gd name="connsiteX102-23025" fmla="*/ 8813506 w 10693106"/>
              <a:gd name="connsiteY102-23026" fmla="*/ 4064356 h 5292022"/>
              <a:gd name="connsiteX103-23027" fmla="*/ 8728840 w 10693106"/>
              <a:gd name="connsiteY103-23028" fmla="*/ 4106689 h 5292022"/>
              <a:gd name="connsiteX104-23029" fmla="*/ 8373240 w 10693106"/>
              <a:gd name="connsiteY104-23030" fmla="*/ 4140556 h 5292022"/>
              <a:gd name="connsiteX105-23031" fmla="*/ 7966840 w 10693106"/>
              <a:gd name="connsiteY105-23032" fmla="*/ 4233689 h 5292022"/>
              <a:gd name="connsiteX106-23033" fmla="*/ 7687440 w 10693106"/>
              <a:gd name="connsiteY106-23034" fmla="*/ 4394556 h 5292022"/>
              <a:gd name="connsiteX107-23035" fmla="*/ 7551973 w 10693106"/>
              <a:gd name="connsiteY107-23036" fmla="*/ 4479222 h 5292022"/>
              <a:gd name="connsiteX108-23037" fmla="*/ 7374173 w 10693106"/>
              <a:gd name="connsiteY108-23038" fmla="*/ 4657022 h 5292022"/>
              <a:gd name="connsiteX109-23039" fmla="*/ 7374173 w 10693106"/>
              <a:gd name="connsiteY109-23040" fmla="*/ 4657022 h 5292022"/>
              <a:gd name="connsiteX110-23041" fmla="*/ 7221773 w 10693106"/>
              <a:gd name="connsiteY110-23042" fmla="*/ 4775556 h 5292022"/>
              <a:gd name="connsiteX111-23043" fmla="*/ 7027040 w 10693106"/>
              <a:gd name="connsiteY111-23044" fmla="*/ 4902556 h 5292022"/>
              <a:gd name="connsiteX112-23045" fmla="*/ 6883106 w 10693106"/>
              <a:gd name="connsiteY112-23046" fmla="*/ 4970289 h 5292022"/>
              <a:gd name="connsiteX113-23047" fmla="*/ 6815373 w 10693106"/>
              <a:gd name="connsiteY113-23048" fmla="*/ 5012622 h 5292022"/>
              <a:gd name="connsiteX114-23049" fmla="*/ 6646040 w 10693106"/>
              <a:gd name="connsiteY114-23050" fmla="*/ 5105756 h 5292022"/>
              <a:gd name="connsiteX115-23051" fmla="*/ 6527506 w 10693106"/>
              <a:gd name="connsiteY115-23052" fmla="*/ 5165022 h 5292022"/>
              <a:gd name="connsiteX116-23053" fmla="*/ 6298906 w 10693106"/>
              <a:gd name="connsiteY116-23054" fmla="*/ 5241222 h 5292022"/>
              <a:gd name="connsiteX117-23055" fmla="*/ 6197306 w 10693106"/>
              <a:gd name="connsiteY117-23056" fmla="*/ 5266622 h 5292022"/>
              <a:gd name="connsiteX118-23057" fmla="*/ 6061840 w 10693106"/>
              <a:gd name="connsiteY118-23058" fmla="*/ 5275089 h 5292022"/>
              <a:gd name="connsiteX119-23059" fmla="*/ 5917906 w 10693106"/>
              <a:gd name="connsiteY119-23060" fmla="*/ 5292022 h 5292022"/>
              <a:gd name="connsiteX120-23061" fmla="*/ 5748573 w 10693106"/>
              <a:gd name="connsiteY120-23062" fmla="*/ 5283556 h 5292022"/>
              <a:gd name="connsiteX121-23063" fmla="*/ 5282906 w 10693106"/>
              <a:gd name="connsiteY121-23064" fmla="*/ 5173489 h 5292022"/>
              <a:gd name="connsiteX122-23065" fmla="*/ 5138973 w 10693106"/>
              <a:gd name="connsiteY122-23066" fmla="*/ 5071889 h 5292022"/>
              <a:gd name="connsiteX123-23067" fmla="*/ 4959480 w 10693106"/>
              <a:gd name="connsiteY123-23068" fmla="*/ 4988069 h 5292022"/>
              <a:gd name="connsiteX124-23069" fmla="*/ 4842216 w 10693106"/>
              <a:gd name="connsiteY124-23070" fmla="*/ 4953779 h 5292022"/>
              <a:gd name="connsiteX125-23071" fmla="*/ 4797343 w 10693106"/>
              <a:gd name="connsiteY125-23072" fmla="*/ 4878426 h 5292022"/>
              <a:gd name="connsiteX126-23073" fmla="*/ 4686853 w 10693106"/>
              <a:gd name="connsiteY126-23074" fmla="*/ 4788256 h 5292022"/>
              <a:gd name="connsiteX127-23075" fmla="*/ 4536146 w 10693106"/>
              <a:gd name="connsiteY127-23076" fmla="*/ 4712902 h 5292022"/>
              <a:gd name="connsiteX128-23077" fmla="*/ 4365120 w 10693106"/>
              <a:gd name="connsiteY128-23078" fmla="*/ 4616382 h 5292022"/>
              <a:gd name="connsiteX129-23079" fmla="*/ 4187743 w 10693106"/>
              <a:gd name="connsiteY129-23080" fmla="*/ 4521556 h 5292022"/>
              <a:gd name="connsiteX130-23081" fmla="*/ 4125936 w 10693106"/>
              <a:gd name="connsiteY130-23082" fmla="*/ 4386724 h 5292022"/>
              <a:gd name="connsiteX131-23083" fmla="*/ 3995973 w 10693106"/>
              <a:gd name="connsiteY131-23084" fmla="*/ 4232419 h 5292022"/>
              <a:gd name="connsiteX132-23085" fmla="*/ 3962530 w 10693106"/>
              <a:gd name="connsiteY132-23086" fmla="*/ 4135052 h 5292022"/>
              <a:gd name="connsiteX133-23087" fmla="*/ 3895643 w 10693106"/>
              <a:gd name="connsiteY133-23088" fmla="*/ 4059699 h 5292022"/>
              <a:gd name="connsiteX134-23089" fmla="*/ 3919773 w 10693106"/>
              <a:gd name="connsiteY134-23090" fmla="*/ 3920422 h 5292022"/>
              <a:gd name="connsiteX135-23091" fmla="*/ 3877440 w 10693106"/>
              <a:gd name="connsiteY135-23092" fmla="*/ 3624089 h 5292022"/>
              <a:gd name="connsiteX136-23093" fmla="*/ 3852040 w 10693106"/>
              <a:gd name="connsiteY136-23094" fmla="*/ 3530956 h 5292022"/>
              <a:gd name="connsiteX137-23095" fmla="*/ 3801240 w 10693106"/>
              <a:gd name="connsiteY137-23096" fmla="*/ 3420889 h 5292022"/>
              <a:gd name="connsiteX138-23097" fmla="*/ 3733506 w 10693106"/>
              <a:gd name="connsiteY138-23098" fmla="*/ 3319289 h 5292022"/>
              <a:gd name="connsiteX139-23099" fmla="*/ 3242440 w 10693106"/>
              <a:gd name="connsiteY139-23100" fmla="*/ 3099156 h 5292022"/>
              <a:gd name="connsiteX140-23101" fmla="*/ 3123906 w 10693106"/>
              <a:gd name="connsiteY140-23102" fmla="*/ 2997556 h 5292022"/>
              <a:gd name="connsiteX141-23103" fmla="*/ 2988440 w 10693106"/>
              <a:gd name="connsiteY141-23104" fmla="*/ 2802822 h 5292022"/>
              <a:gd name="connsiteX142-23105" fmla="*/ 2971506 w 10693106"/>
              <a:gd name="connsiteY142-23106" fmla="*/ 2743556 h 5292022"/>
              <a:gd name="connsiteX143-23107" fmla="*/ 2996906 w 10693106"/>
              <a:gd name="connsiteY143-23108" fmla="*/ 2531889 h 5292022"/>
              <a:gd name="connsiteX144-23109" fmla="*/ 3013840 w 10693106"/>
              <a:gd name="connsiteY144-23110" fmla="*/ 2430289 h 5292022"/>
              <a:gd name="connsiteX145-23111" fmla="*/ 3005373 w 10693106"/>
              <a:gd name="connsiteY145-23112" fmla="*/ 2311756 h 5292022"/>
              <a:gd name="connsiteX146-23113" fmla="*/ 2988440 w 10693106"/>
              <a:gd name="connsiteY146-23114" fmla="*/ 2260956 h 5292022"/>
              <a:gd name="connsiteX147-23115" fmla="*/ 2802173 w 10693106"/>
              <a:gd name="connsiteY147-23116" fmla="*/ 2006956 h 5292022"/>
              <a:gd name="connsiteX148-23117" fmla="*/ 2641306 w 10693106"/>
              <a:gd name="connsiteY148-23118" fmla="*/ 1863022 h 5292022"/>
              <a:gd name="connsiteX149-23119" fmla="*/ 2590506 w 10693106"/>
              <a:gd name="connsiteY149-23120" fmla="*/ 1837622 h 5292022"/>
              <a:gd name="connsiteX150-23121" fmla="*/ 2531240 w 10693106"/>
              <a:gd name="connsiteY150-23122" fmla="*/ 1829156 h 5292022"/>
              <a:gd name="connsiteX151-23123" fmla="*/ 2446573 w 10693106"/>
              <a:gd name="connsiteY151-23124" fmla="*/ 1812222 h 5292022"/>
              <a:gd name="connsiteX152-23125" fmla="*/ 2251840 w 10693106"/>
              <a:gd name="connsiteY152-23126" fmla="*/ 1837622 h 5292022"/>
              <a:gd name="connsiteX153-23127" fmla="*/ 2167173 w 10693106"/>
              <a:gd name="connsiteY153-23128" fmla="*/ 1879956 h 5292022"/>
              <a:gd name="connsiteX154-23129" fmla="*/ 1980906 w 10693106"/>
              <a:gd name="connsiteY154-23130" fmla="*/ 1939222 h 5292022"/>
              <a:gd name="connsiteX155-23131" fmla="*/ 1904706 w 10693106"/>
              <a:gd name="connsiteY155-23132" fmla="*/ 1973089 h 5292022"/>
              <a:gd name="connsiteX156-23133" fmla="*/ 1828506 w 10693106"/>
              <a:gd name="connsiteY156-23134" fmla="*/ 1990022 h 5292022"/>
              <a:gd name="connsiteX157-23135" fmla="*/ 1726906 w 10693106"/>
              <a:gd name="connsiteY157-23136" fmla="*/ 2040822 h 5292022"/>
              <a:gd name="connsiteX158-23137" fmla="*/ 1659173 w 10693106"/>
              <a:gd name="connsiteY158-23138" fmla="*/ 2074689 h 5292022"/>
              <a:gd name="connsiteX159-23139" fmla="*/ 1498306 w 10693106"/>
              <a:gd name="connsiteY159-23140" fmla="*/ 2100089 h 5292022"/>
              <a:gd name="connsiteX160-23141" fmla="*/ 914106 w 10693106"/>
              <a:gd name="connsiteY160-23142" fmla="*/ 2032356 h 5292022"/>
              <a:gd name="connsiteX161-23143" fmla="*/ 617773 w 10693106"/>
              <a:gd name="connsiteY161-23144" fmla="*/ 1922289 h 5292022"/>
              <a:gd name="connsiteX162-23145" fmla="*/ 516173 w 10693106"/>
              <a:gd name="connsiteY162-23146" fmla="*/ 1837622 h 5292022"/>
              <a:gd name="connsiteX163-23147" fmla="*/ 355306 w 10693106"/>
              <a:gd name="connsiteY163-23148" fmla="*/ 1625956 h 5292022"/>
              <a:gd name="connsiteX164-23149" fmla="*/ 296040 w 10693106"/>
              <a:gd name="connsiteY164-23150" fmla="*/ 1524356 h 5292022"/>
              <a:gd name="connsiteX165-23151" fmla="*/ 253706 w 10693106"/>
              <a:gd name="connsiteY165-23152" fmla="*/ 1346556 h 5292022"/>
              <a:gd name="connsiteX166-23153" fmla="*/ 245240 w 10693106"/>
              <a:gd name="connsiteY166-23154" fmla="*/ 1219556 h 5292022"/>
              <a:gd name="connsiteX167-23155" fmla="*/ 236773 w 10693106"/>
              <a:gd name="connsiteY167-23156" fmla="*/ 1117956 h 5292022"/>
              <a:gd name="connsiteX168-23157" fmla="*/ 245240 w 10693106"/>
              <a:gd name="connsiteY168-23158" fmla="*/ 847022 h 5292022"/>
              <a:gd name="connsiteX169-23159" fmla="*/ 236773 w 10693106"/>
              <a:gd name="connsiteY169-23160" fmla="*/ 703089 h 5292022"/>
              <a:gd name="connsiteX170-23161" fmla="*/ 109773 w 10693106"/>
              <a:gd name="connsiteY170-23162" fmla="*/ 559156 h 5292022"/>
              <a:gd name="connsiteX171-23163" fmla="*/ 58973 w 10693106"/>
              <a:gd name="connsiteY171-23164" fmla="*/ 482956 h 5292022"/>
              <a:gd name="connsiteX172-23165" fmla="*/ 16640 w 10693106"/>
              <a:gd name="connsiteY172-23166" fmla="*/ 432156 h 5292022"/>
              <a:gd name="connsiteX173-23167" fmla="*/ 8173 w 10693106"/>
              <a:gd name="connsiteY173-23168" fmla="*/ 389822 h 5292022"/>
              <a:gd name="connsiteX174-23169" fmla="*/ 16640 w 10693106"/>
              <a:gd name="connsiteY174-23170" fmla="*/ 339022 h 5292022"/>
              <a:gd name="connsiteX0-23171" fmla="*/ 16640 w 10693106"/>
              <a:gd name="connsiteY0-23172" fmla="*/ 339022 h 5292022"/>
              <a:gd name="connsiteX1-23173" fmla="*/ 58973 w 10693106"/>
              <a:gd name="connsiteY1-23174" fmla="*/ 245889 h 5292022"/>
              <a:gd name="connsiteX2-23175" fmla="*/ 109773 w 10693106"/>
              <a:gd name="connsiteY2-23176" fmla="*/ 178156 h 5292022"/>
              <a:gd name="connsiteX3-23177" fmla="*/ 202906 w 10693106"/>
              <a:gd name="connsiteY3-23178" fmla="*/ 93489 h 5292022"/>
              <a:gd name="connsiteX4-23179" fmla="*/ 236773 w 10693106"/>
              <a:gd name="connsiteY4-23180" fmla="*/ 68089 h 5292022"/>
              <a:gd name="connsiteX5-23181" fmla="*/ 335410 w 10693106"/>
              <a:gd name="connsiteY5-23182" fmla="*/ 58352 h 5292022"/>
              <a:gd name="connsiteX6-23183" fmla="*/ 382400 w 10693106"/>
              <a:gd name="connsiteY6-23184" fmla="*/ 51156 h 5292022"/>
              <a:gd name="connsiteX7-23185" fmla="*/ 434912 w 10693106"/>
              <a:gd name="connsiteY7-23186" fmla="*/ 70071 h 5292022"/>
              <a:gd name="connsiteX8-23187" fmla="*/ 492697 w 10693106"/>
              <a:gd name="connsiteY8-23188" fmla="*/ 74247 h 5292022"/>
              <a:gd name="connsiteX9-23189" fmla="*/ 822897 w 10693106"/>
              <a:gd name="connsiteY9-23190" fmla="*/ 82713 h 5292022"/>
              <a:gd name="connsiteX10-23191" fmla="*/ 1091906 w 10693106"/>
              <a:gd name="connsiteY10-23192" fmla="*/ 356 h 5292022"/>
              <a:gd name="connsiteX11-23193" fmla="*/ 1235840 w 10693106"/>
              <a:gd name="connsiteY11-23194" fmla="*/ 59622 h 5292022"/>
              <a:gd name="connsiteX12-23195" fmla="*/ 1337440 w 10693106"/>
              <a:gd name="connsiteY12-23196" fmla="*/ 135822 h 5292022"/>
              <a:gd name="connsiteX13-23197" fmla="*/ 1422106 w 10693106"/>
              <a:gd name="connsiteY13-23198" fmla="*/ 245889 h 5292022"/>
              <a:gd name="connsiteX14-23199" fmla="*/ 1481373 w 10693106"/>
              <a:gd name="connsiteY14-23200" fmla="*/ 313622 h 5292022"/>
              <a:gd name="connsiteX15-23201" fmla="*/ 1532173 w 10693106"/>
              <a:gd name="connsiteY15-23202" fmla="*/ 347489 h 5292022"/>
              <a:gd name="connsiteX16-23203" fmla="*/ 1684573 w 10693106"/>
              <a:gd name="connsiteY16-23204" fmla="*/ 406756 h 5292022"/>
              <a:gd name="connsiteX17-23205" fmla="*/ 1760773 w 10693106"/>
              <a:gd name="connsiteY17-23206" fmla="*/ 423689 h 5292022"/>
              <a:gd name="connsiteX18-23207" fmla="*/ 1997840 w 10693106"/>
              <a:gd name="connsiteY18-23208" fmla="*/ 415222 h 5292022"/>
              <a:gd name="connsiteX19-23209" fmla="*/ 2116373 w 10693106"/>
              <a:gd name="connsiteY19-23210" fmla="*/ 398289 h 5292022"/>
              <a:gd name="connsiteX20-23211" fmla="*/ 2260306 w 10693106"/>
              <a:gd name="connsiteY20-23212" fmla="*/ 381356 h 5292022"/>
              <a:gd name="connsiteX21-23213" fmla="*/ 2404240 w 10693106"/>
              <a:gd name="connsiteY21-23214" fmla="*/ 355956 h 5292022"/>
              <a:gd name="connsiteX22-23215" fmla="*/ 2455040 w 10693106"/>
              <a:gd name="connsiteY22-23216" fmla="*/ 330556 h 5292022"/>
              <a:gd name="connsiteX23-23217" fmla="*/ 2531240 w 10693106"/>
              <a:gd name="connsiteY23-23218" fmla="*/ 305156 h 5292022"/>
              <a:gd name="connsiteX24-23219" fmla="*/ 2649350 w 10693106"/>
              <a:gd name="connsiteY24-23220" fmla="*/ 225781 h 5292022"/>
              <a:gd name="connsiteX25-23221" fmla="*/ 2742906 w 10693106"/>
              <a:gd name="connsiteY25-23222" fmla="*/ 186622 h 5292022"/>
              <a:gd name="connsiteX26-23223" fmla="*/ 2764920 w 10693106"/>
              <a:gd name="connsiteY26-23224" fmla="*/ 173076 h 5292022"/>
              <a:gd name="connsiteX27-23225" fmla="*/ 2832653 w 10693106"/>
              <a:gd name="connsiteY27-23226" fmla="*/ 167996 h 5292022"/>
              <a:gd name="connsiteX28-23227" fmla="*/ 3002294 w 10693106"/>
              <a:gd name="connsiteY28-23228" fmla="*/ 154680 h 5292022"/>
              <a:gd name="connsiteX29-23229" fmla="*/ 3142763 w 10693106"/>
              <a:gd name="connsiteY29-23230" fmla="*/ 110421 h 5292022"/>
              <a:gd name="connsiteX30-23231" fmla="*/ 3398918 w 10693106"/>
              <a:gd name="connsiteY30-23232" fmla="*/ 72322 h 5292022"/>
              <a:gd name="connsiteX31-23233" fmla="*/ 3606506 w 10693106"/>
              <a:gd name="connsiteY31-23234" fmla="*/ 60393 h 5292022"/>
              <a:gd name="connsiteX32-23235" fmla="*/ 3682706 w 10693106"/>
              <a:gd name="connsiteY32-23236" fmla="*/ 79942 h 5292022"/>
              <a:gd name="connsiteX33-23237" fmla="*/ 3741973 w 10693106"/>
              <a:gd name="connsiteY33-23238" fmla="*/ 86561 h 5292022"/>
              <a:gd name="connsiteX34-23239" fmla="*/ 3794678 w 10693106"/>
              <a:gd name="connsiteY34-23240" fmla="*/ 101321 h 5292022"/>
              <a:gd name="connsiteX35-23241" fmla="*/ 3833625 w 10693106"/>
              <a:gd name="connsiteY35-23242" fmla="*/ 110846 h 5292022"/>
              <a:gd name="connsiteX36-23243" fmla="*/ 3892487 w 10693106"/>
              <a:gd name="connsiteY36-23244" fmla="*/ 116984 h 5292022"/>
              <a:gd name="connsiteX37-23245" fmla="*/ 3933108 w 10693106"/>
              <a:gd name="connsiteY37-23246" fmla="*/ 128837 h 5292022"/>
              <a:gd name="connsiteX38-23247" fmla="*/ 3976923 w 10693106"/>
              <a:gd name="connsiteY38-23248" fmla="*/ 135187 h 5292022"/>
              <a:gd name="connsiteX39-23249" fmla="*/ 4021373 w 10693106"/>
              <a:gd name="connsiteY39-23250" fmla="*/ 144289 h 5292022"/>
              <a:gd name="connsiteX40-23251" fmla="*/ 4055240 w 10693106"/>
              <a:gd name="connsiteY40-23252" fmla="*/ 152756 h 5292022"/>
              <a:gd name="connsiteX41-23253" fmla="*/ 4275373 w 10693106"/>
              <a:gd name="connsiteY41-23254" fmla="*/ 195089 h 5292022"/>
              <a:gd name="connsiteX42-23255" fmla="*/ 4402373 w 10693106"/>
              <a:gd name="connsiteY42-23256" fmla="*/ 228956 h 5292022"/>
              <a:gd name="connsiteX43-23257" fmla="*/ 4529373 w 10693106"/>
              <a:gd name="connsiteY43-23258" fmla="*/ 271289 h 5292022"/>
              <a:gd name="connsiteX44-23259" fmla="*/ 4859573 w 10693106"/>
              <a:gd name="connsiteY44-23260" fmla="*/ 347489 h 5292022"/>
              <a:gd name="connsiteX45-23261" fmla="*/ 5045840 w 10693106"/>
              <a:gd name="connsiteY45-23262" fmla="*/ 423689 h 5292022"/>
              <a:gd name="connsiteX46-23263" fmla="*/ 5325240 w 10693106"/>
              <a:gd name="connsiteY46-23264" fmla="*/ 584556 h 5292022"/>
              <a:gd name="connsiteX47-23265" fmla="*/ 5494573 w 10693106"/>
              <a:gd name="connsiteY47-23266" fmla="*/ 736956 h 5292022"/>
              <a:gd name="connsiteX48-23267" fmla="*/ 5562306 w 10693106"/>
              <a:gd name="connsiteY48-23268" fmla="*/ 813156 h 5292022"/>
              <a:gd name="connsiteX49-23269" fmla="*/ 5621573 w 10693106"/>
              <a:gd name="connsiteY49-23270" fmla="*/ 863956 h 5292022"/>
              <a:gd name="connsiteX50-23271" fmla="*/ 5672373 w 10693106"/>
              <a:gd name="connsiteY50-23272" fmla="*/ 931689 h 5292022"/>
              <a:gd name="connsiteX51-23273" fmla="*/ 5757040 w 10693106"/>
              <a:gd name="connsiteY51-23274" fmla="*/ 1033289 h 5292022"/>
              <a:gd name="connsiteX52-23275" fmla="*/ 5833240 w 10693106"/>
              <a:gd name="connsiteY52-23276" fmla="*/ 1126422 h 5292022"/>
              <a:gd name="connsiteX53-23277" fmla="*/ 6763726 w 10693106"/>
              <a:gd name="connsiteY53-23278" fmla="*/ 1389312 h 5292022"/>
              <a:gd name="connsiteX54-23279" fmla="*/ 7314483 w 10693106"/>
              <a:gd name="connsiteY54-23280" fmla="*/ 1511656 h 5292022"/>
              <a:gd name="connsiteX55-23281" fmla="*/ 7742050 w 10693106"/>
              <a:gd name="connsiteY55-23282" fmla="*/ 1241146 h 5292022"/>
              <a:gd name="connsiteX56-23283" fmla="*/ 7704373 w 10693106"/>
              <a:gd name="connsiteY56-23284" fmla="*/ 1634422 h 5292022"/>
              <a:gd name="connsiteX57-23285" fmla="*/ 8009173 w 10693106"/>
              <a:gd name="connsiteY57-23286" fmla="*/ 1456622 h 5292022"/>
              <a:gd name="connsiteX58-23287" fmla="*/ 8652640 w 10693106"/>
              <a:gd name="connsiteY58-23288" fmla="*/ 677689 h 5292022"/>
              <a:gd name="connsiteX59-23289" fmla="*/ 8847373 w 10693106"/>
              <a:gd name="connsiteY59-23290" fmla="*/ 491422 h 5292022"/>
              <a:gd name="connsiteX60-23291" fmla="*/ 8982840 w 10693106"/>
              <a:gd name="connsiteY60-23292" fmla="*/ 398289 h 5292022"/>
              <a:gd name="connsiteX61-23293" fmla="*/ 9084440 w 10693106"/>
              <a:gd name="connsiteY61-23294" fmla="*/ 364422 h 5292022"/>
              <a:gd name="connsiteX62-23295" fmla="*/ 9152173 w 10693106"/>
              <a:gd name="connsiteY62-23296" fmla="*/ 339022 h 5292022"/>
              <a:gd name="connsiteX63-23297" fmla="*/ 9380773 w 10693106"/>
              <a:gd name="connsiteY63-23298" fmla="*/ 355956 h 5292022"/>
              <a:gd name="connsiteX64-23299" fmla="*/ 9744840 w 10693106"/>
              <a:gd name="connsiteY64-23300" fmla="*/ 466022 h 5292022"/>
              <a:gd name="connsiteX65-23301" fmla="*/ 9888773 w 10693106"/>
              <a:gd name="connsiteY65-23302" fmla="*/ 508356 h 5292022"/>
              <a:gd name="connsiteX66-23303" fmla="*/ 9998840 w 10693106"/>
              <a:gd name="connsiteY66-23304" fmla="*/ 559156 h 5292022"/>
              <a:gd name="connsiteX67-23305" fmla="*/ 10083506 w 10693106"/>
              <a:gd name="connsiteY67-23306" fmla="*/ 618422 h 5292022"/>
              <a:gd name="connsiteX68-23307" fmla="*/ 10286706 w 10693106"/>
              <a:gd name="connsiteY68-23308" fmla="*/ 686156 h 5292022"/>
              <a:gd name="connsiteX69-23309" fmla="*/ 10388306 w 10693106"/>
              <a:gd name="connsiteY69-23310" fmla="*/ 889356 h 5292022"/>
              <a:gd name="connsiteX70-23311" fmla="*/ 10540706 w 10693106"/>
              <a:gd name="connsiteY70-23312" fmla="*/ 1261889 h 5292022"/>
              <a:gd name="connsiteX71-23313" fmla="*/ 10557640 w 10693106"/>
              <a:gd name="connsiteY71-23314" fmla="*/ 1346556 h 5292022"/>
              <a:gd name="connsiteX72-23315" fmla="*/ 10583040 w 10693106"/>
              <a:gd name="connsiteY72-23316" fmla="*/ 1448156 h 5292022"/>
              <a:gd name="connsiteX73-23317" fmla="*/ 10616906 w 10693106"/>
              <a:gd name="connsiteY73-23318" fmla="*/ 1651356 h 5292022"/>
              <a:gd name="connsiteX74-23319" fmla="*/ 10633840 w 10693106"/>
              <a:gd name="connsiteY74-23320" fmla="*/ 1736022 h 5292022"/>
              <a:gd name="connsiteX75-23321" fmla="*/ 10650773 w 10693106"/>
              <a:gd name="connsiteY75-23322" fmla="*/ 1769889 h 5292022"/>
              <a:gd name="connsiteX76-23323" fmla="*/ 10676173 w 10693106"/>
              <a:gd name="connsiteY76-23324" fmla="*/ 1854556 h 5292022"/>
              <a:gd name="connsiteX77-23325" fmla="*/ 10693106 w 10693106"/>
              <a:gd name="connsiteY77-23326" fmla="*/ 2006956 h 5292022"/>
              <a:gd name="connsiteX78-23327" fmla="*/ 10625373 w 10693106"/>
              <a:gd name="connsiteY78-23328" fmla="*/ 2227089 h 5292022"/>
              <a:gd name="connsiteX79-23329" fmla="*/ 10608440 w 10693106"/>
              <a:gd name="connsiteY79-23330" fmla="*/ 2252489 h 5292022"/>
              <a:gd name="connsiteX80-23331" fmla="*/ 10540706 w 10693106"/>
              <a:gd name="connsiteY80-23332" fmla="*/ 2396422 h 5292022"/>
              <a:gd name="connsiteX81-23333" fmla="*/ 10498373 w 10693106"/>
              <a:gd name="connsiteY81-23334" fmla="*/ 2481089 h 5292022"/>
              <a:gd name="connsiteX82-23335" fmla="*/ 10439106 w 10693106"/>
              <a:gd name="connsiteY82-23336" fmla="*/ 2667356 h 5292022"/>
              <a:gd name="connsiteX83-23337" fmla="*/ 10430640 w 10693106"/>
              <a:gd name="connsiteY83-23338" fmla="*/ 2709689 h 5292022"/>
              <a:gd name="connsiteX84-23339" fmla="*/ 10405240 w 10693106"/>
              <a:gd name="connsiteY84-23340" fmla="*/ 2785889 h 5292022"/>
              <a:gd name="connsiteX85-23341" fmla="*/ 10396773 w 10693106"/>
              <a:gd name="connsiteY85-23342" fmla="*/ 2819756 h 5292022"/>
              <a:gd name="connsiteX86-23343" fmla="*/ 10362906 w 10693106"/>
              <a:gd name="connsiteY86-23344" fmla="*/ 2912889 h 5292022"/>
              <a:gd name="connsiteX87-23345" fmla="*/ 10329040 w 10693106"/>
              <a:gd name="connsiteY87-23346" fmla="*/ 2955222 h 5292022"/>
              <a:gd name="connsiteX88-23347" fmla="*/ 10227440 w 10693106"/>
              <a:gd name="connsiteY88-23348" fmla="*/ 3056822 h 5292022"/>
              <a:gd name="connsiteX89-23349" fmla="*/ 10168173 w 10693106"/>
              <a:gd name="connsiteY89-23350" fmla="*/ 3124556 h 5292022"/>
              <a:gd name="connsiteX90-23351" fmla="*/ 10117373 w 10693106"/>
              <a:gd name="connsiteY90-23352" fmla="*/ 3175356 h 5292022"/>
              <a:gd name="connsiteX91-23353" fmla="*/ 10032706 w 10693106"/>
              <a:gd name="connsiteY91-23354" fmla="*/ 3276956 h 5292022"/>
              <a:gd name="connsiteX92-23355" fmla="*/ 9948040 w 10693106"/>
              <a:gd name="connsiteY92-23356" fmla="*/ 3336222 h 5292022"/>
              <a:gd name="connsiteX93-23357" fmla="*/ 9905706 w 10693106"/>
              <a:gd name="connsiteY93-23358" fmla="*/ 3361622 h 5292022"/>
              <a:gd name="connsiteX94-23359" fmla="*/ 9829506 w 10693106"/>
              <a:gd name="connsiteY94-23360" fmla="*/ 3378556 h 5292022"/>
              <a:gd name="connsiteX95-23361" fmla="*/ 9727906 w 10693106"/>
              <a:gd name="connsiteY95-23362" fmla="*/ 3420889 h 5292022"/>
              <a:gd name="connsiteX96-23363" fmla="*/ 9634773 w 10693106"/>
              <a:gd name="connsiteY96-23364" fmla="*/ 3446289 h 5292022"/>
              <a:gd name="connsiteX97-23365" fmla="*/ 9456973 w 10693106"/>
              <a:gd name="connsiteY97-23366" fmla="*/ 3539422 h 5292022"/>
              <a:gd name="connsiteX98-23367" fmla="*/ 9313040 w 10693106"/>
              <a:gd name="connsiteY98-23368" fmla="*/ 3666422 h 5292022"/>
              <a:gd name="connsiteX99-23369" fmla="*/ 9279173 w 10693106"/>
              <a:gd name="connsiteY99-23370" fmla="*/ 3683356 h 5292022"/>
              <a:gd name="connsiteX100-23371" fmla="*/ 9067506 w 10693106"/>
              <a:gd name="connsiteY100-23372" fmla="*/ 3861156 h 5292022"/>
              <a:gd name="connsiteX101-23373" fmla="*/ 8999773 w 10693106"/>
              <a:gd name="connsiteY101-23374" fmla="*/ 3928889 h 5292022"/>
              <a:gd name="connsiteX102-23375" fmla="*/ 8813506 w 10693106"/>
              <a:gd name="connsiteY102-23376" fmla="*/ 4064356 h 5292022"/>
              <a:gd name="connsiteX103-23377" fmla="*/ 8728840 w 10693106"/>
              <a:gd name="connsiteY103-23378" fmla="*/ 4106689 h 5292022"/>
              <a:gd name="connsiteX104-23379" fmla="*/ 8373240 w 10693106"/>
              <a:gd name="connsiteY104-23380" fmla="*/ 4140556 h 5292022"/>
              <a:gd name="connsiteX105-23381" fmla="*/ 7966840 w 10693106"/>
              <a:gd name="connsiteY105-23382" fmla="*/ 4233689 h 5292022"/>
              <a:gd name="connsiteX106-23383" fmla="*/ 7687440 w 10693106"/>
              <a:gd name="connsiteY106-23384" fmla="*/ 4394556 h 5292022"/>
              <a:gd name="connsiteX107-23385" fmla="*/ 7551973 w 10693106"/>
              <a:gd name="connsiteY107-23386" fmla="*/ 4479222 h 5292022"/>
              <a:gd name="connsiteX108-23387" fmla="*/ 7374173 w 10693106"/>
              <a:gd name="connsiteY108-23388" fmla="*/ 4657022 h 5292022"/>
              <a:gd name="connsiteX109-23389" fmla="*/ 7374173 w 10693106"/>
              <a:gd name="connsiteY109-23390" fmla="*/ 4657022 h 5292022"/>
              <a:gd name="connsiteX110-23391" fmla="*/ 7221773 w 10693106"/>
              <a:gd name="connsiteY110-23392" fmla="*/ 4775556 h 5292022"/>
              <a:gd name="connsiteX111-23393" fmla="*/ 7027040 w 10693106"/>
              <a:gd name="connsiteY111-23394" fmla="*/ 4902556 h 5292022"/>
              <a:gd name="connsiteX112-23395" fmla="*/ 6883106 w 10693106"/>
              <a:gd name="connsiteY112-23396" fmla="*/ 4970289 h 5292022"/>
              <a:gd name="connsiteX113-23397" fmla="*/ 6815373 w 10693106"/>
              <a:gd name="connsiteY113-23398" fmla="*/ 5012622 h 5292022"/>
              <a:gd name="connsiteX114-23399" fmla="*/ 6646040 w 10693106"/>
              <a:gd name="connsiteY114-23400" fmla="*/ 5105756 h 5292022"/>
              <a:gd name="connsiteX115-23401" fmla="*/ 6527506 w 10693106"/>
              <a:gd name="connsiteY115-23402" fmla="*/ 5165022 h 5292022"/>
              <a:gd name="connsiteX116-23403" fmla="*/ 6298906 w 10693106"/>
              <a:gd name="connsiteY116-23404" fmla="*/ 5241222 h 5292022"/>
              <a:gd name="connsiteX117-23405" fmla="*/ 6197306 w 10693106"/>
              <a:gd name="connsiteY117-23406" fmla="*/ 5266622 h 5292022"/>
              <a:gd name="connsiteX118-23407" fmla="*/ 6061840 w 10693106"/>
              <a:gd name="connsiteY118-23408" fmla="*/ 5275089 h 5292022"/>
              <a:gd name="connsiteX119-23409" fmla="*/ 5917906 w 10693106"/>
              <a:gd name="connsiteY119-23410" fmla="*/ 5292022 h 5292022"/>
              <a:gd name="connsiteX120-23411" fmla="*/ 5748573 w 10693106"/>
              <a:gd name="connsiteY120-23412" fmla="*/ 5283556 h 5292022"/>
              <a:gd name="connsiteX121-23413" fmla="*/ 5282906 w 10693106"/>
              <a:gd name="connsiteY121-23414" fmla="*/ 5173489 h 5292022"/>
              <a:gd name="connsiteX122-23415" fmla="*/ 5138973 w 10693106"/>
              <a:gd name="connsiteY122-23416" fmla="*/ 5071889 h 5292022"/>
              <a:gd name="connsiteX123-23417" fmla="*/ 4959480 w 10693106"/>
              <a:gd name="connsiteY123-23418" fmla="*/ 4988069 h 5292022"/>
              <a:gd name="connsiteX124-23419" fmla="*/ 4842216 w 10693106"/>
              <a:gd name="connsiteY124-23420" fmla="*/ 4953779 h 5292022"/>
              <a:gd name="connsiteX125-23421" fmla="*/ 4797343 w 10693106"/>
              <a:gd name="connsiteY125-23422" fmla="*/ 4878426 h 5292022"/>
              <a:gd name="connsiteX126-23423" fmla="*/ 4686853 w 10693106"/>
              <a:gd name="connsiteY126-23424" fmla="*/ 4788256 h 5292022"/>
              <a:gd name="connsiteX127-23425" fmla="*/ 4536146 w 10693106"/>
              <a:gd name="connsiteY127-23426" fmla="*/ 4712902 h 5292022"/>
              <a:gd name="connsiteX128-23427" fmla="*/ 4365120 w 10693106"/>
              <a:gd name="connsiteY128-23428" fmla="*/ 4616382 h 5292022"/>
              <a:gd name="connsiteX129-23429" fmla="*/ 4187743 w 10693106"/>
              <a:gd name="connsiteY129-23430" fmla="*/ 4521556 h 5292022"/>
              <a:gd name="connsiteX130-23431" fmla="*/ 4125936 w 10693106"/>
              <a:gd name="connsiteY130-23432" fmla="*/ 4386724 h 5292022"/>
              <a:gd name="connsiteX131-23433" fmla="*/ 3995973 w 10693106"/>
              <a:gd name="connsiteY131-23434" fmla="*/ 4232419 h 5292022"/>
              <a:gd name="connsiteX132-23435" fmla="*/ 3962530 w 10693106"/>
              <a:gd name="connsiteY132-23436" fmla="*/ 4135052 h 5292022"/>
              <a:gd name="connsiteX133-23437" fmla="*/ 3895643 w 10693106"/>
              <a:gd name="connsiteY133-23438" fmla="*/ 4059699 h 5292022"/>
              <a:gd name="connsiteX134-23439" fmla="*/ 3919773 w 10693106"/>
              <a:gd name="connsiteY134-23440" fmla="*/ 3920422 h 5292022"/>
              <a:gd name="connsiteX135-23441" fmla="*/ 3877440 w 10693106"/>
              <a:gd name="connsiteY135-23442" fmla="*/ 3624089 h 5292022"/>
              <a:gd name="connsiteX136-23443" fmla="*/ 3852040 w 10693106"/>
              <a:gd name="connsiteY136-23444" fmla="*/ 3530956 h 5292022"/>
              <a:gd name="connsiteX137-23445" fmla="*/ 3801240 w 10693106"/>
              <a:gd name="connsiteY137-23446" fmla="*/ 3420889 h 5292022"/>
              <a:gd name="connsiteX138-23447" fmla="*/ 3733506 w 10693106"/>
              <a:gd name="connsiteY138-23448" fmla="*/ 3319289 h 5292022"/>
              <a:gd name="connsiteX139-23449" fmla="*/ 3242440 w 10693106"/>
              <a:gd name="connsiteY139-23450" fmla="*/ 3099156 h 5292022"/>
              <a:gd name="connsiteX140-23451" fmla="*/ 3123906 w 10693106"/>
              <a:gd name="connsiteY140-23452" fmla="*/ 2997556 h 5292022"/>
              <a:gd name="connsiteX141-23453" fmla="*/ 2988440 w 10693106"/>
              <a:gd name="connsiteY141-23454" fmla="*/ 2802822 h 5292022"/>
              <a:gd name="connsiteX142-23455" fmla="*/ 2971506 w 10693106"/>
              <a:gd name="connsiteY142-23456" fmla="*/ 2743556 h 5292022"/>
              <a:gd name="connsiteX143-23457" fmla="*/ 2996906 w 10693106"/>
              <a:gd name="connsiteY143-23458" fmla="*/ 2531889 h 5292022"/>
              <a:gd name="connsiteX144-23459" fmla="*/ 3013840 w 10693106"/>
              <a:gd name="connsiteY144-23460" fmla="*/ 2430289 h 5292022"/>
              <a:gd name="connsiteX145-23461" fmla="*/ 3005373 w 10693106"/>
              <a:gd name="connsiteY145-23462" fmla="*/ 2311756 h 5292022"/>
              <a:gd name="connsiteX146-23463" fmla="*/ 2988440 w 10693106"/>
              <a:gd name="connsiteY146-23464" fmla="*/ 2260956 h 5292022"/>
              <a:gd name="connsiteX147-23465" fmla="*/ 2802173 w 10693106"/>
              <a:gd name="connsiteY147-23466" fmla="*/ 2006956 h 5292022"/>
              <a:gd name="connsiteX148-23467" fmla="*/ 2641306 w 10693106"/>
              <a:gd name="connsiteY148-23468" fmla="*/ 1863022 h 5292022"/>
              <a:gd name="connsiteX149-23469" fmla="*/ 2590506 w 10693106"/>
              <a:gd name="connsiteY149-23470" fmla="*/ 1837622 h 5292022"/>
              <a:gd name="connsiteX150-23471" fmla="*/ 2531240 w 10693106"/>
              <a:gd name="connsiteY150-23472" fmla="*/ 1829156 h 5292022"/>
              <a:gd name="connsiteX151-23473" fmla="*/ 2446573 w 10693106"/>
              <a:gd name="connsiteY151-23474" fmla="*/ 1812222 h 5292022"/>
              <a:gd name="connsiteX152-23475" fmla="*/ 2251840 w 10693106"/>
              <a:gd name="connsiteY152-23476" fmla="*/ 1837622 h 5292022"/>
              <a:gd name="connsiteX153-23477" fmla="*/ 2167173 w 10693106"/>
              <a:gd name="connsiteY153-23478" fmla="*/ 1879956 h 5292022"/>
              <a:gd name="connsiteX154-23479" fmla="*/ 1980906 w 10693106"/>
              <a:gd name="connsiteY154-23480" fmla="*/ 1939222 h 5292022"/>
              <a:gd name="connsiteX155-23481" fmla="*/ 1904706 w 10693106"/>
              <a:gd name="connsiteY155-23482" fmla="*/ 1973089 h 5292022"/>
              <a:gd name="connsiteX156-23483" fmla="*/ 1828506 w 10693106"/>
              <a:gd name="connsiteY156-23484" fmla="*/ 1990022 h 5292022"/>
              <a:gd name="connsiteX157-23485" fmla="*/ 1726906 w 10693106"/>
              <a:gd name="connsiteY157-23486" fmla="*/ 2040822 h 5292022"/>
              <a:gd name="connsiteX158-23487" fmla="*/ 1659173 w 10693106"/>
              <a:gd name="connsiteY158-23488" fmla="*/ 2074689 h 5292022"/>
              <a:gd name="connsiteX159-23489" fmla="*/ 1498306 w 10693106"/>
              <a:gd name="connsiteY159-23490" fmla="*/ 2100089 h 5292022"/>
              <a:gd name="connsiteX160-23491" fmla="*/ 914106 w 10693106"/>
              <a:gd name="connsiteY160-23492" fmla="*/ 2032356 h 5292022"/>
              <a:gd name="connsiteX161-23493" fmla="*/ 617773 w 10693106"/>
              <a:gd name="connsiteY161-23494" fmla="*/ 1922289 h 5292022"/>
              <a:gd name="connsiteX162-23495" fmla="*/ 516173 w 10693106"/>
              <a:gd name="connsiteY162-23496" fmla="*/ 1837622 h 5292022"/>
              <a:gd name="connsiteX163-23497" fmla="*/ 355306 w 10693106"/>
              <a:gd name="connsiteY163-23498" fmla="*/ 1625956 h 5292022"/>
              <a:gd name="connsiteX164-23499" fmla="*/ 296040 w 10693106"/>
              <a:gd name="connsiteY164-23500" fmla="*/ 1524356 h 5292022"/>
              <a:gd name="connsiteX165-23501" fmla="*/ 253706 w 10693106"/>
              <a:gd name="connsiteY165-23502" fmla="*/ 1346556 h 5292022"/>
              <a:gd name="connsiteX166-23503" fmla="*/ 245240 w 10693106"/>
              <a:gd name="connsiteY166-23504" fmla="*/ 1219556 h 5292022"/>
              <a:gd name="connsiteX167-23505" fmla="*/ 236773 w 10693106"/>
              <a:gd name="connsiteY167-23506" fmla="*/ 1117956 h 5292022"/>
              <a:gd name="connsiteX168-23507" fmla="*/ 245240 w 10693106"/>
              <a:gd name="connsiteY168-23508" fmla="*/ 847022 h 5292022"/>
              <a:gd name="connsiteX169-23509" fmla="*/ 236773 w 10693106"/>
              <a:gd name="connsiteY169-23510" fmla="*/ 703089 h 5292022"/>
              <a:gd name="connsiteX170-23511" fmla="*/ 109773 w 10693106"/>
              <a:gd name="connsiteY170-23512" fmla="*/ 559156 h 5292022"/>
              <a:gd name="connsiteX171-23513" fmla="*/ 58973 w 10693106"/>
              <a:gd name="connsiteY171-23514" fmla="*/ 482956 h 5292022"/>
              <a:gd name="connsiteX172-23515" fmla="*/ 16640 w 10693106"/>
              <a:gd name="connsiteY172-23516" fmla="*/ 432156 h 5292022"/>
              <a:gd name="connsiteX173-23517" fmla="*/ 8173 w 10693106"/>
              <a:gd name="connsiteY173-23518" fmla="*/ 389822 h 5292022"/>
              <a:gd name="connsiteX174-23519" fmla="*/ 16640 w 10693106"/>
              <a:gd name="connsiteY174-23520" fmla="*/ 339022 h 5292022"/>
              <a:gd name="connsiteX0-23521" fmla="*/ 16640 w 10693106"/>
              <a:gd name="connsiteY0-23522" fmla="*/ 339022 h 5292022"/>
              <a:gd name="connsiteX1-23523" fmla="*/ 58973 w 10693106"/>
              <a:gd name="connsiteY1-23524" fmla="*/ 245889 h 5292022"/>
              <a:gd name="connsiteX2-23525" fmla="*/ 109773 w 10693106"/>
              <a:gd name="connsiteY2-23526" fmla="*/ 178156 h 5292022"/>
              <a:gd name="connsiteX3-23527" fmla="*/ 202906 w 10693106"/>
              <a:gd name="connsiteY3-23528" fmla="*/ 93489 h 5292022"/>
              <a:gd name="connsiteX4-23529" fmla="*/ 236773 w 10693106"/>
              <a:gd name="connsiteY4-23530" fmla="*/ 68089 h 5292022"/>
              <a:gd name="connsiteX5-23531" fmla="*/ 335410 w 10693106"/>
              <a:gd name="connsiteY5-23532" fmla="*/ 58352 h 5292022"/>
              <a:gd name="connsiteX6-23533" fmla="*/ 382400 w 10693106"/>
              <a:gd name="connsiteY6-23534" fmla="*/ 51156 h 5292022"/>
              <a:gd name="connsiteX7-23535" fmla="*/ 434912 w 10693106"/>
              <a:gd name="connsiteY7-23536" fmla="*/ 70071 h 5292022"/>
              <a:gd name="connsiteX8-23537" fmla="*/ 492697 w 10693106"/>
              <a:gd name="connsiteY8-23538" fmla="*/ 74247 h 5292022"/>
              <a:gd name="connsiteX9-23539" fmla="*/ 822897 w 10693106"/>
              <a:gd name="connsiteY9-23540" fmla="*/ 82713 h 5292022"/>
              <a:gd name="connsiteX10-23541" fmla="*/ 1091906 w 10693106"/>
              <a:gd name="connsiteY10-23542" fmla="*/ 356 h 5292022"/>
              <a:gd name="connsiteX11-23543" fmla="*/ 1235840 w 10693106"/>
              <a:gd name="connsiteY11-23544" fmla="*/ 59622 h 5292022"/>
              <a:gd name="connsiteX12-23545" fmla="*/ 1337440 w 10693106"/>
              <a:gd name="connsiteY12-23546" fmla="*/ 135822 h 5292022"/>
              <a:gd name="connsiteX13-23547" fmla="*/ 1422106 w 10693106"/>
              <a:gd name="connsiteY13-23548" fmla="*/ 245889 h 5292022"/>
              <a:gd name="connsiteX14-23549" fmla="*/ 1481373 w 10693106"/>
              <a:gd name="connsiteY14-23550" fmla="*/ 313622 h 5292022"/>
              <a:gd name="connsiteX15-23551" fmla="*/ 1532173 w 10693106"/>
              <a:gd name="connsiteY15-23552" fmla="*/ 347489 h 5292022"/>
              <a:gd name="connsiteX16-23553" fmla="*/ 1684573 w 10693106"/>
              <a:gd name="connsiteY16-23554" fmla="*/ 406756 h 5292022"/>
              <a:gd name="connsiteX17-23555" fmla="*/ 1760773 w 10693106"/>
              <a:gd name="connsiteY17-23556" fmla="*/ 423689 h 5292022"/>
              <a:gd name="connsiteX18-23557" fmla="*/ 1997840 w 10693106"/>
              <a:gd name="connsiteY18-23558" fmla="*/ 415222 h 5292022"/>
              <a:gd name="connsiteX19-23559" fmla="*/ 2116373 w 10693106"/>
              <a:gd name="connsiteY19-23560" fmla="*/ 398289 h 5292022"/>
              <a:gd name="connsiteX20-23561" fmla="*/ 2260306 w 10693106"/>
              <a:gd name="connsiteY20-23562" fmla="*/ 381356 h 5292022"/>
              <a:gd name="connsiteX21-23563" fmla="*/ 2404240 w 10693106"/>
              <a:gd name="connsiteY21-23564" fmla="*/ 355956 h 5292022"/>
              <a:gd name="connsiteX22-23565" fmla="*/ 2455040 w 10693106"/>
              <a:gd name="connsiteY22-23566" fmla="*/ 330556 h 5292022"/>
              <a:gd name="connsiteX23-23567" fmla="*/ 2531240 w 10693106"/>
              <a:gd name="connsiteY23-23568" fmla="*/ 305156 h 5292022"/>
              <a:gd name="connsiteX24-23569" fmla="*/ 2649350 w 10693106"/>
              <a:gd name="connsiteY24-23570" fmla="*/ 225781 h 5292022"/>
              <a:gd name="connsiteX25-23571" fmla="*/ 2742906 w 10693106"/>
              <a:gd name="connsiteY25-23572" fmla="*/ 186622 h 5292022"/>
              <a:gd name="connsiteX26-23573" fmla="*/ 2764920 w 10693106"/>
              <a:gd name="connsiteY26-23574" fmla="*/ 173076 h 5292022"/>
              <a:gd name="connsiteX27-23575" fmla="*/ 2832653 w 10693106"/>
              <a:gd name="connsiteY27-23576" fmla="*/ 167996 h 5292022"/>
              <a:gd name="connsiteX28-23577" fmla="*/ 3002294 w 10693106"/>
              <a:gd name="connsiteY28-23578" fmla="*/ 154680 h 5292022"/>
              <a:gd name="connsiteX29-23579" fmla="*/ 3142763 w 10693106"/>
              <a:gd name="connsiteY29-23580" fmla="*/ 110421 h 5292022"/>
              <a:gd name="connsiteX30-23581" fmla="*/ 3398918 w 10693106"/>
              <a:gd name="connsiteY30-23582" fmla="*/ 72322 h 5292022"/>
              <a:gd name="connsiteX31-23583" fmla="*/ 3606506 w 10693106"/>
              <a:gd name="connsiteY31-23584" fmla="*/ 60393 h 5292022"/>
              <a:gd name="connsiteX32-23585" fmla="*/ 3682706 w 10693106"/>
              <a:gd name="connsiteY32-23586" fmla="*/ 79942 h 5292022"/>
              <a:gd name="connsiteX33-23587" fmla="*/ 3741973 w 10693106"/>
              <a:gd name="connsiteY33-23588" fmla="*/ 86561 h 5292022"/>
              <a:gd name="connsiteX34-23589" fmla="*/ 3794678 w 10693106"/>
              <a:gd name="connsiteY34-23590" fmla="*/ 101321 h 5292022"/>
              <a:gd name="connsiteX35-23591" fmla="*/ 3833625 w 10693106"/>
              <a:gd name="connsiteY35-23592" fmla="*/ 110846 h 5292022"/>
              <a:gd name="connsiteX36-23593" fmla="*/ 3892487 w 10693106"/>
              <a:gd name="connsiteY36-23594" fmla="*/ 116984 h 5292022"/>
              <a:gd name="connsiteX37-23595" fmla="*/ 3933108 w 10693106"/>
              <a:gd name="connsiteY37-23596" fmla="*/ 128837 h 5292022"/>
              <a:gd name="connsiteX38-23597" fmla="*/ 3976923 w 10693106"/>
              <a:gd name="connsiteY38-23598" fmla="*/ 135187 h 5292022"/>
              <a:gd name="connsiteX39-23599" fmla="*/ 4021373 w 10693106"/>
              <a:gd name="connsiteY39-23600" fmla="*/ 144289 h 5292022"/>
              <a:gd name="connsiteX40-23601" fmla="*/ 4055240 w 10693106"/>
              <a:gd name="connsiteY40-23602" fmla="*/ 152756 h 5292022"/>
              <a:gd name="connsiteX41-23603" fmla="*/ 4275373 w 10693106"/>
              <a:gd name="connsiteY41-23604" fmla="*/ 195089 h 5292022"/>
              <a:gd name="connsiteX42-23605" fmla="*/ 4402373 w 10693106"/>
              <a:gd name="connsiteY42-23606" fmla="*/ 228956 h 5292022"/>
              <a:gd name="connsiteX43-23607" fmla="*/ 4529373 w 10693106"/>
              <a:gd name="connsiteY43-23608" fmla="*/ 271289 h 5292022"/>
              <a:gd name="connsiteX44-23609" fmla="*/ 4859573 w 10693106"/>
              <a:gd name="connsiteY44-23610" fmla="*/ 347489 h 5292022"/>
              <a:gd name="connsiteX45-23611" fmla="*/ 5045840 w 10693106"/>
              <a:gd name="connsiteY45-23612" fmla="*/ 423689 h 5292022"/>
              <a:gd name="connsiteX46-23613" fmla="*/ 5325240 w 10693106"/>
              <a:gd name="connsiteY46-23614" fmla="*/ 584556 h 5292022"/>
              <a:gd name="connsiteX47-23615" fmla="*/ 5494573 w 10693106"/>
              <a:gd name="connsiteY47-23616" fmla="*/ 736956 h 5292022"/>
              <a:gd name="connsiteX48-23617" fmla="*/ 5562306 w 10693106"/>
              <a:gd name="connsiteY48-23618" fmla="*/ 813156 h 5292022"/>
              <a:gd name="connsiteX49-23619" fmla="*/ 5621573 w 10693106"/>
              <a:gd name="connsiteY49-23620" fmla="*/ 863956 h 5292022"/>
              <a:gd name="connsiteX50-23621" fmla="*/ 5672373 w 10693106"/>
              <a:gd name="connsiteY50-23622" fmla="*/ 931689 h 5292022"/>
              <a:gd name="connsiteX51-23623" fmla="*/ 5757040 w 10693106"/>
              <a:gd name="connsiteY51-23624" fmla="*/ 1033289 h 5292022"/>
              <a:gd name="connsiteX52-23625" fmla="*/ 5833240 w 10693106"/>
              <a:gd name="connsiteY52-23626" fmla="*/ 1126422 h 5292022"/>
              <a:gd name="connsiteX53-23627" fmla="*/ 6763726 w 10693106"/>
              <a:gd name="connsiteY53-23628" fmla="*/ 1389312 h 5292022"/>
              <a:gd name="connsiteX54-23629" fmla="*/ 7314483 w 10693106"/>
              <a:gd name="connsiteY54-23630" fmla="*/ 1511656 h 5292022"/>
              <a:gd name="connsiteX55-23631" fmla="*/ 7742050 w 10693106"/>
              <a:gd name="connsiteY55-23632" fmla="*/ 1241146 h 5292022"/>
              <a:gd name="connsiteX56-23633" fmla="*/ 8009173 w 10693106"/>
              <a:gd name="connsiteY56-23634" fmla="*/ 1456622 h 5292022"/>
              <a:gd name="connsiteX57-23635" fmla="*/ 8652640 w 10693106"/>
              <a:gd name="connsiteY57-23636" fmla="*/ 677689 h 5292022"/>
              <a:gd name="connsiteX58-23637" fmla="*/ 8847373 w 10693106"/>
              <a:gd name="connsiteY58-23638" fmla="*/ 491422 h 5292022"/>
              <a:gd name="connsiteX59-23639" fmla="*/ 8982840 w 10693106"/>
              <a:gd name="connsiteY59-23640" fmla="*/ 398289 h 5292022"/>
              <a:gd name="connsiteX60-23641" fmla="*/ 9084440 w 10693106"/>
              <a:gd name="connsiteY60-23642" fmla="*/ 364422 h 5292022"/>
              <a:gd name="connsiteX61-23643" fmla="*/ 9152173 w 10693106"/>
              <a:gd name="connsiteY61-23644" fmla="*/ 339022 h 5292022"/>
              <a:gd name="connsiteX62-23645" fmla="*/ 9380773 w 10693106"/>
              <a:gd name="connsiteY62-23646" fmla="*/ 355956 h 5292022"/>
              <a:gd name="connsiteX63-23647" fmla="*/ 9744840 w 10693106"/>
              <a:gd name="connsiteY63-23648" fmla="*/ 466022 h 5292022"/>
              <a:gd name="connsiteX64-23649" fmla="*/ 9888773 w 10693106"/>
              <a:gd name="connsiteY64-23650" fmla="*/ 508356 h 5292022"/>
              <a:gd name="connsiteX65-23651" fmla="*/ 9998840 w 10693106"/>
              <a:gd name="connsiteY65-23652" fmla="*/ 559156 h 5292022"/>
              <a:gd name="connsiteX66-23653" fmla="*/ 10083506 w 10693106"/>
              <a:gd name="connsiteY66-23654" fmla="*/ 618422 h 5292022"/>
              <a:gd name="connsiteX67-23655" fmla="*/ 10286706 w 10693106"/>
              <a:gd name="connsiteY67-23656" fmla="*/ 686156 h 5292022"/>
              <a:gd name="connsiteX68-23657" fmla="*/ 10388306 w 10693106"/>
              <a:gd name="connsiteY68-23658" fmla="*/ 889356 h 5292022"/>
              <a:gd name="connsiteX69-23659" fmla="*/ 10540706 w 10693106"/>
              <a:gd name="connsiteY69-23660" fmla="*/ 1261889 h 5292022"/>
              <a:gd name="connsiteX70-23661" fmla="*/ 10557640 w 10693106"/>
              <a:gd name="connsiteY70-23662" fmla="*/ 1346556 h 5292022"/>
              <a:gd name="connsiteX71-23663" fmla="*/ 10583040 w 10693106"/>
              <a:gd name="connsiteY71-23664" fmla="*/ 1448156 h 5292022"/>
              <a:gd name="connsiteX72-23665" fmla="*/ 10616906 w 10693106"/>
              <a:gd name="connsiteY72-23666" fmla="*/ 1651356 h 5292022"/>
              <a:gd name="connsiteX73-23667" fmla="*/ 10633840 w 10693106"/>
              <a:gd name="connsiteY73-23668" fmla="*/ 1736022 h 5292022"/>
              <a:gd name="connsiteX74-23669" fmla="*/ 10650773 w 10693106"/>
              <a:gd name="connsiteY74-23670" fmla="*/ 1769889 h 5292022"/>
              <a:gd name="connsiteX75-23671" fmla="*/ 10676173 w 10693106"/>
              <a:gd name="connsiteY75-23672" fmla="*/ 1854556 h 5292022"/>
              <a:gd name="connsiteX76-23673" fmla="*/ 10693106 w 10693106"/>
              <a:gd name="connsiteY76-23674" fmla="*/ 2006956 h 5292022"/>
              <a:gd name="connsiteX77-23675" fmla="*/ 10625373 w 10693106"/>
              <a:gd name="connsiteY77-23676" fmla="*/ 2227089 h 5292022"/>
              <a:gd name="connsiteX78-23677" fmla="*/ 10608440 w 10693106"/>
              <a:gd name="connsiteY78-23678" fmla="*/ 2252489 h 5292022"/>
              <a:gd name="connsiteX79-23679" fmla="*/ 10540706 w 10693106"/>
              <a:gd name="connsiteY79-23680" fmla="*/ 2396422 h 5292022"/>
              <a:gd name="connsiteX80-23681" fmla="*/ 10498373 w 10693106"/>
              <a:gd name="connsiteY80-23682" fmla="*/ 2481089 h 5292022"/>
              <a:gd name="connsiteX81-23683" fmla="*/ 10439106 w 10693106"/>
              <a:gd name="connsiteY81-23684" fmla="*/ 2667356 h 5292022"/>
              <a:gd name="connsiteX82-23685" fmla="*/ 10430640 w 10693106"/>
              <a:gd name="connsiteY82-23686" fmla="*/ 2709689 h 5292022"/>
              <a:gd name="connsiteX83-23687" fmla="*/ 10405240 w 10693106"/>
              <a:gd name="connsiteY83-23688" fmla="*/ 2785889 h 5292022"/>
              <a:gd name="connsiteX84-23689" fmla="*/ 10396773 w 10693106"/>
              <a:gd name="connsiteY84-23690" fmla="*/ 2819756 h 5292022"/>
              <a:gd name="connsiteX85-23691" fmla="*/ 10362906 w 10693106"/>
              <a:gd name="connsiteY85-23692" fmla="*/ 2912889 h 5292022"/>
              <a:gd name="connsiteX86-23693" fmla="*/ 10329040 w 10693106"/>
              <a:gd name="connsiteY86-23694" fmla="*/ 2955222 h 5292022"/>
              <a:gd name="connsiteX87-23695" fmla="*/ 10227440 w 10693106"/>
              <a:gd name="connsiteY87-23696" fmla="*/ 3056822 h 5292022"/>
              <a:gd name="connsiteX88-23697" fmla="*/ 10168173 w 10693106"/>
              <a:gd name="connsiteY88-23698" fmla="*/ 3124556 h 5292022"/>
              <a:gd name="connsiteX89-23699" fmla="*/ 10117373 w 10693106"/>
              <a:gd name="connsiteY89-23700" fmla="*/ 3175356 h 5292022"/>
              <a:gd name="connsiteX90-23701" fmla="*/ 10032706 w 10693106"/>
              <a:gd name="connsiteY90-23702" fmla="*/ 3276956 h 5292022"/>
              <a:gd name="connsiteX91-23703" fmla="*/ 9948040 w 10693106"/>
              <a:gd name="connsiteY91-23704" fmla="*/ 3336222 h 5292022"/>
              <a:gd name="connsiteX92-23705" fmla="*/ 9905706 w 10693106"/>
              <a:gd name="connsiteY92-23706" fmla="*/ 3361622 h 5292022"/>
              <a:gd name="connsiteX93-23707" fmla="*/ 9829506 w 10693106"/>
              <a:gd name="connsiteY93-23708" fmla="*/ 3378556 h 5292022"/>
              <a:gd name="connsiteX94-23709" fmla="*/ 9727906 w 10693106"/>
              <a:gd name="connsiteY94-23710" fmla="*/ 3420889 h 5292022"/>
              <a:gd name="connsiteX95-23711" fmla="*/ 9634773 w 10693106"/>
              <a:gd name="connsiteY95-23712" fmla="*/ 3446289 h 5292022"/>
              <a:gd name="connsiteX96-23713" fmla="*/ 9456973 w 10693106"/>
              <a:gd name="connsiteY96-23714" fmla="*/ 3539422 h 5292022"/>
              <a:gd name="connsiteX97-23715" fmla="*/ 9313040 w 10693106"/>
              <a:gd name="connsiteY97-23716" fmla="*/ 3666422 h 5292022"/>
              <a:gd name="connsiteX98-23717" fmla="*/ 9279173 w 10693106"/>
              <a:gd name="connsiteY98-23718" fmla="*/ 3683356 h 5292022"/>
              <a:gd name="connsiteX99-23719" fmla="*/ 9067506 w 10693106"/>
              <a:gd name="connsiteY99-23720" fmla="*/ 3861156 h 5292022"/>
              <a:gd name="connsiteX100-23721" fmla="*/ 8999773 w 10693106"/>
              <a:gd name="connsiteY100-23722" fmla="*/ 3928889 h 5292022"/>
              <a:gd name="connsiteX101-23723" fmla="*/ 8813506 w 10693106"/>
              <a:gd name="connsiteY101-23724" fmla="*/ 4064356 h 5292022"/>
              <a:gd name="connsiteX102-23725" fmla="*/ 8728840 w 10693106"/>
              <a:gd name="connsiteY102-23726" fmla="*/ 4106689 h 5292022"/>
              <a:gd name="connsiteX103-23727" fmla="*/ 8373240 w 10693106"/>
              <a:gd name="connsiteY103-23728" fmla="*/ 4140556 h 5292022"/>
              <a:gd name="connsiteX104-23729" fmla="*/ 7966840 w 10693106"/>
              <a:gd name="connsiteY104-23730" fmla="*/ 4233689 h 5292022"/>
              <a:gd name="connsiteX105-23731" fmla="*/ 7687440 w 10693106"/>
              <a:gd name="connsiteY105-23732" fmla="*/ 4394556 h 5292022"/>
              <a:gd name="connsiteX106-23733" fmla="*/ 7551973 w 10693106"/>
              <a:gd name="connsiteY106-23734" fmla="*/ 4479222 h 5292022"/>
              <a:gd name="connsiteX107-23735" fmla="*/ 7374173 w 10693106"/>
              <a:gd name="connsiteY107-23736" fmla="*/ 4657022 h 5292022"/>
              <a:gd name="connsiteX108-23737" fmla="*/ 7374173 w 10693106"/>
              <a:gd name="connsiteY108-23738" fmla="*/ 4657022 h 5292022"/>
              <a:gd name="connsiteX109-23739" fmla="*/ 7221773 w 10693106"/>
              <a:gd name="connsiteY109-23740" fmla="*/ 4775556 h 5292022"/>
              <a:gd name="connsiteX110-23741" fmla="*/ 7027040 w 10693106"/>
              <a:gd name="connsiteY110-23742" fmla="*/ 4902556 h 5292022"/>
              <a:gd name="connsiteX111-23743" fmla="*/ 6883106 w 10693106"/>
              <a:gd name="connsiteY111-23744" fmla="*/ 4970289 h 5292022"/>
              <a:gd name="connsiteX112-23745" fmla="*/ 6815373 w 10693106"/>
              <a:gd name="connsiteY112-23746" fmla="*/ 5012622 h 5292022"/>
              <a:gd name="connsiteX113-23747" fmla="*/ 6646040 w 10693106"/>
              <a:gd name="connsiteY113-23748" fmla="*/ 5105756 h 5292022"/>
              <a:gd name="connsiteX114-23749" fmla="*/ 6527506 w 10693106"/>
              <a:gd name="connsiteY114-23750" fmla="*/ 5165022 h 5292022"/>
              <a:gd name="connsiteX115-23751" fmla="*/ 6298906 w 10693106"/>
              <a:gd name="connsiteY115-23752" fmla="*/ 5241222 h 5292022"/>
              <a:gd name="connsiteX116-23753" fmla="*/ 6197306 w 10693106"/>
              <a:gd name="connsiteY116-23754" fmla="*/ 5266622 h 5292022"/>
              <a:gd name="connsiteX117-23755" fmla="*/ 6061840 w 10693106"/>
              <a:gd name="connsiteY117-23756" fmla="*/ 5275089 h 5292022"/>
              <a:gd name="connsiteX118-23757" fmla="*/ 5917906 w 10693106"/>
              <a:gd name="connsiteY118-23758" fmla="*/ 5292022 h 5292022"/>
              <a:gd name="connsiteX119-23759" fmla="*/ 5748573 w 10693106"/>
              <a:gd name="connsiteY119-23760" fmla="*/ 5283556 h 5292022"/>
              <a:gd name="connsiteX120-23761" fmla="*/ 5282906 w 10693106"/>
              <a:gd name="connsiteY120-23762" fmla="*/ 5173489 h 5292022"/>
              <a:gd name="connsiteX121-23763" fmla="*/ 5138973 w 10693106"/>
              <a:gd name="connsiteY121-23764" fmla="*/ 5071889 h 5292022"/>
              <a:gd name="connsiteX122-23765" fmla="*/ 4959480 w 10693106"/>
              <a:gd name="connsiteY122-23766" fmla="*/ 4988069 h 5292022"/>
              <a:gd name="connsiteX123-23767" fmla="*/ 4842216 w 10693106"/>
              <a:gd name="connsiteY123-23768" fmla="*/ 4953779 h 5292022"/>
              <a:gd name="connsiteX124-23769" fmla="*/ 4797343 w 10693106"/>
              <a:gd name="connsiteY124-23770" fmla="*/ 4878426 h 5292022"/>
              <a:gd name="connsiteX125-23771" fmla="*/ 4686853 w 10693106"/>
              <a:gd name="connsiteY125-23772" fmla="*/ 4788256 h 5292022"/>
              <a:gd name="connsiteX126-23773" fmla="*/ 4536146 w 10693106"/>
              <a:gd name="connsiteY126-23774" fmla="*/ 4712902 h 5292022"/>
              <a:gd name="connsiteX127-23775" fmla="*/ 4365120 w 10693106"/>
              <a:gd name="connsiteY127-23776" fmla="*/ 4616382 h 5292022"/>
              <a:gd name="connsiteX128-23777" fmla="*/ 4187743 w 10693106"/>
              <a:gd name="connsiteY128-23778" fmla="*/ 4521556 h 5292022"/>
              <a:gd name="connsiteX129-23779" fmla="*/ 4125936 w 10693106"/>
              <a:gd name="connsiteY129-23780" fmla="*/ 4386724 h 5292022"/>
              <a:gd name="connsiteX130-23781" fmla="*/ 3995973 w 10693106"/>
              <a:gd name="connsiteY130-23782" fmla="*/ 4232419 h 5292022"/>
              <a:gd name="connsiteX131-23783" fmla="*/ 3962530 w 10693106"/>
              <a:gd name="connsiteY131-23784" fmla="*/ 4135052 h 5292022"/>
              <a:gd name="connsiteX132-23785" fmla="*/ 3895643 w 10693106"/>
              <a:gd name="connsiteY132-23786" fmla="*/ 4059699 h 5292022"/>
              <a:gd name="connsiteX133-23787" fmla="*/ 3919773 w 10693106"/>
              <a:gd name="connsiteY133-23788" fmla="*/ 3920422 h 5292022"/>
              <a:gd name="connsiteX134-23789" fmla="*/ 3877440 w 10693106"/>
              <a:gd name="connsiteY134-23790" fmla="*/ 3624089 h 5292022"/>
              <a:gd name="connsiteX135-23791" fmla="*/ 3852040 w 10693106"/>
              <a:gd name="connsiteY135-23792" fmla="*/ 3530956 h 5292022"/>
              <a:gd name="connsiteX136-23793" fmla="*/ 3801240 w 10693106"/>
              <a:gd name="connsiteY136-23794" fmla="*/ 3420889 h 5292022"/>
              <a:gd name="connsiteX137-23795" fmla="*/ 3733506 w 10693106"/>
              <a:gd name="connsiteY137-23796" fmla="*/ 3319289 h 5292022"/>
              <a:gd name="connsiteX138-23797" fmla="*/ 3242440 w 10693106"/>
              <a:gd name="connsiteY138-23798" fmla="*/ 3099156 h 5292022"/>
              <a:gd name="connsiteX139-23799" fmla="*/ 3123906 w 10693106"/>
              <a:gd name="connsiteY139-23800" fmla="*/ 2997556 h 5292022"/>
              <a:gd name="connsiteX140-23801" fmla="*/ 2988440 w 10693106"/>
              <a:gd name="connsiteY140-23802" fmla="*/ 2802822 h 5292022"/>
              <a:gd name="connsiteX141-23803" fmla="*/ 2971506 w 10693106"/>
              <a:gd name="connsiteY141-23804" fmla="*/ 2743556 h 5292022"/>
              <a:gd name="connsiteX142-23805" fmla="*/ 2996906 w 10693106"/>
              <a:gd name="connsiteY142-23806" fmla="*/ 2531889 h 5292022"/>
              <a:gd name="connsiteX143-23807" fmla="*/ 3013840 w 10693106"/>
              <a:gd name="connsiteY143-23808" fmla="*/ 2430289 h 5292022"/>
              <a:gd name="connsiteX144-23809" fmla="*/ 3005373 w 10693106"/>
              <a:gd name="connsiteY144-23810" fmla="*/ 2311756 h 5292022"/>
              <a:gd name="connsiteX145-23811" fmla="*/ 2988440 w 10693106"/>
              <a:gd name="connsiteY145-23812" fmla="*/ 2260956 h 5292022"/>
              <a:gd name="connsiteX146-23813" fmla="*/ 2802173 w 10693106"/>
              <a:gd name="connsiteY146-23814" fmla="*/ 2006956 h 5292022"/>
              <a:gd name="connsiteX147-23815" fmla="*/ 2641306 w 10693106"/>
              <a:gd name="connsiteY147-23816" fmla="*/ 1863022 h 5292022"/>
              <a:gd name="connsiteX148-23817" fmla="*/ 2590506 w 10693106"/>
              <a:gd name="connsiteY148-23818" fmla="*/ 1837622 h 5292022"/>
              <a:gd name="connsiteX149-23819" fmla="*/ 2531240 w 10693106"/>
              <a:gd name="connsiteY149-23820" fmla="*/ 1829156 h 5292022"/>
              <a:gd name="connsiteX150-23821" fmla="*/ 2446573 w 10693106"/>
              <a:gd name="connsiteY150-23822" fmla="*/ 1812222 h 5292022"/>
              <a:gd name="connsiteX151-23823" fmla="*/ 2251840 w 10693106"/>
              <a:gd name="connsiteY151-23824" fmla="*/ 1837622 h 5292022"/>
              <a:gd name="connsiteX152-23825" fmla="*/ 2167173 w 10693106"/>
              <a:gd name="connsiteY152-23826" fmla="*/ 1879956 h 5292022"/>
              <a:gd name="connsiteX153-23827" fmla="*/ 1980906 w 10693106"/>
              <a:gd name="connsiteY153-23828" fmla="*/ 1939222 h 5292022"/>
              <a:gd name="connsiteX154-23829" fmla="*/ 1904706 w 10693106"/>
              <a:gd name="connsiteY154-23830" fmla="*/ 1973089 h 5292022"/>
              <a:gd name="connsiteX155-23831" fmla="*/ 1828506 w 10693106"/>
              <a:gd name="connsiteY155-23832" fmla="*/ 1990022 h 5292022"/>
              <a:gd name="connsiteX156-23833" fmla="*/ 1726906 w 10693106"/>
              <a:gd name="connsiteY156-23834" fmla="*/ 2040822 h 5292022"/>
              <a:gd name="connsiteX157-23835" fmla="*/ 1659173 w 10693106"/>
              <a:gd name="connsiteY157-23836" fmla="*/ 2074689 h 5292022"/>
              <a:gd name="connsiteX158-23837" fmla="*/ 1498306 w 10693106"/>
              <a:gd name="connsiteY158-23838" fmla="*/ 2100089 h 5292022"/>
              <a:gd name="connsiteX159-23839" fmla="*/ 914106 w 10693106"/>
              <a:gd name="connsiteY159-23840" fmla="*/ 2032356 h 5292022"/>
              <a:gd name="connsiteX160-23841" fmla="*/ 617773 w 10693106"/>
              <a:gd name="connsiteY160-23842" fmla="*/ 1922289 h 5292022"/>
              <a:gd name="connsiteX161-23843" fmla="*/ 516173 w 10693106"/>
              <a:gd name="connsiteY161-23844" fmla="*/ 1837622 h 5292022"/>
              <a:gd name="connsiteX162-23845" fmla="*/ 355306 w 10693106"/>
              <a:gd name="connsiteY162-23846" fmla="*/ 1625956 h 5292022"/>
              <a:gd name="connsiteX163-23847" fmla="*/ 296040 w 10693106"/>
              <a:gd name="connsiteY163-23848" fmla="*/ 1524356 h 5292022"/>
              <a:gd name="connsiteX164-23849" fmla="*/ 253706 w 10693106"/>
              <a:gd name="connsiteY164-23850" fmla="*/ 1346556 h 5292022"/>
              <a:gd name="connsiteX165-23851" fmla="*/ 245240 w 10693106"/>
              <a:gd name="connsiteY165-23852" fmla="*/ 1219556 h 5292022"/>
              <a:gd name="connsiteX166-23853" fmla="*/ 236773 w 10693106"/>
              <a:gd name="connsiteY166-23854" fmla="*/ 1117956 h 5292022"/>
              <a:gd name="connsiteX167-23855" fmla="*/ 245240 w 10693106"/>
              <a:gd name="connsiteY167-23856" fmla="*/ 847022 h 5292022"/>
              <a:gd name="connsiteX168-23857" fmla="*/ 236773 w 10693106"/>
              <a:gd name="connsiteY168-23858" fmla="*/ 703089 h 5292022"/>
              <a:gd name="connsiteX169-23859" fmla="*/ 109773 w 10693106"/>
              <a:gd name="connsiteY169-23860" fmla="*/ 559156 h 5292022"/>
              <a:gd name="connsiteX170-23861" fmla="*/ 58973 w 10693106"/>
              <a:gd name="connsiteY170-23862" fmla="*/ 482956 h 5292022"/>
              <a:gd name="connsiteX171-23863" fmla="*/ 16640 w 10693106"/>
              <a:gd name="connsiteY171-23864" fmla="*/ 432156 h 5292022"/>
              <a:gd name="connsiteX172-23865" fmla="*/ 8173 w 10693106"/>
              <a:gd name="connsiteY172-23866" fmla="*/ 389822 h 5292022"/>
              <a:gd name="connsiteX173-23867" fmla="*/ 16640 w 10693106"/>
              <a:gd name="connsiteY173-23868" fmla="*/ 339022 h 5292022"/>
              <a:gd name="connsiteX0-23869" fmla="*/ 16640 w 10693106"/>
              <a:gd name="connsiteY0-23870" fmla="*/ 339022 h 5292022"/>
              <a:gd name="connsiteX1-23871" fmla="*/ 58973 w 10693106"/>
              <a:gd name="connsiteY1-23872" fmla="*/ 245889 h 5292022"/>
              <a:gd name="connsiteX2-23873" fmla="*/ 109773 w 10693106"/>
              <a:gd name="connsiteY2-23874" fmla="*/ 178156 h 5292022"/>
              <a:gd name="connsiteX3-23875" fmla="*/ 202906 w 10693106"/>
              <a:gd name="connsiteY3-23876" fmla="*/ 93489 h 5292022"/>
              <a:gd name="connsiteX4-23877" fmla="*/ 236773 w 10693106"/>
              <a:gd name="connsiteY4-23878" fmla="*/ 68089 h 5292022"/>
              <a:gd name="connsiteX5-23879" fmla="*/ 335410 w 10693106"/>
              <a:gd name="connsiteY5-23880" fmla="*/ 58352 h 5292022"/>
              <a:gd name="connsiteX6-23881" fmla="*/ 382400 w 10693106"/>
              <a:gd name="connsiteY6-23882" fmla="*/ 51156 h 5292022"/>
              <a:gd name="connsiteX7-23883" fmla="*/ 434912 w 10693106"/>
              <a:gd name="connsiteY7-23884" fmla="*/ 70071 h 5292022"/>
              <a:gd name="connsiteX8-23885" fmla="*/ 492697 w 10693106"/>
              <a:gd name="connsiteY8-23886" fmla="*/ 74247 h 5292022"/>
              <a:gd name="connsiteX9-23887" fmla="*/ 822897 w 10693106"/>
              <a:gd name="connsiteY9-23888" fmla="*/ 82713 h 5292022"/>
              <a:gd name="connsiteX10-23889" fmla="*/ 1091906 w 10693106"/>
              <a:gd name="connsiteY10-23890" fmla="*/ 356 h 5292022"/>
              <a:gd name="connsiteX11-23891" fmla="*/ 1235840 w 10693106"/>
              <a:gd name="connsiteY11-23892" fmla="*/ 59622 h 5292022"/>
              <a:gd name="connsiteX12-23893" fmla="*/ 1337440 w 10693106"/>
              <a:gd name="connsiteY12-23894" fmla="*/ 135822 h 5292022"/>
              <a:gd name="connsiteX13-23895" fmla="*/ 1422106 w 10693106"/>
              <a:gd name="connsiteY13-23896" fmla="*/ 245889 h 5292022"/>
              <a:gd name="connsiteX14-23897" fmla="*/ 1481373 w 10693106"/>
              <a:gd name="connsiteY14-23898" fmla="*/ 313622 h 5292022"/>
              <a:gd name="connsiteX15-23899" fmla="*/ 1532173 w 10693106"/>
              <a:gd name="connsiteY15-23900" fmla="*/ 347489 h 5292022"/>
              <a:gd name="connsiteX16-23901" fmla="*/ 1684573 w 10693106"/>
              <a:gd name="connsiteY16-23902" fmla="*/ 406756 h 5292022"/>
              <a:gd name="connsiteX17-23903" fmla="*/ 1760773 w 10693106"/>
              <a:gd name="connsiteY17-23904" fmla="*/ 423689 h 5292022"/>
              <a:gd name="connsiteX18-23905" fmla="*/ 1997840 w 10693106"/>
              <a:gd name="connsiteY18-23906" fmla="*/ 415222 h 5292022"/>
              <a:gd name="connsiteX19-23907" fmla="*/ 2116373 w 10693106"/>
              <a:gd name="connsiteY19-23908" fmla="*/ 398289 h 5292022"/>
              <a:gd name="connsiteX20-23909" fmla="*/ 2260306 w 10693106"/>
              <a:gd name="connsiteY20-23910" fmla="*/ 381356 h 5292022"/>
              <a:gd name="connsiteX21-23911" fmla="*/ 2404240 w 10693106"/>
              <a:gd name="connsiteY21-23912" fmla="*/ 355956 h 5292022"/>
              <a:gd name="connsiteX22-23913" fmla="*/ 2455040 w 10693106"/>
              <a:gd name="connsiteY22-23914" fmla="*/ 330556 h 5292022"/>
              <a:gd name="connsiteX23-23915" fmla="*/ 2531240 w 10693106"/>
              <a:gd name="connsiteY23-23916" fmla="*/ 305156 h 5292022"/>
              <a:gd name="connsiteX24-23917" fmla="*/ 2649350 w 10693106"/>
              <a:gd name="connsiteY24-23918" fmla="*/ 225781 h 5292022"/>
              <a:gd name="connsiteX25-23919" fmla="*/ 2742906 w 10693106"/>
              <a:gd name="connsiteY25-23920" fmla="*/ 186622 h 5292022"/>
              <a:gd name="connsiteX26-23921" fmla="*/ 2764920 w 10693106"/>
              <a:gd name="connsiteY26-23922" fmla="*/ 173076 h 5292022"/>
              <a:gd name="connsiteX27-23923" fmla="*/ 2832653 w 10693106"/>
              <a:gd name="connsiteY27-23924" fmla="*/ 167996 h 5292022"/>
              <a:gd name="connsiteX28-23925" fmla="*/ 3002294 w 10693106"/>
              <a:gd name="connsiteY28-23926" fmla="*/ 154680 h 5292022"/>
              <a:gd name="connsiteX29-23927" fmla="*/ 3142763 w 10693106"/>
              <a:gd name="connsiteY29-23928" fmla="*/ 110421 h 5292022"/>
              <a:gd name="connsiteX30-23929" fmla="*/ 3398918 w 10693106"/>
              <a:gd name="connsiteY30-23930" fmla="*/ 72322 h 5292022"/>
              <a:gd name="connsiteX31-23931" fmla="*/ 3606506 w 10693106"/>
              <a:gd name="connsiteY31-23932" fmla="*/ 60393 h 5292022"/>
              <a:gd name="connsiteX32-23933" fmla="*/ 3682706 w 10693106"/>
              <a:gd name="connsiteY32-23934" fmla="*/ 79942 h 5292022"/>
              <a:gd name="connsiteX33-23935" fmla="*/ 3741973 w 10693106"/>
              <a:gd name="connsiteY33-23936" fmla="*/ 86561 h 5292022"/>
              <a:gd name="connsiteX34-23937" fmla="*/ 3794678 w 10693106"/>
              <a:gd name="connsiteY34-23938" fmla="*/ 101321 h 5292022"/>
              <a:gd name="connsiteX35-23939" fmla="*/ 3833625 w 10693106"/>
              <a:gd name="connsiteY35-23940" fmla="*/ 110846 h 5292022"/>
              <a:gd name="connsiteX36-23941" fmla="*/ 3892487 w 10693106"/>
              <a:gd name="connsiteY36-23942" fmla="*/ 116984 h 5292022"/>
              <a:gd name="connsiteX37-23943" fmla="*/ 3933108 w 10693106"/>
              <a:gd name="connsiteY37-23944" fmla="*/ 128837 h 5292022"/>
              <a:gd name="connsiteX38-23945" fmla="*/ 3976923 w 10693106"/>
              <a:gd name="connsiteY38-23946" fmla="*/ 135187 h 5292022"/>
              <a:gd name="connsiteX39-23947" fmla="*/ 4021373 w 10693106"/>
              <a:gd name="connsiteY39-23948" fmla="*/ 144289 h 5292022"/>
              <a:gd name="connsiteX40-23949" fmla="*/ 4055240 w 10693106"/>
              <a:gd name="connsiteY40-23950" fmla="*/ 152756 h 5292022"/>
              <a:gd name="connsiteX41-23951" fmla="*/ 4275373 w 10693106"/>
              <a:gd name="connsiteY41-23952" fmla="*/ 195089 h 5292022"/>
              <a:gd name="connsiteX42-23953" fmla="*/ 4402373 w 10693106"/>
              <a:gd name="connsiteY42-23954" fmla="*/ 228956 h 5292022"/>
              <a:gd name="connsiteX43-23955" fmla="*/ 4529373 w 10693106"/>
              <a:gd name="connsiteY43-23956" fmla="*/ 271289 h 5292022"/>
              <a:gd name="connsiteX44-23957" fmla="*/ 4859573 w 10693106"/>
              <a:gd name="connsiteY44-23958" fmla="*/ 347489 h 5292022"/>
              <a:gd name="connsiteX45-23959" fmla="*/ 5045840 w 10693106"/>
              <a:gd name="connsiteY45-23960" fmla="*/ 423689 h 5292022"/>
              <a:gd name="connsiteX46-23961" fmla="*/ 5325240 w 10693106"/>
              <a:gd name="connsiteY46-23962" fmla="*/ 584556 h 5292022"/>
              <a:gd name="connsiteX47-23963" fmla="*/ 5494573 w 10693106"/>
              <a:gd name="connsiteY47-23964" fmla="*/ 736956 h 5292022"/>
              <a:gd name="connsiteX48-23965" fmla="*/ 5562306 w 10693106"/>
              <a:gd name="connsiteY48-23966" fmla="*/ 813156 h 5292022"/>
              <a:gd name="connsiteX49-23967" fmla="*/ 5621573 w 10693106"/>
              <a:gd name="connsiteY49-23968" fmla="*/ 863956 h 5292022"/>
              <a:gd name="connsiteX50-23969" fmla="*/ 5672373 w 10693106"/>
              <a:gd name="connsiteY50-23970" fmla="*/ 931689 h 5292022"/>
              <a:gd name="connsiteX51-23971" fmla="*/ 5757040 w 10693106"/>
              <a:gd name="connsiteY51-23972" fmla="*/ 1033289 h 5292022"/>
              <a:gd name="connsiteX52-23973" fmla="*/ 5833240 w 10693106"/>
              <a:gd name="connsiteY52-23974" fmla="*/ 1126422 h 5292022"/>
              <a:gd name="connsiteX53-23975" fmla="*/ 6763726 w 10693106"/>
              <a:gd name="connsiteY53-23976" fmla="*/ 1389312 h 5292022"/>
              <a:gd name="connsiteX54-23977" fmla="*/ 7314483 w 10693106"/>
              <a:gd name="connsiteY54-23978" fmla="*/ 1511656 h 5292022"/>
              <a:gd name="connsiteX55-23979" fmla="*/ 7742050 w 10693106"/>
              <a:gd name="connsiteY55-23980" fmla="*/ 1241146 h 5292022"/>
              <a:gd name="connsiteX56-23981" fmla="*/ 8652640 w 10693106"/>
              <a:gd name="connsiteY56-23982" fmla="*/ 677689 h 5292022"/>
              <a:gd name="connsiteX57-23983" fmla="*/ 8847373 w 10693106"/>
              <a:gd name="connsiteY57-23984" fmla="*/ 491422 h 5292022"/>
              <a:gd name="connsiteX58-23985" fmla="*/ 8982840 w 10693106"/>
              <a:gd name="connsiteY58-23986" fmla="*/ 398289 h 5292022"/>
              <a:gd name="connsiteX59-23987" fmla="*/ 9084440 w 10693106"/>
              <a:gd name="connsiteY59-23988" fmla="*/ 364422 h 5292022"/>
              <a:gd name="connsiteX60-23989" fmla="*/ 9152173 w 10693106"/>
              <a:gd name="connsiteY60-23990" fmla="*/ 339022 h 5292022"/>
              <a:gd name="connsiteX61-23991" fmla="*/ 9380773 w 10693106"/>
              <a:gd name="connsiteY61-23992" fmla="*/ 355956 h 5292022"/>
              <a:gd name="connsiteX62-23993" fmla="*/ 9744840 w 10693106"/>
              <a:gd name="connsiteY62-23994" fmla="*/ 466022 h 5292022"/>
              <a:gd name="connsiteX63-23995" fmla="*/ 9888773 w 10693106"/>
              <a:gd name="connsiteY63-23996" fmla="*/ 508356 h 5292022"/>
              <a:gd name="connsiteX64-23997" fmla="*/ 9998840 w 10693106"/>
              <a:gd name="connsiteY64-23998" fmla="*/ 559156 h 5292022"/>
              <a:gd name="connsiteX65-23999" fmla="*/ 10083506 w 10693106"/>
              <a:gd name="connsiteY65-24000" fmla="*/ 618422 h 5292022"/>
              <a:gd name="connsiteX66-24001" fmla="*/ 10286706 w 10693106"/>
              <a:gd name="connsiteY66-24002" fmla="*/ 686156 h 5292022"/>
              <a:gd name="connsiteX67-24003" fmla="*/ 10388306 w 10693106"/>
              <a:gd name="connsiteY67-24004" fmla="*/ 889356 h 5292022"/>
              <a:gd name="connsiteX68-24005" fmla="*/ 10540706 w 10693106"/>
              <a:gd name="connsiteY68-24006" fmla="*/ 1261889 h 5292022"/>
              <a:gd name="connsiteX69-24007" fmla="*/ 10557640 w 10693106"/>
              <a:gd name="connsiteY69-24008" fmla="*/ 1346556 h 5292022"/>
              <a:gd name="connsiteX70-24009" fmla="*/ 10583040 w 10693106"/>
              <a:gd name="connsiteY70-24010" fmla="*/ 1448156 h 5292022"/>
              <a:gd name="connsiteX71-24011" fmla="*/ 10616906 w 10693106"/>
              <a:gd name="connsiteY71-24012" fmla="*/ 1651356 h 5292022"/>
              <a:gd name="connsiteX72-24013" fmla="*/ 10633840 w 10693106"/>
              <a:gd name="connsiteY72-24014" fmla="*/ 1736022 h 5292022"/>
              <a:gd name="connsiteX73-24015" fmla="*/ 10650773 w 10693106"/>
              <a:gd name="connsiteY73-24016" fmla="*/ 1769889 h 5292022"/>
              <a:gd name="connsiteX74-24017" fmla="*/ 10676173 w 10693106"/>
              <a:gd name="connsiteY74-24018" fmla="*/ 1854556 h 5292022"/>
              <a:gd name="connsiteX75-24019" fmla="*/ 10693106 w 10693106"/>
              <a:gd name="connsiteY75-24020" fmla="*/ 2006956 h 5292022"/>
              <a:gd name="connsiteX76-24021" fmla="*/ 10625373 w 10693106"/>
              <a:gd name="connsiteY76-24022" fmla="*/ 2227089 h 5292022"/>
              <a:gd name="connsiteX77-24023" fmla="*/ 10608440 w 10693106"/>
              <a:gd name="connsiteY77-24024" fmla="*/ 2252489 h 5292022"/>
              <a:gd name="connsiteX78-24025" fmla="*/ 10540706 w 10693106"/>
              <a:gd name="connsiteY78-24026" fmla="*/ 2396422 h 5292022"/>
              <a:gd name="connsiteX79-24027" fmla="*/ 10498373 w 10693106"/>
              <a:gd name="connsiteY79-24028" fmla="*/ 2481089 h 5292022"/>
              <a:gd name="connsiteX80-24029" fmla="*/ 10439106 w 10693106"/>
              <a:gd name="connsiteY80-24030" fmla="*/ 2667356 h 5292022"/>
              <a:gd name="connsiteX81-24031" fmla="*/ 10430640 w 10693106"/>
              <a:gd name="connsiteY81-24032" fmla="*/ 2709689 h 5292022"/>
              <a:gd name="connsiteX82-24033" fmla="*/ 10405240 w 10693106"/>
              <a:gd name="connsiteY82-24034" fmla="*/ 2785889 h 5292022"/>
              <a:gd name="connsiteX83-24035" fmla="*/ 10396773 w 10693106"/>
              <a:gd name="connsiteY83-24036" fmla="*/ 2819756 h 5292022"/>
              <a:gd name="connsiteX84-24037" fmla="*/ 10362906 w 10693106"/>
              <a:gd name="connsiteY84-24038" fmla="*/ 2912889 h 5292022"/>
              <a:gd name="connsiteX85-24039" fmla="*/ 10329040 w 10693106"/>
              <a:gd name="connsiteY85-24040" fmla="*/ 2955222 h 5292022"/>
              <a:gd name="connsiteX86-24041" fmla="*/ 10227440 w 10693106"/>
              <a:gd name="connsiteY86-24042" fmla="*/ 3056822 h 5292022"/>
              <a:gd name="connsiteX87-24043" fmla="*/ 10168173 w 10693106"/>
              <a:gd name="connsiteY87-24044" fmla="*/ 3124556 h 5292022"/>
              <a:gd name="connsiteX88-24045" fmla="*/ 10117373 w 10693106"/>
              <a:gd name="connsiteY88-24046" fmla="*/ 3175356 h 5292022"/>
              <a:gd name="connsiteX89-24047" fmla="*/ 10032706 w 10693106"/>
              <a:gd name="connsiteY89-24048" fmla="*/ 3276956 h 5292022"/>
              <a:gd name="connsiteX90-24049" fmla="*/ 9948040 w 10693106"/>
              <a:gd name="connsiteY90-24050" fmla="*/ 3336222 h 5292022"/>
              <a:gd name="connsiteX91-24051" fmla="*/ 9905706 w 10693106"/>
              <a:gd name="connsiteY91-24052" fmla="*/ 3361622 h 5292022"/>
              <a:gd name="connsiteX92-24053" fmla="*/ 9829506 w 10693106"/>
              <a:gd name="connsiteY92-24054" fmla="*/ 3378556 h 5292022"/>
              <a:gd name="connsiteX93-24055" fmla="*/ 9727906 w 10693106"/>
              <a:gd name="connsiteY93-24056" fmla="*/ 3420889 h 5292022"/>
              <a:gd name="connsiteX94-24057" fmla="*/ 9634773 w 10693106"/>
              <a:gd name="connsiteY94-24058" fmla="*/ 3446289 h 5292022"/>
              <a:gd name="connsiteX95-24059" fmla="*/ 9456973 w 10693106"/>
              <a:gd name="connsiteY95-24060" fmla="*/ 3539422 h 5292022"/>
              <a:gd name="connsiteX96-24061" fmla="*/ 9313040 w 10693106"/>
              <a:gd name="connsiteY96-24062" fmla="*/ 3666422 h 5292022"/>
              <a:gd name="connsiteX97-24063" fmla="*/ 9279173 w 10693106"/>
              <a:gd name="connsiteY97-24064" fmla="*/ 3683356 h 5292022"/>
              <a:gd name="connsiteX98-24065" fmla="*/ 9067506 w 10693106"/>
              <a:gd name="connsiteY98-24066" fmla="*/ 3861156 h 5292022"/>
              <a:gd name="connsiteX99-24067" fmla="*/ 8999773 w 10693106"/>
              <a:gd name="connsiteY99-24068" fmla="*/ 3928889 h 5292022"/>
              <a:gd name="connsiteX100-24069" fmla="*/ 8813506 w 10693106"/>
              <a:gd name="connsiteY100-24070" fmla="*/ 4064356 h 5292022"/>
              <a:gd name="connsiteX101-24071" fmla="*/ 8728840 w 10693106"/>
              <a:gd name="connsiteY101-24072" fmla="*/ 4106689 h 5292022"/>
              <a:gd name="connsiteX102-24073" fmla="*/ 8373240 w 10693106"/>
              <a:gd name="connsiteY102-24074" fmla="*/ 4140556 h 5292022"/>
              <a:gd name="connsiteX103-24075" fmla="*/ 7966840 w 10693106"/>
              <a:gd name="connsiteY103-24076" fmla="*/ 4233689 h 5292022"/>
              <a:gd name="connsiteX104-24077" fmla="*/ 7687440 w 10693106"/>
              <a:gd name="connsiteY104-24078" fmla="*/ 4394556 h 5292022"/>
              <a:gd name="connsiteX105-24079" fmla="*/ 7551973 w 10693106"/>
              <a:gd name="connsiteY105-24080" fmla="*/ 4479222 h 5292022"/>
              <a:gd name="connsiteX106-24081" fmla="*/ 7374173 w 10693106"/>
              <a:gd name="connsiteY106-24082" fmla="*/ 4657022 h 5292022"/>
              <a:gd name="connsiteX107-24083" fmla="*/ 7374173 w 10693106"/>
              <a:gd name="connsiteY107-24084" fmla="*/ 4657022 h 5292022"/>
              <a:gd name="connsiteX108-24085" fmla="*/ 7221773 w 10693106"/>
              <a:gd name="connsiteY108-24086" fmla="*/ 4775556 h 5292022"/>
              <a:gd name="connsiteX109-24087" fmla="*/ 7027040 w 10693106"/>
              <a:gd name="connsiteY109-24088" fmla="*/ 4902556 h 5292022"/>
              <a:gd name="connsiteX110-24089" fmla="*/ 6883106 w 10693106"/>
              <a:gd name="connsiteY110-24090" fmla="*/ 4970289 h 5292022"/>
              <a:gd name="connsiteX111-24091" fmla="*/ 6815373 w 10693106"/>
              <a:gd name="connsiteY111-24092" fmla="*/ 5012622 h 5292022"/>
              <a:gd name="connsiteX112-24093" fmla="*/ 6646040 w 10693106"/>
              <a:gd name="connsiteY112-24094" fmla="*/ 5105756 h 5292022"/>
              <a:gd name="connsiteX113-24095" fmla="*/ 6527506 w 10693106"/>
              <a:gd name="connsiteY113-24096" fmla="*/ 5165022 h 5292022"/>
              <a:gd name="connsiteX114-24097" fmla="*/ 6298906 w 10693106"/>
              <a:gd name="connsiteY114-24098" fmla="*/ 5241222 h 5292022"/>
              <a:gd name="connsiteX115-24099" fmla="*/ 6197306 w 10693106"/>
              <a:gd name="connsiteY115-24100" fmla="*/ 5266622 h 5292022"/>
              <a:gd name="connsiteX116-24101" fmla="*/ 6061840 w 10693106"/>
              <a:gd name="connsiteY116-24102" fmla="*/ 5275089 h 5292022"/>
              <a:gd name="connsiteX117-24103" fmla="*/ 5917906 w 10693106"/>
              <a:gd name="connsiteY117-24104" fmla="*/ 5292022 h 5292022"/>
              <a:gd name="connsiteX118-24105" fmla="*/ 5748573 w 10693106"/>
              <a:gd name="connsiteY118-24106" fmla="*/ 5283556 h 5292022"/>
              <a:gd name="connsiteX119-24107" fmla="*/ 5282906 w 10693106"/>
              <a:gd name="connsiteY119-24108" fmla="*/ 5173489 h 5292022"/>
              <a:gd name="connsiteX120-24109" fmla="*/ 5138973 w 10693106"/>
              <a:gd name="connsiteY120-24110" fmla="*/ 5071889 h 5292022"/>
              <a:gd name="connsiteX121-24111" fmla="*/ 4959480 w 10693106"/>
              <a:gd name="connsiteY121-24112" fmla="*/ 4988069 h 5292022"/>
              <a:gd name="connsiteX122-24113" fmla="*/ 4842216 w 10693106"/>
              <a:gd name="connsiteY122-24114" fmla="*/ 4953779 h 5292022"/>
              <a:gd name="connsiteX123-24115" fmla="*/ 4797343 w 10693106"/>
              <a:gd name="connsiteY123-24116" fmla="*/ 4878426 h 5292022"/>
              <a:gd name="connsiteX124-24117" fmla="*/ 4686853 w 10693106"/>
              <a:gd name="connsiteY124-24118" fmla="*/ 4788256 h 5292022"/>
              <a:gd name="connsiteX125-24119" fmla="*/ 4536146 w 10693106"/>
              <a:gd name="connsiteY125-24120" fmla="*/ 4712902 h 5292022"/>
              <a:gd name="connsiteX126-24121" fmla="*/ 4365120 w 10693106"/>
              <a:gd name="connsiteY126-24122" fmla="*/ 4616382 h 5292022"/>
              <a:gd name="connsiteX127-24123" fmla="*/ 4187743 w 10693106"/>
              <a:gd name="connsiteY127-24124" fmla="*/ 4521556 h 5292022"/>
              <a:gd name="connsiteX128-24125" fmla="*/ 4125936 w 10693106"/>
              <a:gd name="connsiteY128-24126" fmla="*/ 4386724 h 5292022"/>
              <a:gd name="connsiteX129-24127" fmla="*/ 3995973 w 10693106"/>
              <a:gd name="connsiteY129-24128" fmla="*/ 4232419 h 5292022"/>
              <a:gd name="connsiteX130-24129" fmla="*/ 3962530 w 10693106"/>
              <a:gd name="connsiteY130-24130" fmla="*/ 4135052 h 5292022"/>
              <a:gd name="connsiteX131-24131" fmla="*/ 3895643 w 10693106"/>
              <a:gd name="connsiteY131-24132" fmla="*/ 4059699 h 5292022"/>
              <a:gd name="connsiteX132-24133" fmla="*/ 3919773 w 10693106"/>
              <a:gd name="connsiteY132-24134" fmla="*/ 3920422 h 5292022"/>
              <a:gd name="connsiteX133-24135" fmla="*/ 3877440 w 10693106"/>
              <a:gd name="connsiteY133-24136" fmla="*/ 3624089 h 5292022"/>
              <a:gd name="connsiteX134-24137" fmla="*/ 3852040 w 10693106"/>
              <a:gd name="connsiteY134-24138" fmla="*/ 3530956 h 5292022"/>
              <a:gd name="connsiteX135-24139" fmla="*/ 3801240 w 10693106"/>
              <a:gd name="connsiteY135-24140" fmla="*/ 3420889 h 5292022"/>
              <a:gd name="connsiteX136-24141" fmla="*/ 3733506 w 10693106"/>
              <a:gd name="connsiteY136-24142" fmla="*/ 3319289 h 5292022"/>
              <a:gd name="connsiteX137-24143" fmla="*/ 3242440 w 10693106"/>
              <a:gd name="connsiteY137-24144" fmla="*/ 3099156 h 5292022"/>
              <a:gd name="connsiteX138-24145" fmla="*/ 3123906 w 10693106"/>
              <a:gd name="connsiteY138-24146" fmla="*/ 2997556 h 5292022"/>
              <a:gd name="connsiteX139-24147" fmla="*/ 2988440 w 10693106"/>
              <a:gd name="connsiteY139-24148" fmla="*/ 2802822 h 5292022"/>
              <a:gd name="connsiteX140-24149" fmla="*/ 2971506 w 10693106"/>
              <a:gd name="connsiteY140-24150" fmla="*/ 2743556 h 5292022"/>
              <a:gd name="connsiteX141-24151" fmla="*/ 2996906 w 10693106"/>
              <a:gd name="connsiteY141-24152" fmla="*/ 2531889 h 5292022"/>
              <a:gd name="connsiteX142-24153" fmla="*/ 3013840 w 10693106"/>
              <a:gd name="connsiteY142-24154" fmla="*/ 2430289 h 5292022"/>
              <a:gd name="connsiteX143-24155" fmla="*/ 3005373 w 10693106"/>
              <a:gd name="connsiteY143-24156" fmla="*/ 2311756 h 5292022"/>
              <a:gd name="connsiteX144-24157" fmla="*/ 2988440 w 10693106"/>
              <a:gd name="connsiteY144-24158" fmla="*/ 2260956 h 5292022"/>
              <a:gd name="connsiteX145-24159" fmla="*/ 2802173 w 10693106"/>
              <a:gd name="connsiteY145-24160" fmla="*/ 2006956 h 5292022"/>
              <a:gd name="connsiteX146-24161" fmla="*/ 2641306 w 10693106"/>
              <a:gd name="connsiteY146-24162" fmla="*/ 1863022 h 5292022"/>
              <a:gd name="connsiteX147-24163" fmla="*/ 2590506 w 10693106"/>
              <a:gd name="connsiteY147-24164" fmla="*/ 1837622 h 5292022"/>
              <a:gd name="connsiteX148-24165" fmla="*/ 2531240 w 10693106"/>
              <a:gd name="connsiteY148-24166" fmla="*/ 1829156 h 5292022"/>
              <a:gd name="connsiteX149-24167" fmla="*/ 2446573 w 10693106"/>
              <a:gd name="connsiteY149-24168" fmla="*/ 1812222 h 5292022"/>
              <a:gd name="connsiteX150-24169" fmla="*/ 2251840 w 10693106"/>
              <a:gd name="connsiteY150-24170" fmla="*/ 1837622 h 5292022"/>
              <a:gd name="connsiteX151-24171" fmla="*/ 2167173 w 10693106"/>
              <a:gd name="connsiteY151-24172" fmla="*/ 1879956 h 5292022"/>
              <a:gd name="connsiteX152-24173" fmla="*/ 1980906 w 10693106"/>
              <a:gd name="connsiteY152-24174" fmla="*/ 1939222 h 5292022"/>
              <a:gd name="connsiteX153-24175" fmla="*/ 1904706 w 10693106"/>
              <a:gd name="connsiteY153-24176" fmla="*/ 1973089 h 5292022"/>
              <a:gd name="connsiteX154-24177" fmla="*/ 1828506 w 10693106"/>
              <a:gd name="connsiteY154-24178" fmla="*/ 1990022 h 5292022"/>
              <a:gd name="connsiteX155-24179" fmla="*/ 1726906 w 10693106"/>
              <a:gd name="connsiteY155-24180" fmla="*/ 2040822 h 5292022"/>
              <a:gd name="connsiteX156-24181" fmla="*/ 1659173 w 10693106"/>
              <a:gd name="connsiteY156-24182" fmla="*/ 2074689 h 5292022"/>
              <a:gd name="connsiteX157-24183" fmla="*/ 1498306 w 10693106"/>
              <a:gd name="connsiteY157-24184" fmla="*/ 2100089 h 5292022"/>
              <a:gd name="connsiteX158-24185" fmla="*/ 914106 w 10693106"/>
              <a:gd name="connsiteY158-24186" fmla="*/ 2032356 h 5292022"/>
              <a:gd name="connsiteX159-24187" fmla="*/ 617773 w 10693106"/>
              <a:gd name="connsiteY159-24188" fmla="*/ 1922289 h 5292022"/>
              <a:gd name="connsiteX160-24189" fmla="*/ 516173 w 10693106"/>
              <a:gd name="connsiteY160-24190" fmla="*/ 1837622 h 5292022"/>
              <a:gd name="connsiteX161-24191" fmla="*/ 355306 w 10693106"/>
              <a:gd name="connsiteY161-24192" fmla="*/ 1625956 h 5292022"/>
              <a:gd name="connsiteX162-24193" fmla="*/ 296040 w 10693106"/>
              <a:gd name="connsiteY162-24194" fmla="*/ 1524356 h 5292022"/>
              <a:gd name="connsiteX163-24195" fmla="*/ 253706 w 10693106"/>
              <a:gd name="connsiteY163-24196" fmla="*/ 1346556 h 5292022"/>
              <a:gd name="connsiteX164-24197" fmla="*/ 245240 w 10693106"/>
              <a:gd name="connsiteY164-24198" fmla="*/ 1219556 h 5292022"/>
              <a:gd name="connsiteX165-24199" fmla="*/ 236773 w 10693106"/>
              <a:gd name="connsiteY165-24200" fmla="*/ 1117956 h 5292022"/>
              <a:gd name="connsiteX166-24201" fmla="*/ 245240 w 10693106"/>
              <a:gd name="connsiteY166-24202" fmla="*/ 847022 h 5292022"/>
              <a:gd name="connsiteX167-24203" fmla="*/ 236773 w 10693106"/>
              <a:gd name="connsiteY167-24204" fmla="*/ 703089 h 5292022"/>
              <a:gd name="connsiteX168-24205" fmla="*/ 109773 w 10693106"/>
              <a:gd name="connsiteY168-24206" fmla="*/ 559156 h 5292022"/>
              <a:gd name="connsiteX169-24207" fmla="*/ 58973 w 10693106"/>
              <a:gd name="connsiteY169-24208" fmla="*/ 482956 h 5292022"/>
              <a:gd name="connsiteX170-24209" fmla="*/ 16640 w 10693106"/>
              <a:gd name="connsiteY170-24210" fmla="*/ 432156 h 5292022"/>
              <a:gd name="connsiteX171-24211" fmla="*/ 8173 w 10693106"/>
              <a:gd name="connsiteY171-24212" fmla="*/ 389822 h 5292022"/>
              <a:gd name="connsiteX172-24213" fmla="*/ 16640 w 10693106"/>
              <a:gd name="connsiteY172-24214" fmla="*/ 339022 h 5292022"/>
              <a:gd name="connsiteX0-24215" fmla="*/ 16640 w 10693106"/>
              <a:gd name="connsiteY0-24216" fmla="*/ 339022 h 5292022"/>
              <a:gd name="connsiteX1-24217" fmla="*/ 58973 w 10693106"/>
              <a:gd name="connsiteY1-24218" fmla="*/ 245889 h 5292022"/>
              <a:gd name="connsiteX2-24219" fmla="*/ 109773 w 10693106"/>
              <a:gd name="connsiteY2-24220" fmla="*/ 178156 h 5292022"/>
              <a:gd name="connsiteX3-24221" fmla="*/ 202906 w 10693106"/>
              <a:gd name="connsiteY3-24222" fmla="*/ 93489 h 5292022"/>
              <a:gd name="connsiteX4-24223" fmla="*/ 236773 w 10693106"/>
              <a:gd name="connsiteY4-24224" fmla="*/ 68089 h 5292022"/>
              <a:gd name="connsiteX5-24225" fmla="*/ 335410 w 10693106"/>
              <a:gd name="connsiteY5-24226" fmla="*/ 58352 h 5292022"/>
              <a:gd name="connsiteX6-24227" fmla="*/ 382400 w 10693106"/>
              <a:gd name="connsiteY6-24228" fmla="*/ 51156 h 5292022"/>
              <a:gd name="connsiteX7-24229" fmla="*/ 434912 w 10693106"/>
              <a:gd name="connsiteY7-24230" fmla="*/ 70071 h 5292022"/>
              <a:gd name="connsiteX8-24231" fmla="*/ 492697 w 10693106"/>
              <a:gd name="connsiteY8-24232" fmla="*/ 74247 h 5292022"/>
              <a:gd name="connsiteX9-24233" fmla="*/ 822897 w 10693106"/>
              <a:gd name="connsiteY9-24234" fmla="*/ 82713 h 5292022"/>
              <a:gd name="connsiteX10-24235" fmla="*/ 1091906 w 10693106"/>
              <a:gd name="connsiteY10-24236" fmla="*/ 356 h 5292022"/>
              <a:gd name="connsiteX11-24237" fmla="*/ 1235840 w 10693106"/>
              <a:gd name="connsiteY11-24238" fmla="*/ 59622 h 5292022"/>
              <a:gd name="connsiteX12-24239" fmla="*/ 1337440 w 10693106"/>
              <a:gd name="connsiteY12-24240" fmla="*/ 135822 h 5292022"/>
              <a:gd name="connsiteX13-24241" fmla="*/ 1422106 w 10693106"/>
              <a:gd name="connsiteY13-24242" fmla="*/ 245889 h 5292022"/>
              <a:gd name="connsiteX14-24243" fmla="*/ 1481373 w 10693106"/>
              <a:gd name="connsiteY14-24244" fmla="*/ 313622 h 5292022"/>
              <a:gd name="connsiteX15-24245" fmla="*/ 1532173 w 10693106"/>
              <a:gd name="connsiteY15-24246" fmla="*/ 347489 h 5292022"/>
              <a:gd name="connsiteX16-24247" fmla="*/ 1684573 w 10693106"/>
              <a:gd name="connsiteY16-24248" fmla="*/ 406756 h 5292022"/>
              <a:gd name="connsiteX17-24249" fmla="*/ 1760773 w 10693106"/>
              <a:gd name="connsiteY17-24250" fmla="*/ 423689 h 5292022"/>
              <a:gd name="connsiteX18-24251" fmla="*/ 1997840 w 10693106"/>
              <a:gd name="connsiteY18-24252" fmla="*/ 415222 h 5292022"/>
              <a:gd name="connsiteX19-24253" fmla="*/ 2116373 w 10693106"/>
              <a:gd name="connsiteY19-24254" fmla="*/ 398289 h 5292022"/>
              <a:gd name="connsiteX20-24255" fmla="*/ 2260306 w 10693106"/>
              <a:gd name="connsiteY20-24256" fmla="*/ 381356 h 5292022"/>
              <a:gd name="connsiteX21-24257" fmla="*/ 2404240 w 10693106"/>
              <a:gd name="connsiteY21-24258" fmla="*/ 355956 h 5292022"/>
              <a:gd name="connsiteX22-24259" fmla="*/ 2455040 w 10693106"/>
              <a:gd name="connsiteY22-24260" fmla="*/ 330556 h 5292022"/>
              <a:gd name="connsiteX23-24261" fmla="*/ 2531240 w 10693106"/>
              <a:gd name="connsiteY23-24262" fmla="*/ 305156 h 5292022"/>
              <a:gd name="connsiteX24-24263" fmla="*/ 2649350 w 10693106"/>
              <a:gd name="connsiteY24-24264" fmla="*/ 225781 h 5292022"/>
              <a:gd name="connsiteX25-24265" fmla="*/ 2742906 w 10693106"/>
              <a:gd name="connsiteY25-24266" fmla="*/ 186622 h 5292022"/>
              <a:gd name="connsiteX26-24267" fmla="*/ 2764920 w 10693106"/>
              <a:gd name="connsiteY26-24268" fmla="*/ 173076 h 5292022"/>
              <a:gd name="connsiteX27-24269" fmla="*/ 2832653 w 10693106"/>
              <a:gd name="connsiteY27-24270" fmla="*/ 167996 h 5292022"/>
              <a:gd name="connsiteX28-24271" fmla="*/ 3002294 w 10693106"/>
              <a:gd name="connsiteY28-24272" fmla="*/ 154680 h 5292022"/>
              <a:gd name="connsiteX29-24273" fmla="*/ 3142763 w 10693106"/>
              <a:gd name="connsiteY29-24274" fmla="*/ 110421 h 5292022"/>
              <a:gd name="connsiteX30-24275" fmla="*/ 3398918 w 10693106"/>
              <a:gd name="connsiteY30-24276" fmla="*/ 72322 h 5292022"/>
              <a:gd name="connsiteX31-24277" fmla="*/ 3606506 w 10693106"/>
              <a:gd name="connsiteY31-24278" fmla="*/ 60393 h 5292022"/>
              <a:gd name="connsiteX32-24279" fmla="*/ 3682706 w 10693106"/>
              <a:gd name="connsiteY32-24280" fmla="*/ 79942 h 5292022"/>
              <a:gd name="connsiteX33-24281" fmla="*/ 3741973 w 10693106"/>
              <a:gd name="connsiteY33-24282" fmla="*/ 86561 h 5292022"/>
              <a:gd name="connsiteX34-24283" fmla="*/ 3794678 w 10693106"/>
              <a:gd name="connsiteY34-24284" fmla="*/ 101321 h 5292022"/>
              <a:gd name="connsiteX35-24285" fmla="*/ 3833625 w 10693106"/>
              <a:gd name="connsiteY35-24286" fmla="*/ 110846 h 5292022"/>
              <a:gd name="connsiteX36-24287" fmla="*/ 3892487 w 10693106"/>
              <a:gd name="connsiteY36-24288" fmla="*/ 116984 h 5292022"/>
              <a:gd name="connsiteX37-24289" fmla="*/ 3933108 w 10693106"/>
              <a:gd name="connsiteY37-24290" fmla="*/ 128837 h 5292022"/>
              <a:gd name="connsiteX38-24291" fmla="*/ 3976923 w 10693106"/>
              <a:gd name="connsiteY38-24292" fmla="*/ 135187 h 5292022"/>
              <a:gd name="connsiteX39-24293" fmla="*/ 4021373 w 10693106"/>
              <a:gd name="connsiteY39-24294" fmla="*/ 144289 h 5292022"/>
              <a:gd name="connsiteX40-24295" fmla="*/ 4055240 w 10693106"/>
              <a:gd name="connsiteY40-24296" fmla="*/ 152756 h 5292022"/>
              <a:gd name="connsiteX41-24297" fmla="*/ 4275373 w 10693106"/>
              <a:gd name="connsiteY41-24298" fmla="*/ 195089 h 5292022"/>
              <a:gd name="connsiteX42-24299" fmla="*/ 4402373 w 10693106"/>
              <a:gd name="connsiteY42-24300" fmla="*/ 228956 h 5292022"/>
              <a:gd name="connsiteX43-24301" fmla="*/ 4529373 w 10693106"/>
              <a:gd name="connsiteY43-24302" fmla="*/ 271289 h 5292022"/>
              <a:gd name="connsiteX44-24303" fmla="*/ 4859573 w 10693106"/>
              <a:gd name="connsiteY44-24304" fmla="*/ 347489 h 5292022"/>
              <a:gd name="connsiteX45-24305" fmla="*/ 5045840 w 10693106"/>
              <a:gd name="connsiteY45-24306" fmla="*/ 423689 h 5292022"/>
              <a:gd name="connsiteX46-24307" fmla="*/ 5325240 w 10693106"/>
              <a:gd name="connsiteY46-24308" fmla="*/ 584556 h 5292022"/>
              <a:gd name="connsiteX47-24309" fmla="*/ 5494573 w 10693106"/>
              <a:gd name="connsiteY47-24310" fmla="*/ 736956 h 5292022"/>
              <a:gd name="connsiteX48-24311" fmla="*/ 5562306 w 10693106"/>
              <a:gd name="connsiteY48-24312" fmla="*/ 813156 h 5292022"/>
              <a:gd name="connsiteX49-24313" fmla="*/ 5621573 w 10693106"/>
              <a:gd name="connsiteY49-24314" fmla="*/ 863956 h 5292022"/>
              <a:gd name="connsiteX50-24315" fmla="*/ 5672373 w 10693106"/>
              <a:gd name="connsiteY50-24316" fmla="*/ 931689 h 5292022"/>
              <a:gd name="connsiteX51-24317" fmla="*/ 5757040 w 10693106"/>
              <a:gd name="connsiteY51-24318" fmla="*/ 1033289 h 5292022"/>
              <a:gd name="connsiteX52-24319" fmla="*/ 5833240 w 10693106"/>
              <a:gd name="connsiteY52-24320" fmla="*/ 1126422 h 5292022"/>
              <a:gd name="connsiteX53-24321" fmla="*/ 6763726 w 10693106"/>
              <a:gd name="connsiteY53-24322" fmla="*/ 1389312 h 5292022"/>
              <a:gd name="connsiteX54-24323" fmla="*/ 7742050 w 10693106"/>
              <a:gd name="connsiteY54-24324" fmla="*/ 1241146 h 5292022"/>
              <a:gd name="connsiteX55-24325" fmla="*/ 8652640 w 10693106"/>
              <a:gd name="connsiteY55-24326" fmla="*/ 677689 h 5292022"/>
              <a:gd name="connsiteX56-24327" fmla="*/ 8847373 w 10693106"/>
              <a:gd name="connsiteY56-24328" fmla="*/ 491422 h 5292022"/>
              <a:gd name="connsiteX57-24329" fmla="*/ 8982840 w 10693106"/>
              <a:gd name="connsiteY57-24330" fmla="*/ 398289 h 5292022"/>
              <a:gd name="connsiteX58-24331" fmla="*/ 9084440 w 10693106"/>
              <a:gd name="connsiteY58-24332" fmla="*/ 364422 h 5292022"/>
              <a:gd name="connsiteX59-24333" fmla="*/ 9152173 w 10693106"/>
              <a:gd name="connsiteY59-24334" fmla="*/ 339022 h 5292022"/>
              <a:gd name="connsiteX60-24335" fmla="*/ 9380773 w 10693106"/>
              <a:gd name="connsiteY60-24336" fmla="*/ 355956 h 5292022"/>
              <a:gd name="connsiteX61-24337" fmla="*/ 9744840 w 10693106"/>
              <a:gd name="connsiteY61-24338" fmla="*/ 466022 h 5292022"/>
              <a:gd name="connsiteX62-24339" fmla="*/ 9888773 w 10693106"/>
              <a:gd name="connsiteY62-24340" fmla="*/ 508356 h 5292022"/>
              <a:gd name="connsiteX63-24341" fmla="*/ 9998840 w 10693106"/>
              <a:gd name="connsiteY63-24342" fmla="*/ 559156 h 5292022"/>
              <a:gd name="connsiteX64-24343" fmla="*/ 10083506 w 10693106"/>
              <a:gd name="connsiteY64-24344" fmla="*/ 618422 h 5292022"/>
              <a:gd name="connsiteX65-24345" fmla="*/ 10286706 w 10693106"/>
              <a:gd name="connsiteY65-24346" fmla="*/ 686156 h 5292022"/>
              <a:gd name="connsiteX66-24347" fmla="*/ 10388306 w 10693106"/>
              <a:gd name="connsiteY66-24348" fmla="*/ 889356 h 5292022"/>
              <a:gd name="connsiteX67-24349" fmla="*/ 10540706 w 10693106"/>
              <a:gd name="connsiteY67-24350" fmla="*/ 1261889 h 5292022"/>
              <a:gd name="connsiteX68-24351" fmla="*/ 10557640 w 10693106"/>
              <a:gd name="connsiteY68-24352" fmla="*/ 1346556 h 5292022"/>
              <a:gd name="connsiteX69-24353" fmla="*/ 10583040 w 10693106"/>
              <a:gd name="connsiteY69-24354" fmla="*/ 1448156 h 5292022"/>
              <a:gd name="connsiteX70-24355" fmla="*/ 10616906 w 10693106"/>
              <a:gd name="connsiteY70-24356" fmla="*/ 1651356 h 5292022"/>
              <a:gd name="connsiteX71-24357" fmla="*/ 10633840 w 10693106"/>
              <a:gd name="connsiteY71-24358" fmla="*/ 1736022 h 5292022"/>
              <a:gd name="connsiteX72-24359" fmla="*/ 10650773 w 10693106"/>
              <a:gd name="connsiteY72-24360" fmla="*/ 1769889 h 5292022"/>
              <a:gd name="connsiteX73-24361" fmla="*/ 10676173 w 10693106"/>
              <a:gd name="connsiteY73-24362" fmla="*/ 1854556 h 5292022"/>
              <a:gd name="connsiteX74-24363" fmla="*/ 10693106 w 10693106"/>
              <a:gd name="connsiteY74-24364" fmla="*/ 2006956 h 5292022"/>
              <a:gd name="connsiteX75-24365" fmla="*/ 10625373 w 10693106"/>
              <a:gd name="connsiteY75-24366" fmla="*/ 2227089 h 5292022"/>
              <a:gd name="connsiteX76-24367" fmla="*/ 10608440 w 10693106"/>
              <a:gd name="connsiteY76-24368" fmla="*/ 2252489 h 5292022"/>
              <a:gd name="connsiteX77-24369" fmla="*/ 10540706 w 10693106"/>
              <a:gd name="connsiteY77-24370" fmla="*/ 2396422 h 5292022"/>
              <a:gd name="connsiteX78-24371" fmla="*/ 10498373 w 10693106"/>
              <a:gd name="connsiteY78-24372" fmla="*/ 2481089 h 5292022"/>
              <a:gd name="connsiteX79-24373" fmla="*/ 10439106 w 10693106"/>
              <a:gd name="connsiteY79-24374" fmla="*/ 2667356 h 5292022"/>
              <a:gd name="connsiteX80-24375" fmla="*/ 10430640 w 10693106"/>
              <a:gd name="connsiteY80-24376" fmla="*/ 2709689 h 5292022"/>
              <a:gd name="connsiteX81-24377" fmla="*/ 10405240 w 10693106"/>
              <a:gd name="connsiteY81-24378" fmla="*/ 2785889 h 5292022"/>
              <a:gd name="connsiteX82-24379" fmla="*/ 10396773 w 10693106"/>
              <a:gd name="connsiteY82-24380" fmla="*/ 2819756 h 5292022"/>
              <a:gd name="connsiteX83-24381" fmla="*/ 10362906 w 10693106"/>
              <a:gd name="connsiteY83-24382" fmla="*/ 2912889 h 5292022"/>
              <a:gd name="connsiteX84-24383" fmla="*/ 10329040 w 10693106"/>
              <a:gd name="connsiteY84-24384" fmla="*/ 2955222 h 5292022"/>
              <a:gd name="connsiteX85-24385" fmla="*/ 10227440 w 10693106"/>
              <a:gd name="connsiteY85-24386" fmla="*/ 3056822 h 5292022"/>
              <a:gd name="connsiteX86-24387" fmla="*/ 10168173 w 10693106"/>
              <a:gd name="connsiteY86-24388" fmla="*/ 3124556 h 5292022"/>
              <a:gd name="connsiteX87-24389" fmla="*/ 10117373 w 10693106"/>
              <a:gd name="connsiteY87-24390" fmla="*/ 3175356 h 5292022"/>
              <a:gd name="connsiteX88-24391" fmla="*/ 10032706 w 10693106"/>
              <a:gd name="connsiteY88-24392" fmla="*/ 3276956 h 5292022"/>
              <a:gd name="connsiteX89-24393" fmla="*/ 9948040 w 10693106"/>
              <a:gd name="connsiteY89-24394" fmla="*/ 3336222 h 5292022"/>
              <a:gd name="connsiteX90-24395" fmla="*/ 9905706 w 10693106"/>
              <a:gd name="connsiteY90-24396" fmla="*/ 3361622 h 5292022"/>
              <a:gd name="connsiteX91-24397" fmla="*/ 9829506 w 10693106"/>
              <a:gd name="connsiteY91-24398" fmla="*/ 3378556 h 5292022"/>
              <a:gd name="connsiteX92-24399" fmla="*/ 9727906 w 10693106"/>
              <a:gd name="connsiteY92-24400" fmla="*/ 3420889 h 5292022"/>
              <a:gd name="connsiteX93-24401" fmla="*/ 9634773 w 10693106"/>
              <a:gd name="connsiteY93-24402" fmla="*/ 3446289 h 5292022"/>
              <a:gd name="connsiteX94-24403" fmla="*/ 9456973 w 10693106"/>
              <a:gd name="connsiteY94-24404" fmla="*/ 3539422 h 5292022"/>
              <a:gd name="connsiteX95-24405" fmla="*/ 9313040 w 10693106"/>
              <a:gd name="connsiteY95-24406" fmla="*/ 3666422 h 5292022"/>
              <a:gd name="connsiteX96-24407" fmla="*/ 9279173 w 10693106"/>
              <a:gd name="connsiteY96-24408" fmla="*/ 3683356 h 5292022"/>
              <a:gd name="connsiteX97-24409" fmla="*/ 9067506 w 10693106"/>
              <a:gd name="connsiteY97-24410" fmla="*/ 3861156 h 5292022"/>
              <a:gd name="connsiteX98-24411" fmla="*/ 8999773 w 10693106"/>
              <a:gd name="connsiteY98-24412" fmla="*/ 3928889 h 5292022"/>
              <a:gd name="connsiteX99-24413" fmla="*/ 8813506 w 10693106"/>
              <a:gd name="connsiteY99-24414" fmla="*/ 4064356 h 5292022"/>
              <a:gd name="connsiteX100-24415" fmla="*/ 8728840 w 10693106"/>
              <a:gd name="connsiteY100-24416" fmla="*/ 4106689 h 5292022"/>
              <a:gd name="connsiteX101-24417" fmla="*/ 8373240 w 10693106"/>
              <a:gd name="connsiteY101-24418" fmla="*/ 4140556 h 5292022"/>
              <a:gd name="connsiteX102-24419" fmla="*/ 7966840 w 10693106"/>
              <a:gd name="connsiteY102-24420" fmla="*/ 4233689 h 5292022"/>
              <a:gd name="connsiteX103-24421" fmla="*/ 7687440 w 10693106"/>
              <a:gd name="connsiteY103-24422" fmla="*/ 4394556 h 5292022"/>
              <a:gd name="connsiteX104-24423" fmla="*/ 7551973 w 10693106"/>
              <a:gd name="connsiteY104-24424" fmla="*/ 4479222 h 5292022"/>
              <a:gd name="connsiteX105-24425" fmla="*/ 7374173 w 10693106"/>
              <a:gd name="connsiteY105-24426" fmla="*/ 4657022 h 5292022"/>
              <a:gd name="connsiteX106-24427" fmla="*/ 7374173 w 10693106"/>
              <a:gd name="connsiteY106-24428" fmla="*/ 4657022 h 5292022"/>
              <a:gd name="connsiteX107-24429" fmla="*/ 7221773 w 10693106"/>
              <a:gd name="connsiteY107-24430" fmla="*/ 4775556 h 5292022"/>
              <a:gd name="connsiteX108-24431" fmla="*/ 7027040 w 10693106"/>
              <a:gd name="connsiteY108-24432" fmla="*/ 4902556 h 5292022"/>
              <a:gd name="connsiteX109-24433" fmla="*/ 6883106 w 10693106"/>
              <a:gd name="connsiteY109-24434" fmla="*/ 4970289 h 5292022"/>
              <a:gd name="connsiteX110-24435" fmla="*/ 6815373 w 10693106"/>
              <a:gd name="connsiteY110-24436" fmla="*/ 5012622 h 5292022"/>
              <a:gd name="connsiteX111-24437" fmla="*/ 6646040 w 10693106"/>
              <a:gd name="connsiteY111-24438" fmla="*/ 5105756 h 5292022"/>
              <a:gd name="connsiteX112-24439" fmla="*/ 6527506 w 10693106"/>
              <a:gd name="connsiteY112-24440" fmla="*/ 5165022 h 5292022"/>
              <a:gd name="connsiteX113-24441" fmla="*/ 6298906 w 10693106"/>
              <a:gd name="connsiteY113-24442" fmla="*/ 5241222 h 5292022"/>
              <a:gd name="connsiteX114-24443" fmla="*/ 6197306 w 10693106"/>
              <a:gd name="connsiteY114-24444" fmla="*/ 5266622 h 5292022"/>
              <a:gd name="connsiteX115-24445" fmla="*/ 6061840 w 10693106"/>
              <a:gd name="connsiteY115-24446" fmla="*/ 5275089 h 5292022"/>
              <a:gd name="connsiteX116-24447" fmla="*/ 5917906 w 10693106"/>
              <a:gd name="connsiteY116-24448" fmla="*/ 5292022 h 5292022"/>
              <a:gd name="connsiteX117-24449" fmla="*/ 5748573 w 10693106"/>
              <a:gd name="connsiteY117-24450" fmla="*/ 5283556 h 5292022"/>
              <a:gd name="connsiteX118-24451" fmla="*/ 5282906 w 10693106"/>
              <a:gd name="connsiteY118-24452" fmla="*/ 5173489 h 5292022"/>
              <a:gd name="connsiteX119-24453" fmla="*/ 5138973 w 10693106"/>
              <a:gd name="connsiteY119-24454" fmla="*/ 5071889 h 5292022"/>
              <a:gd name="connsiteX120-24455" fmla="*/ 4959480 w 10693106"/>
              <a:gd name="connsiteY120-24456" fmla="*/ 4988069 h 5292022"/>
              <a:gd name="connsiteX121-24457" fmla="*/ 4842216 w 10693106"/>
              <a:gd name="connsiteY121-24458" fmla="*/ 4953779 h 5292022"/>
              <a:gd name="connsiteX122-24459" fmla="*/ 4797343 w 10693106"/>
              <a:gd name="connsiteY122-24460" fmla="*/ 4878426 h 5292022"/>
              <a:gd name="connsiteX123-24461" fmla="*/ 4686853 w 10693106"/>
              <a:gd name="connsiteY123-24462" fmla="*/ 4788256 h 5292022"/>
              <a:gd name="connsiteX124-24463" fmla="*/ 4536146 w 10693106"/>
              <a:gd name="connsiteY124-24464" fmla="*/ 4712902 h 5292022"/>
              <a:gd name="connsiteX125-24465" fmla="*/ 4365120 w 10693106"/>
              <a:gd name="connsiteY125-24466" fmla="*/ 4616382 h 5292022"/>
              <a:gd name="connsiteX126-24467" fmla="*/ 4187743 w 10693106"/>
              <a:gd name="connsiteY126-24468" fmla="*/ 4521556 h 5292022"/>
              <a:gd name="connsiteX127-24469" fmla="*/ 4125936 w 10693106"/>
              <a:gd name="connsiteY127-24470" fmla="*/ 4386724 h 5292022"/>
              <a:gd name="connsiteX128-24471" fmla="*/ 3995973 w 10693106"/>
              <a:gd name="connsiteY128-24472" fmla="*/ 4232419 h 5292022"/>
              <a:gd name="connsiteX129-24473" fmla="*/ 3962530 w 10693106"/>
              <a:gd name="connsiteY129-24474" fmla="*/ 4135052 h 5292022"/>
              <a:gd name="connsiteX130-24475" fmla="*/ 3895643 w 10693106"/>
              <a:gd name="connsiteY130-24476" fmla="*/ 4059699 h 5292022"/>
              <a:gd name="connsiteX131-24477" fmla="*/ 3919773 w 10693106"/>
              <a:gd name="connsiteY131-24478" fmla="*/ 3920422 h 5292022"/>
              <a:gd name="connsiteX132-24479" fmla="*/ 3877440 w 10693106"/>
              <a:gd name="connsiteY132-24480" fmla="*/ 3624089 h 5292022"/>
              <a:gd name="connsiteX133-24481" fmla="*/ 3852040 w 10693106"/>
              <a:gd name="connsiteY133-24482" fmla="*/ 3530956 h 5292022"/>
              <a:gd name="connsiteX134-24483" fmla="*/ 3801240 w 10693106"/>
              <a:gd name="connsiteY134-24484" fmla="*/ 3420889 h 5292022"/>
              <a:gd name="connsiteX135-24485" fmla="*/ 3733506 w 10693106"/>
              <a:gd name="connsiteY135-24486" fmla="*/ 3319289 h 5292022"/>
              <a:gd name="connsiteX136-24487" fmla="*/ 3242440 w 10693106"/>
              <a:gd name="connsiteY136-24488" fmla="*/ 3099156 h 5292022"/>
              <a:gd name="connsiteX137-24489" fmla="*/ 3123906 w 10693106"/>
              <a:gd name="connsiteY137-24490" fmla="*/ 2997556 h 5292022"/>
              <a:gd name="connsiteX138-24491" fmla="*/ 2988440 w 10693106"/>
              <a:gd name="connsiteY138-24492" fmla="*/ 2802822 h 5292022"/>
              <a:gd name="connsiteX139-24493" fmla="*/ 2971506 w 10693106"/>
              <a:gd name="connsiteY139-24494" fmla="*/ 2743556 h 5292022"/>
              <a:gd name="connsiteX140-24495" fmla="*/ 2996906 w 10693106"/>
              <a:gd name="connsiteY140-24496" fmla="*/ 2531889 h 5292022"/>
              <a:gd name="connsiteX141-24497" fmla="*/ 3013840 w 10693106"/>
              <a:gd name="connsiteY141-24498" fmla="*/ 2430289 h 5292022"/>
              <a:gd name="connsiteX142-24499" fmla="*/ 3005373 w 10693106"/>
              <a:gd name="connsiteY142-24500" fmla="*/ 2311756 h 5292022"/>
              <a:gd name="connsiteX143-24501" fmla="*/ 2988440 w 10693106"/>
              <a:gd name="connsiteY143-24502" fmla="*/ 2260956 h 5292022"/>
              <a:gd name="connsiteX144-24503" fmla="*/ 2802173 w 10693106"/>
              <a:gd name="connsiteY144-24504" fmla="*/ 2006956 h 5292022"/>
              <a:gd name="connsiteX145-24505" fmla="*/ 2641306 w 10693106"/>
              <a:gd name="connsiteY145-24506" fmla="*/ 1863022 h 5292022"/>
              <a:gd name="connsiteX146-24507" fmla="*/ 2590506 w 10693106"/>
              <a:gd name="connsiteY146-24508" fmla="*/ 1837622 h 5292022"/>
              <a:gd name="connsiteX147-24509" fmla="*/ 2531240 w 10693106"/>
              <a:gd name="connsiteY147-24510" fmla="*/ 1829156 h 5292022"/>
              <a:gd name="connsiteX148-24511" fmla="*/ 2446573 w 10693106"/>
              <a:gd name="connsiteY148-24512" fmla="*/ 1812222 h 5292022"/>
              <a:gd name="connsiteX149-24513" fmla="*/ 2251840 w 10693106"/>
              <a:gd name="connsiteY149-24514" fmla="*/ 1837622 h 5292022"/>
              <a:gd name="connsiteX150-24515" fmla="*/ 2167173 w 10693106"/>
              <a:gd name="connsiteY150-24516" fmla="*/ 1879956 h 5292022"/>
              <a:gd name="connsiteX151-24517" fmla="*/ 1980906 w 10693106"/>
              <a:gd name="connsiteY151-24518" fmla="*/ 1939222 h 5292022"/>
              <a:gd name="connsiteX152-24519" fmla="*/ 1904706 w 10693106"/>
              <a:gd name="connsiteY152-24520" fmla="*/ 1973089 h 5292022"/>
              <a:gd name="connsiteX153-24521" fmla="*/ 1828506 w 10693106"/>
              <a:gd name="connsiteY153-24522" fmla="*/ 1990022 h 5292022"/>
              <a:gd name="connsiteX154-24523" fmla="*/ 1726906 w 10693106"/>
              <a:gd name="connsiteY154-24524" fmla="*/ 2040822 h 5292022"/>
              <a:gd name="connsiteX155-24525" fmla="*/ 1659173 w 10693106"/>
              <a:gd name="connsiteY155-24526" fmla="*/ 2074689 h 5292022"/>
              <a:gd name="connsiteX156-24527" fmla="*/ 1498306 w 10693106"/>
              <a:gd name="connsiteY156-24528" fmla="*/ 2100089 h 5292022"/>
              <a:gd name="connsiteX157-24529" fmla="*/ 914106 w 10693106"/>
              <a:gd name="connsiteY157-24530" fmla="*/ 2032356 h 5292022"/>
              <a:gd name="connsiteX158-24531" fmla="*/ 617773 w 10693106"/>
              <a:gd name="connsiteY158-24532" fmla="*/ 1922289 h 5292022"/>
              <a:gd name="connsiteX159-24533" fmla="*/ 516173 w 10693106"/>
              <a:gd name="connsiteY159-24534" fmla="*/ 1837622 h 5292022"/>
              <a:gd name="connsiteX160-24535" fmla="*/ 355306 w 10693106"/>
              <a:gd name="connsiteY160-24536" fmla="*/ 1625956 h 5292022"/>
              <a:gd name="connsiteX161-24537" fmla="*/ 296040 w 10693106"/>
              <a:gd name="connsiteY161-24538" fmla="*/ 1524356 h 5292022"/>
              <a:gd name="connsiteX162-24539" fmla="*/ 253706 w 10693106"/>
              <a:gd name="connsiteY162-24540" fmla="*/ 1346556 h 5292022"/>
              <a:gd name="connsiteX163-24541" fmla="*/ 245240 w 10693106"/>
              <a:gd name="connsiteY163-24542" fmla="*/ 1219556 h 5292022"/>
              <a:gd name="connsiteX164-24543" fmla="*/ 236773 w 10693106"/>
              <a:gd name="connsiteY164-24544" fmla="*/ 1117956 h 5292022"/>
              <a:gd name="connsiteX165-24545" fmla="*/ 245240 w 10693106"/>
              <a:gd name="connsiteY165-24546" fmla="*/ 847022 h 5292022"/>
              <a:gd name="connsiteX166-24547" fmla="*/ 236773 w 10693106"/>
              <a:gd name="connsiteY166-24548" fmla="*/ 703089 h 5292022"/>
              <a:gd name="connsiteX167-24549" fmla="*/ 109773 w 10693106"/>
              <a:gd name="connsiteY167-24550" fmla="*/ 559156 h 5292022"/>
              <a:gd name="connsiteX168-24551" fmla="*/ 58973 w 10693106"/>
              <a:gd name="connsiteY168-24552" fmla="*/ 482956 h 5292022"/>
              <a:gd name="connsiteX169-24553" fmla="*/ 16640 w 10693106"/>
              <a:gd name="connsiteY169-24554" fmla="*/ 432156 h 5292022"/>
              <a:gd name="connsiteX170-24555" fmla="*/ 8173 w 10693106"/>
              <a:gd name="connsiteY170-24556" fmla="*/ 389822 h 5292022"/>
              <a:gd name="connsiteX171-24557" fmla="*/ 16640 w 10693106"/>
              <a:gd name="connsiteY171-24558" fmla="*/ 339022 h 5292022"/>
              <a:gd name="connsiteX0-24559" fmla="*/ 16640 w 10693106"/>
              <a:gd name="connsiteY0-24560" fmla="*/ 339022 h 5292022"/>
              <a:gd name="connsiteX1-24561" fmla="*/ 58973 w 10693106"/>
              <a:gd name="connsiteY1-24562" fmla="*/ 245889 h 5292022"/>
              <a:gd name="connsiteX2-24563" fmla="*/ 109773 w 10693106"/>
              <a:gd name="connsiteY2-24564" fmla="*/ 178156 h 5292022"/>
              <a:gd name="connsiteX3-24565" fmla="*/ 202906 w 10693106"/>
              <a:gd name="connsiteY3-24566" fmla="*/ 93489 h 5292022"/>
              <a:gd name="connsiteX4-24567" fmla="*/ 236773 w 10693106"/>
              <a:gd name="connsiteY4-24568" fmla="*/ 68089 h 5292022"/>
              <a:gd name="connsiteX5-24569" fmla="*/ 335410 w 10693106"/>
              <a:gd name="connsiteY5-24570" fmla="*/ 58352 h 5292022"/>
              <a:gd name="connsiteX6-24571" fmla="*/ 382400 w 10693106"/>
              <a:gd name="connsiteY6-24572" fmla="*/ 51156 h 5292022"/>
              <a:gd name="connsiteX7-24573" fmla="*/ 434912 w 10693106"/>
              <a:gd name="connsiteY7-24574" fmla="*/ 70071 h 5292022"/>
              <a:gd name="connsiteX8-24575" fmla="*/ 492697 w 10693106"/>
              <a:gd name="connsiteY8-24576" fmla="*/ 74247 h 5292022"/>
              <a:gd name="connsiteX9-24577" fmla="*/ 822897 w 10693106"/>
              <a:gd name="connsiteY9-24578" fmla="*/ 82713 h 5292022"/>
              <a:gd name="connsiteX10-24579" fmla="*/ 1091906 w 10693106"/>
              <a:gd name="connsiteY10-24580" fmla="*/ 356 h 5292022"/>
              <a:gd name="connsiteX11-24581" fmla="*/ 1235840 w 10693106"/>
              <a:gd name="connsiteY11-24582" fmla="*/ 59622 h 5292022"/>
              <a:gd name="connsiteX12-24583" fmla="*/ 1337440 w 10693106"/>
              <a:gd name="connsiteY12-24584" fmla="*/ 135822 h 5292022"/>
              <a:gd name="connsiteX13-24585" fmla="*/ 1422106 w 10693106"/>
              <a:gd name="connsiteY13-24586" fmla="*/ 245889 h 5292022"/>
              <a:gd name="connsiteX14-24587" fmla="*/ 1481373 w 10693106"/>
              <a:gd name="connsiteY14-24588" fmla="*/ 313622 h 5292022"/>
              <a:gd name="connsiteX15-24589" fmla="*/ 1532173 w 10693106"/>
              <a:gd name="connsiteY15-24590" fmla="*/ 347489 h 5292022"/>
              <a:gd name="connsiteX16-24591" fmla="*/ 1684573 w 10693106"/>
              <a:gd name="connsiteY16-24592" fmla="*/ 406756 h 5292022"/>
              <a:gd name="connsiteX17-24593" fmla="*/ 1760773 w 10693106"/>
              <a:gd name="connsiteY17-24594" fmla="*/ 423689 h 5292022"/>
              <a:gd name="connsiteX18-24595" fmla="*/ 1997840 w 10693106"/>
              <a:gd name="connsiteY18-24596" fmla="*/ 415222 h 5292022"/>
              <a:gd name="connsiteX19-24597" fmla="*/ 2116373 w 10693106"/>
              <a:gd name="connsiteY19-24598" fmla="*/ 398289 h 5292022"/>
              <a:gd name="connsiteX20-24599" fmla="*/ 2260306 w 10693106"/>
              <a:gd name="connsiteY20-24600" fmla="*/ 381356 h 5292022"/>
              <a:gd name="connsiteX21-24601" fmla="*/ 2404240 w 10693106"/>
              <a:gd name="connsiteY21-24602" fmla="*/ 355956 h 5292022"/>
              <a:gd name="connsiteX22-24603" fmla="*/ 2455040 w 10693106"/>
              <a:gd name="connsiteY22-24604" fmla="*/ 330556 h 5292022"/>
              <a:gd name="connsiteX23-24605" fmla="*/ 2531240 w 10693106"/>
              <a:gd name="connsiteY23-24606" fmla="*/ 305156 h 5292022"/>
              <a:gd name="connsiteX24-24607" fmla="*/ 2649350 w 10693106"/>
              <a:gd name="connsiteY24-24608" fmla="*/ 225781 h 5292022"/>
              <a:gd name="connsiteX25-24609" fmla="*/ 2742906 w 10693106"/>
              <a:gd name="connsiteY25-24610" fmla="*/ 186622 h 5292022"/>
              <a:gd name="connsiteX26-24611" fmla="*/ 2764920 w 10693106"/>
              <a:gd name="connsiteY26-24612" fmla="*/ 173076 h 5292022"/>
              <a:gd name="connsiteX27-24613" fmla="*/ 2832653 w 10693106"/>
              <a:gd name="connsiteY27-24614" fmla="*/ 167996 h 5292022"/>
              <a:gd name="connsiteX28-24615" fmla="*/ 3002294 w 10693106"/>
              <a:gd name="connsiteY28-24616" fmla="*/ 154680 h 5292022"/>
              <a:gd name="connsiteX29-24617" fmla="*/ 3142763 w 10693106"/>
              <a:gd name="connsiteY29-24618" fmla="*/ 110421 h 5292022"/>
              <a:gd name="connsiteX30-24619" fmla="*/ 3398918 w 10693106"/>
              <a:gd name="connsiteY30-24620" fmla="*/ 72322 h 5292022"/>
              <a:gd name="connsiteX31-24621" fmla="*/ 3606506 w 10693106"/>
              <a:gd name="connsiteY31-24622" fmla="*/ 60393 h 5292022"/>
              <a:gd name="connsiteX32-24623" fmla="*/ 3682706 w 10693106"/>
              <a:gd name="connsiteY32-24624" fmla="*/ 79942 h 5292022"/>
              <a:gd name="connsiteX33-24625" fmla="*/ 3741973 w 10693106"/>
              <a:gd name="connsiteY33-24626" fmla="*/ 86561 h 5292022"/>
              <a:gd name="connsiteX34-24627" fmla="*/ 3794678 w 10693106"/>
              <a:gd name="connsiteY34-24628" fmla="*/ 101321 h 5292022"/>
              <a:gd name="connsiteX35-24629" fmla="*/ 3833625 w 10693106"/>
              <a:gd name="connsiteY35-24630" fmla="*/ 110846 h 5292022"/>
              <a:gd name="connsiteX36-24631" fmla="*/ 3892487 w 10693106"/>
              <a:gd name="connsiteY36-24632" fmla="*/ 116984 h 5292022"/>
              <a:gd name="connsiteX37-24633" fmla="*/ 3933108 w 10693106"/>
              <a:gd name="connsiteY37-24634" fmla="*/ 128837 h 5292022"/>
              <a:gd name="connsiteX38-24635" fmla="*/ 3976923 w 10693106"/>
              <a:gd name="connsiteY38-24636" fmla="*/ 135187 h 5292022"/>
              <a:gd name="connsiteX39-24637" fmla="*/ 4021373 w 10693106"/>
              <a:gd name="connsiteY39-24638" fmla="*/ 144289 h 5292022"/>
              <a:gd name="connsiteX40-24639" fmla="*/ 4055240 w 10693106"/>
              <a:gd name="connsiteY40-24640" fmla="*/ 152756 h 5292022"/>
              <a:gd name="connsiteX41-24641" fmla="*/ 4275373 w 10693106"/>
              <a:gd name="connsiteY41-24642" fmla="*/ 195089 h 5292022"/>
              <a:gd name="connsiteX42-24643" fmla="*/ 4402373 w 10693106"/>
              <a:gd name="connsiteY42-24644" fmla="*/ 228956 h 5292022"/>
              <a:gd name="connsiteX43-24645" fmla="*/ 4529373 w 10693106"/>
              <a:gd name="connsiteY43-24646" fmla="*/ 271289 h 5292022"/>
              <a:gd name="connsiteX44-24647" fmla="*/ 4859573 w 10693106"/>
              <a:gd name="connsiteY44-24648" fmla="*/ 347489 h 5292022"/>
              <a:gd name="connsiteX45-24649" fmla="*/ 5045840 w 10693106"/>
              <a:gd name="connsiteY45-24650" fmla="*/ 423689 h 5292022"/>
              <a:gd name="connsiteX46-24651" fmla="*/ 5325240 w 10693106"/>
              <a:gd name="connsiteY46-24652" fmla="*/ 584556 h 5292022"/>
              <a:gd name="connsiteX47-24653" fmla="*/ 5494573 w 10693106"/>
              <a:gd name="connsiteY47-24654" fmla="*/ 736956 h 5292022"/>
              <a:gd name="connsiteX48-24655" fmla="*/ 5562306 w 10693106"/>
              <a:gd name="connsiteY48-24656" fmla="*/ 813156 h 5292022"/>
              <a:gd name="connsiteX49-24657" fmla="*/ 5621573 w 10693106"/>
              <a:gd name="connsiteY49-24658" fmla="*/ 863956 h 5292022"/>
              <a:gd name="connsiteX50-24659" fmla="*/ 5672373 w 10693106"/>
              <a:gd name="connsiteY50-24660" fmla="*/ 931689 h 5292022"/>
              <a:gd name="connsiteX51-24661" fmla="*/ 5757040 w 10693106"/>
              <a:gd name="connsiteY51-24662" fmla="*/ 1033289 h 5292022"/>
              <a:gd name="connsiteX52-24663" fmla="*/ 5833240 w 10693106"/>
              <a:gd name="connsiteY52-24664" fmla="*/ 1126422 h 5292022"/>
              <a:gd name="connsiteX53-24665" fmla="*/ 6763726 w 10693106"/>
              <a:gd name="connsiteY53-24666" fmla="*/ 1389312 h 5292022"/>
              <a:gd name="connsiteX54-24667" fmla="*/ 7742050 w 10693106"/>
              <a:gd name="connsiteY54-24668" fmla="*/ 1241146 h 5292022"/>
              <a:gd name="connsiteX55-24669" fmla="*/ 8652640 w 10693106"/>
              <a:gd name="connsiteY55-24670" fmla="*/ 677689 h 5292022"/>
              <a:gd name="connsiteX56-24671" fmla="*/ 8982840 w 10693106"/>
              <a:gd name="connsiteY56-24672" fmla="*/ 398289 h 5292022"/>
              <a:gd name="connsiteX57-24673" fmla="*/ 9084440 w 10693106"/>
              <a:gd name="connsiteY57-24674" fmla="*/ 364422 h 5292022"/>
              <a:gd name="connsiteX58-24675" fmla="*/ 9152173 w 10693106"/>
              <a:gd name="connsiteY58-24676" fmla="*/ 339022 h 5292022"/>
              <a:gd name="connsiteX59-24677" fmla="*/ 9380773 w 10693106"/>
              <a:gd name="connsiteY59-24678" fmla="*/ 355956 h 5292022"/>
              <a:gd name="connsiteX60-24679" fmla="*/ 9744840 w 10693106"/>
              <a:gd name="connsiteY60-24680" fmla="*/ 466022 h 5292022"/>
              <a:gd name="connsiteX61-24681" fmla="*/ 9888773 w 10693106"/>
              <a:gd name="connsiteY61-24682" fmla="*/ 508356 h 5292022"/>
              <a:gd name="connsiteX62-24683" fmla="*/ 9998840 w 10693106"/>
              <a:gd name="connsiteY62-24684" fmla="*/ 559156 h 5292022"/>
              <a:gd name="connsiteX63-24685" fmla="*/ 10083506 w 10693106"/>
              <a:gd name="connsiteY63-24686" fmla="*/ 618422 h 5292022"/>
              <a:gd name="connsiteX64-24687" fmla="*/ 10286706 w 10693106"/>
              <a:gd name="connsiteY64-24688" fmla="*/ 686156 h 5292022"/>
              <a:gd name="connsiteX65-24689" fmla="*/ 10388306 w 10693106"/>
              <a:gd name="connsiteY65-24690" fmla="*/ 889356 h 5292022"/>
              <a:gd name="connsiteX66-24691" fmla="*/ 10540706 w 10693106"/>
              <a:gd name="connsiteY66-24692" fmla="*/ 1261889 h 5292022"/>
              <a:gd name="connsiteX67-24693" fmla="*/ 10557640 w 10693106"/>
              <a:gd name="connsiteY67-24694" fmla="*/ 1346556 h 5292022"/>
              <a:gd name="connsiteX68-24695" fmla="*/ 10583040 w 10693106"/>
              <a:gd name="connsiteY68-24696" fmla="*/ 1448156 h 5292022"/>
              <a:gd name="connsiteX69-24697" fmla="*/ 10616906 w 10693106"/>
              <a:gd name="connsiteY69-24698" fmla="*/ 1651356 h 5292022"/>
              <a:gd name="connsiteX70-24699" fmla="*/ 10633840 w 10693106"/>
              <a:gd name="connsiteY70-24700" fmla="*/ 1736022 h 5292022"/>
              <a:gd name="connsiteX71-24701" fmla="*/ 10650773 w 10693106"/>
              <a:gd name="connsiteY71-24702" fmla="*/ 1769889 h 5292022"/>
              <a:gd name="connsiteX72-24703" fmla="*/ 10676173 w 10693106"/>
              <a:gd name="connsiteY72-24704" fmla="*/ 1854556 h 5292022"/>
              <a:gd name="connsiteX73-24705" fmla="*/ 10693106 w 10693106"/>
              <a:gd name="connsiteY73-24706" fmla="*/ 2006956 h 5292022"/>
              <a:gd name="connsiteX74-24707" fmla="*/ 10625373 w 10693106"/>
              <a:gd name="connsiteY74-24708" fmla="*/ 2227089 h 5292022"/>
              <a:gd name="connsiteX75-24709" fmla="*/ 10608440 w 10693106"/>
              <a:gd name="connsiteY75-24710" fmla="*/ 2252489 h 5292022"/>
              <a:gd name="connsiteX76-24711" fmla="*/ 10540706 w 10693106"/>
              <a:gd name="connsiteY76-24712" fmla="*/ 2396422 h 5292022"/>
              <a:gd name="connsiteX77-24713" fmla="*/ 10498373 w 10693106"/>
              <a:gd name="connsiteY77-24714" fmla="*/ 2481089 h 5292022"/>
              <a:gd name="connsiteX78-24715" fmla="*/ 10439106 w 10693106"/>
              <a:gd name="connsiteY78-24716" fmla="*/ 2667356 h 5292022"/>
              <a:gd name="connsiteX79-24717" fmla="*/ 10430640 w 10693106"/>
              <a:gd name="connsiteY79-24718" fmla="*/ 2709689 h 5292022"/>
              <a:gd name="connsiteX80-24719" fmla="*/ 10405240 w 10693106"/>
              <a:gd name="connsiteY80-24720" fmla="*/ 2785889 h 5292022"/>
              <a:gd name="connsiteX81-24721" fmla="*/ 10396773 w 10693106"/>
              <a:gd name="connsiteY81-24722" fmla="*/ 2819756 h 5292022"/>
              <a:gd name="connsiteX82-24723" fmla="*/ 10362906 w 10693106"/>
              <a:gd name="connsiteY82-24724" fmla="*/ 2912889 h 5292022"/>
              <a:gd name="connsiteX83-24725" fmla="*/ 10329040 w 10693106"/>
              <a:gd name="connsiteY83-24726" fmla="*/ 2955222 h 5292022"/>
              <a:gd name="connsiteX84-24727" fmla="*/ 10227440 w 10693106"/>
              <a:gd name="connsiteY84-24728" fmla="*/ 3056822 h 5292022"/>
              <a:gd name="connsiteX85-24729" fmla="*/ 10168173 w 10693106"/>
              <a:gd name="connsiteY85-24730" fmla="*/ 3124556 h 5292022"/>
              <a:gd name="connsiteX86-24731" fmla="*/ 10117373 w 10693106"/>
              <a:gd name="connsiteY86-24732" fmla="*/ 3175356 h 5292022"/>
              <a:gd name="connsiteX87-24733" fmla="*/ 10032706 w 10693106"/>
              <a:gd name="connsiteY87-24734" fmla="*/ 3276956 h 5292022"/>
              <a:gd name="connsiteX88-24735" fmla="*/ 9948040 w 10693106"/>
              <a:gd name="connsiteY88-24736" fmla="*/ 3336222 h 5292022"/>
              <a:gd name="connsiteX89-24737" fmla="*/ 9905706 w 10693106"/>
              <a:gd name="connsiteY89-24738" fmla="*/ 3361622 h 5292022"/>
              <a:gd name="connsiteX90-24739" fmla="*/ 9829506 w 10693106"/>
              <a:gd name="connsiteY90-24740" fmla="*/ 3378556 h 5292022"/>
              <a:gd name="connsiteX91-24741" fmla="*/ 9727906 w 10693106"/>
              <a:gd name="connsiteY91-24742" fmla="*/ 3420889 h 5292022"/>
              <a:gd name="connsiteX92-24743" fmla="*/ 9634773 w 10693106"/>
              <a:gd name="connsiteY92-24744" fmla="*/ 3446289 h 5292022"/>
              <a:gd name="connsiteX93-24745" fmla="*/ 9456973 w 10693106"/>
              <a:gd name="connsiteY93-24746" fmla="*/ 3539422 h 5292022"/>
              <a:gd name="connsiteX94-24747" fmla="*/ 9313040 w 10693106"/>
              <a:gd name="connsiteY94-24748" fmla="*/ 3666422 h 5292022"/>
              <a:gd name="connsiteX95-24749" fmla="*/ 9279173 w 10693106"/>
              <a:gd name="connsiteY95-24750" fmla="*/ 3683356 h 5292022"/>
              <a:gd name="connsiteX96-24751" fmla="*/ 9067506 w 10693106"/>
              <a:gd name="connsiteY96-24752" fmla="*/ 3861156 h 5292022"/>
              <a:gd name="connsiteX97-24753" fmla="*/ 8999773 w 10693106"/>
              <a:gd name="connsiteY97-24754" fmla="*/ 3928889 h 5292022"/>
              <a:gd name="connsiteX98-24755" fmla="*/ 8813506 w 10693106"/>
              <a:gd name="connsiteY98-24756" fmla="*/ 4064356 h 5292022"/>
              <a:gd name="connsiteX99-24757" fmla="*/ 8728840 w 10693106"/>
              <a:gd name="connsiteY99-24758" fmla="*/ 4106689 h 5292022"/>
              <a:gd name="connsiteX100-24759" fmla="*/ 8373240 w 10693106"/>
              <a:gd name="connsiteY100-24760" fmla="*/ 4140556 h 5292022"/>
              <a:gd name="connsiteX101-24761" fmla="*/ 7966840 w 10693106"/>
              <a:gd name="connsiteY101-24762" fmla="*/ 4233689 h 5292022"/>
              <a:gd name="connsiteX102-24763" fmla="*/ 7687440 w 10693106"/>
              <a:gd name="connsiteY102-24764" fmla="*/ 4394556 h 5292022"/>
              <a:gd name="connsiteX103-24765" fmla="*/ 7551973 w 10693106"/>
              <a:gd name="connsiteY103-24766" fmla="*/ 4479222 h 5292022"/>
              <a:gd name="connsiteX104-24767" fmla="*/ 7374173 w 10693106"/>
              <a:gd name="connsiteY104-24768" fmla="*/ 4657022 h 5292022"/>
              <a:gd name="connsiteX105-24769" fmla="*/ 7374173 w 10693106"/>
              <a:gd name="connsiteY105-24770" fmla="*/ 4657022 h 5292022"/>
              <a:gd name="connsiteX106-24771" fmla="*/ 7221773 w 10693106"/>
              <a:gd name="connsiteY106-24772" fmla="*/ 4775556 h 5292022"/>
              <a:gd name="connsiteX107-24773" fmla="*/ 7027040 w 10693106"/>
              <a:gd name="connsiteY107-24774" fmla="*/ 4902556 h 5292022"/>
              <a:gd name="connsiteX108-24775" fmla="*/ 6883106 w 10693106"/>
              <a:gd name="connsiteY108-24776" fmla="*/ 4970289 h 5292022"/>
              <a:gd name="connsiteX109-24777" fmla="*/ 6815373 w 10693106"/>
              <a:gd name="connsiteY109-24778" fmla="*/ 5012622 h 5292022"/>
              <a:gd name="connsiteX110-24779" fmla="*/ 6646040 w 10693106"/>
              <a:gd name="connsiteY110-24780" fmla="*/ 5105756 h 5292022"/>
              <a:gd name="connsiteX111-24781" fmla="*/ 6527506 w 10693106"/>
              <a:gd name="connsiteY111-24782" fmla="*/ 5165022 h 5292022"/>
              <a:gd name="connsiteX112-24783" fmla="*/ 6298906 w 10693106"/>
              <a:gd name="connsiteY112-24784" fmla="*/ 5241222 h 5292022"/>
              <a:gd name="connsiteX113-24785" fmla="*/ 6197306 w 10693106"/>
              <a:gd name="connsiteY113-24786" fmla="*/ 5266622 h 5292022"/>
              <a:gd name="connsiteX114-24787" fmla="*/ 6061840 w 10693106"/>
              <a:gd name="connsiteY114-24788" fmla="*/ 5275089 h 5292022"/>
              <a:gd name="connsiteX115-24789" fmla="*/ 5917906 w 10693106"/>
              <a:gd name="connsiteY115-24790" fmla="*/ 5292022 h 5292022"/>
              <a:gd name="connsiteX116-24791" fmla="*/ 5748573 w 10693106"/>
              <a:gd name="connsiteY116-24792" fmla="*/ 5283556 h 5292022"/>
              <a:gd name="connsiteX117-24793" fmla="*/ 5282906 w 10693106"/>
              <a:gd name="connsiteY117-24794" fmla="*/ 5173489 h 5292022"/>
              <a:gd name="connsiteX118-24795" fmla="*/ 5138973 w 10693106"/>
              <a:gd name="connsiteY118-24796" fmla="*/ 5071889 h 5292022"/>
              <a:gd name="connsiteX119-24797" fmla="*/ 4959480 w 10693106"/>
              <a:gd name="connsiteY119-24798" fmla="*/ 4988069 h 5292022"/>
              <a:gd name="connsiteX120-24799" fmla="*/ 4842216 w 10693106"/>
              <a:gd name="connsiteY120-24800" fmla="*/ 4953779 h 5292022"/>
              <a:gd name="connsiteX121-24801" fmla="*/ 4797343 w 10693106"/>
              <a:gd name="connsiteY121-24802" fmla="*/ 4878426 h 5292022"/>
              <a:gd name="connsiteX122-24803" fmla="*/ 4686853 w 10693106"/>
              <a:gd name="connsiteY122-24804" fmla="*/ 4788256 h 5292022"/>
              <a:gd name="connsiteX123-24805" fmla="*/ 4536146 w 10693106"/>
              <a:gd name="connsiteY123-24806" fmla="*/ 4712902 h 5292022"/>
              <a:gd name="connsiteX124-24807" fmla="*/ 4365120 w 10693106"/>
              <a:gd name="connsiteY124-24808" fmla="*/ 4616382 h 5292022"/>
              <a:gd name="connsiteX125-24809" fmla="*/ 4187743 w 10693106"/>
              <a:gd name="connsiteY125-24810" fmla="*/ 4521556 h 5292022"/>
              <a:gd name="connsiteX126-24811" fmla="*/ 4125936 w 10693106"/>
              <a:gd name="connsiteY126-24812" fmla="*/ 4386724 h 5292022"/>
              <a:gd name="connsiteX127-24813" fmla="*/ 3995973 w 10693106"/>
              <a:gd name="connsiteY127-24814" fmla="*/ 4232419 h 5292022"/>
              <a:gd name="connsiteX128-24815" fmla="*/ 3962530 w 10693106"/>
              <a:gd name="connsiteY128-24816" fmla="*/ 4135052 h 5292022"/>
              <a:gd name="connsiteX129-24817" fmla="*/ 3895643 w 10693106"/>
              <a:gd name="connsiteY129-24818" fmla="*/ 4059699 h 5292022"/>
              <a:gd name="connsiteX130-24819" fmla="*/ 3919773 w 10693106"/>
              <a:gd name="connsiteY130-24820" fmla="*/ 3920422 h 5292022"/>
              <a:gd name="connsiteX131-24821" fmla="*/ 3877440 w 10693106"/>
              <a:gd name="connsiteY131-24822" fmla="*/ 3624089 h 5292022"/>
              <a:gd name="connsiteX132-24823" fmla="*/ 3852040 w 10693106"/>
              <a:gd name="connsiteY132-24824" fmla="*/ 3530956 h 5292022"/>
              <a:gd name="connsiteX133-24825" fmla="*/ 3801240 w 10693106"/>
              <a:gd name="connsiteY133-24826" fmla="*/ 3420889 h 5292022"/>
              <a:gd name="connsiteX134-24827" fmla="*/ 3733506 w 10693106"/>
              <a:gd name="connsiteY134-24828" fmla="*/ 3319289 h 5292022"/>
              <a:gd name="connsiteX135-24829" fmla="*/ 3242440 w 10693106"/>
              <a:gd name="connsiteY135-24830" fmla="*/ 3099156 h 5292022"/>
              <a:gd name="connsiteX136-24831" fmla="*/ 3123906 w 10693106"/>
              <a:gd name="connsiteY136-24832" fmla="*/ 2997556 h 5292022"/>
              <a:gd name="connsiteX137-24833" fmla="*/ 2988440 w 10693106"/>
              <a:gd name="connsiteY137-24834" fmla="*/ 2802822 h 5292022"/>
              <a:gd name="connsiteX138-24835" fmla="*/ 2971506 w 10693106"/>
              <a:gd name="connsiteY138-24836" fmla="*/ 2743556 h 5292022"/>
              <a:gd name="connsiteX139-24837" fmla="*/ 2996906 w 10693106"/>
              <a:gd name="connsiteY139-24838" fmla="*/ 2531889 h 5292022"/>
              <a:gd name="connsiteX140-24839" fmla="*/ 3013840 w 10693106"/>
              <a:gd name="connsiteY140-24840" fmla="*/ 2430289 h 5292022"/>
              <a:gd name="connsiteX141-24841" fmla="*/ 3005373 w 10693106"/>
              <a:gd name="connsiteY141-24842" fmla="*/ 2311756 h 5292022"/>
              <a:gd name="connsiteX142-24843" fmla="*/ 2988440 w 10693106"/>
              <a:gd name="connsiteY142-24844" fmla="*/ 2260956 h 5292022"/>
              <a:gd name="connsiteX143-24845" fmla="*/ 2802173 w 10693106"/>
              <a:gd name="connsiteY143-24846" fmla="*/ 2006956 h 5292022"/>
              <a:gd name="connsiteX144-24847" fmla="*/ 2641306 w 10693106"/>
              <a:gd name="connsiteY144-24848" fmla="*/ 1863022 h 5292022"/>
              <a:gd name="connsiteX145-24849" fmla="*/ 2590506 w 10693106"/>
              <a:gd name="connsiteY145-24850" fmla="*/ 1837622 h 5292022"/>
              <a:gd name="connsiteX146-24851" fmla="*/ 2531240 w 10693106"/>
              <a:gd name="connsiteY146-24852" fmla="*/ 1829156 h 5292022"/>
              <a:gd name="connsiteX147-24853" fmla="*/ 2446573 w 10693106"/>
              <a:gd name="connsiteY147-24854" fmla="*/ 1812222 h 5292022"/>
              <a:gd name="connsiteX148-24855" fmla="*/ 2251840 w 10693106"/>
              <a:gd name="connsiteY148-24856" fmla="*/ 1837622 h 5292022"/>
              <a:gd name="connsiteX149-24857" fmla="*/ 2167173 w 10693106"/>
              <a:gd name="connsiteY149-24858" fmla="*/ 1879956 h 5292022"/>
              <a:gd name="connsiteX150-24859" fmla="*/ 1980906 w 10693106"/>
              <a:gd name="connsiteY150-24860" fmla="*/ 1939222 h 5292022"/>
              <a:gd name="connsiteX151-24861" fmla="*/ 1904706 w 10693106"/>
              <a:gd name="connsiteY151-24862" fmla="*/ 1973089 h 5292022"/>
              <a:gd name="connsiteX152-24863" fmla="*/ 1828506 w 10693106"/>
              <a:gd name="connsiteY152-24864" fmla="*/ 1990022 h 5292022"/>
              <a:gd name="connsiteX153-24865" fmla="*/ 1726906 w 10693106"/>
              <a:gd name="connsiteY153-24866" fmla="*/ 2040822 h 5292022"/>
              <a:gd name="connsiteX154-24867" fmla="*/ 1659173 w 10693106"/>
              <a:gd name="connsiteY154-24868" fmla="*/ 2074689 h 5292022"/>
              <a:gd name="connsiteX155-24869" fmla="*/ 1498306 w 10693106"/>
              <a:gd name="connsiteY155-24870" fmla="*/ 2100089 h 5292022"/>
              <a:gd name="connsiteX156-24871" fmla="*/ 914106 w 10693106"/>
              <a:gd name="connsiteY156-24872" fmla="*/ 2032356 h 5292022"/>
              <a:gd name="connsiteX157-24873" fmla="*/ 617773 w 10693106"/>
              <a:gd name="connsiteY157-24874" fmla="*/ 1922289 h 5292022"/>
              <a:gd name="connsiteX158-24875" fmla="*/ 516173 w 10693106"/>
              <a:gd name="connsiteY158-24876" fmla="*/ 1837622 h 5292022"/>
              <a:gd name="connsiteX159-24877" fmla="*/ 355306 w 10693106"/>
              <a:gd name="connsiteY159-24878" fmla="*/ 1625956 h 5292022"/>
              <a:gd name="connsiteX160-24879" fmla="*/ 296040 w 10693106"/>
              <a:gd name="connsiteY160-24880" fmla="*/ 1524356 h 5292022"/>
              <a:gd name="connsiteX161-24881" fmla="*/ 253706 w 10693106"/>
              <a:gd name="connsiteY161-24882" fmla="*/ 1346556 h 5292022"/>
              <a:gd name="connsiteX162-24883" fmla="*/ 245240 w 10693106"/>
              <a:gd name="connsiteY162-24884" fmla="*/ 1219556 h 5292022"/>
              <a:gd name="connsiteX163-24885" fmla="*/ 236773 w 10693106"/>
              <a:gd name="connsiteY163-24886" fmla="*/ 1117956 h 5292022"/>
              <a:gd name="connsiteX164-24887" fmla="*/ 245240 w 10693106"/>
              <a:gd name="connsiteY164-24888" fmla="*/ 847022 h 5292022"/>
              <a:gd name="connsiteX165-24889" fmla="*/ 236773 w 10693106"/>
              <a:gd name="connsiteY165-24890" fmla="*/ 703089 h 5292022"/>
              <a:gd name="connsiteX166-24891" fmla="*/ 109773 w 10693106"/>
              <a:gd name="connsiteY166-24892" fmla="*/ 559156 h 5292022"/>
              <a:gd name="connsiteX167-24893" fmla="*/ 58973 w 10693106"/>
              <a:gd name="connsiteY167-24894" fmla="*/ 482956 h 5292022"/>
              <a:gd name="connsiteX168-24895" fmla="*/ 16640 w 10693106"/>
              <a:gd name="connsiteY168-24896" fmla="*/ 432156 h 5292022"/>
              <a:gd name="connsiteX169-24897" fmla="*/ 8173 w 10693106"/>
              <a:gd name="connsiteY169-24898" fmla="*/ 389822 h 5292022"/>
              <a:gd name="connsiteX170-24899" fmla="*/ 16640 w 10693106"/>
              <a:gd name="connsiteY170-24900" fmla="*/ 339022 h 5292022"/>
              <a:gd name="connsiteX0-24901" fmla="*/ 16640 w 10693106"/>
              <a:gd name="connsiteY0-24902" fmla="*/ 339022 h 5292022"/>
              <a:gd name="connsiteX1-24903" fmla="*/ 58973 w 10693106"/>
              <a:gd name="connsiteY1-24904" fmla="*/ 245889 h 5292022"/>
              <a:gd name="connsiteX2-24905" fmla="*/ 109773 w 10693106"/>
              <a:gd name="connsiteY2-24906" fmla="*/ 178156 h 5292022"/>
              <a:gd name="connsiteX3-24907" fmla="*/ 202906 w 10693106"/>
              <a:gd name="connsiteY3-24908" fmla="*/ 93489 h 5292022"/>
              <a:gd name="connsiteX4-24909" fmla="*/ 236773 w 10693106"/>
              <a:gd name="connsiteY4-24910" fmla="*/ 68089 h 5292022"/>
              <a:gd name="connsiteX5-24911" fmla="*/ 335410 w 10693106"/>
              <a:gd name="connsiteY5-24912" fmla="*/ 58352 h 5292022"/>
              <a:gd name="connsiteX6-24913" fmla="*/ 382400 w 10693106"/>
              <a:gd name="connsiteY6-24914" fmla="*/ 51156 h 5292022"/>
              <a:gd name="connsiteX7-24915" fmla="*/ 434912 w 10693106"/>
              <a:gd name="connsiteY7-24916" fmla="*/ 70071 h 5292022"/>
              <a:gd name="connsiteX8-24917" fmla="*/ 492697 w 10693106"/>
              <a:gd name="connsiteY8-24918" fmla="*/ 74247 h 5292022"/>
              <a:gd name="connsiteX9-24919" fmla="*/ 822897 w 10693106"/>
              <a:gd name="connsiteY9-24920" fmla="*/ 82713 h 5292022"/>
              <a:gd name="connsiteX10-24921" fmla="*/ 1091906 w 10693106"/>
              <a:gd name="connsiteY10-24922" fmla="*/ 356 h 5292022"/>
              <a:gd name="connsiteX11-24923" fmla="*/ 1235840 w 10693106"/>
              <a:gd name="connsiteY11-24924" fmla="*/ 59622 h 5292022"/>
              <a:gd name="connsiteX12-24925" fmla="*/ 1337440 w 10693106"/>
              <a:gd name="connsiteY12-24926" fmla="*/ 135822 h 5292022"/>
              <a:gd name="connsiteX13-24927" fmla="*/ 1422106 w 10693106"/>
              <a:gd name="connsiteY13-24928" fmla="*/ 245889 h 5292022"/>
              <a:gd name="connsiteX14-24929" fmla="*/ 1481373 w 10693106"/>
              <a:gd name="connsiteY14-24930" fmla="*/ 313622 h 5292022"/>
              <a:gd name="connsiteX15-24931" fmla="*/ 1532173 w 10693106"/>
              <a:gd name="connsiteY15-24932" fmla="*/ 347489 h 5292022"/>
              <a:gd name="connsiteX16-24933" fmla="*/ 1684573 w 10693106"/>
              <a:gd name="connsiteY16-24934" fmla="*/ 406756 h 5292022"/>
              <a:gd name="connsiteX17-24935" fmla="*/ 1760773 w 10693106"/>
              <a:gd name="connsiteY17-24936" fmla="*/ 423689 h 5292022"/>
              <a:gd name="connsiteX18-24937" fmla="*/ 1997840 w 10693106"/>
              <a:gd name="connsiteY18-24938" fmla="*/ 415222 h 5292022"/>
              <a:gd name="connsiteX19-24939" fmla="*/ 2116373 w 10693106"/>
              <a:gd name="connsiteY19-24940" fmla="*/ 398289 h 5292022"/>
              <a:gd name="connsiteX20-24941" fmla="*/ 2260306 w 10693106"/>
              <a:gd name="connsiteY20-24942" fmla="*/ 381356 h 5292022"/>
              <a:gd name="connsiteX21-24943" fmla="*/ 2404240 w 10693106"/>
              <a:gd name="connsiteY21-24944" fmla="*/ 355956 h 5292022"/>
              <a:gd name="connsiteX22-24945" fmla="*/ 2455040 w 10693106"/>
              <a:gd name="connsiteY22-24946" fmla="*/ 330556 h 5292022"/>
              <a:gd name="connsiteX23-24947" fmla="*/ 2531240 w 10693106"/>
              <a:gd name="connsiteY23-24948" fmla="*/ 305156 h 5292022"/>
              <a:gd name="connsiteX24-24949" fmla="*/ 2649350 w 10693106"/>
              <a:gd name="connsiteY24-24950" fmla="*/ 225781 h 5292022"/>
              <a:gd name="connsiteX25-24951" fmla="*/ 2742906 w 10693106"/>
              <a:gd name="connsiteY25-24952" fmla="*/ 186622 h 5292022"/>
              <a:gd name="connsiteX26-24953" fmla="*/ 2764920 w 10693106"/>
              <a:gd name="connsiteY26-24954" fmla="*/ 173076 h 5292022"/>
              <a:gd name="connsiteX27-24955" fmla="*/ 2832653 w 10693106"/>
              <a:gd name="connsiteY27-24956" fmla="*/ 167996 h 5292022"/>
              <a:gd name="connsiteX28-24957" fmla="*/ 3002294 w 10693106"/>
              <a:gd name="connsiteY28-24958" fmla="*/ 154680 h 5292022"/>
              <a:gd name="connsiteX29-24959" fmla="*/ 3142763 w 10693106"/>
              <a:gd name="connsiteY29-24960" fmla="*/ 110421 h 5292022"/>
              <a:gd name="connsiteX30-24961" fmla="*/ 3398918 w 10693106"/>
              <a:gd name="connsiteY30-24962" fmla="*/ 72322 h 5292022"/>
              <a:gd name="connsiteX31-24963" fmla="*/ 3606506 w 10693106"/>
              <a:gd name="connsiteY31-24964" fmla="*/ 60393 h 5292022"/>
              <a:gd name="connsiteX32-24965" fmla="*/ 3682706 w 10693106"/>
              <a:gd name="connsiteY32-24966" fmla="*/ 79942 h 5292022"/>
              <a:gd name="connsiteX33-24967" fmla="*/ 3741973 w 10693106"/>
              <a:gd name="connsiteY33-24968" fmla="*/ 86561 h 5292022"/>
              <a:gd name="connsiteX34-24969" fmla="*/ 3794678 w 10693106"/>
              <a:gd name="connsiteY34-24970" fmla="*/ 101321 h 5292022"/>
              <a:gd name="connsiteX35-24971" fmla="*/ 3833625 w 10693106"/>
              <a:gd name="connsiteY35-24972" fmla="*/ 110846 h 5292022"/>
              <a:gd name="connsiteX36-24973" fmla="*/ 3892487 w 10693106"/>
              <a:gd name="connsiteY36-24974" fmla="*/ 116984 h 5292022"/>
              <a:gd name="connsiteX37-24975" fmla="*/ 3933108 w 10693106"/>
              <a:gd name="connsiteY37-24976" fmla="*/ 128837 h 5292022"/>
              <a:gd name="connsiteX38-24977" fmla="*/ 3976923 w 10693106"/>
              <a:gd name="connsiteY38-24978" fmla="*/ 135187 h 5292022"/>
              <a:gd name="connsiteX39-24979" fmla="*/ 4021373 w 10693106"/>
              <a:gd name="connsiteY39-24980" fmla="*/ 144289 h 5292022"/>
              <a:gd name="connsiteX40-24981" fmla="*/ 4055240 w 10693106"/>
              <a:gd name="connsiteY40-24982" fmla="*/ 152756 h 5292022"/>
              <a:gd name="connsiteX41-24983" fmla="*/ 4275373 w 10693106"/>
              <a:gd name="connsiteY41-24984" fmla="*/ 195089 h 5292022"/>
              <a:gd name="connsiteX42-24985" fmla="*/ 4402373 w 10693106"/>
              <a:gd name="connsiteY42-24986" fmla="*/ 228956 h 5292022"/>
              <a:gd name="connsiteX43-24987" fmla="*/ 4529373 w 10693106"/>
              <a:gd name="connsiteY43-24988" fmla="*/ 271289 h 5292022"/>
              <a:gd name="connsiteX44-24989" fmla="*/ 4859573 w 10693106"/>
              <a:gd name="connsiteY44-24990" fmla="*/ 347489 h 5292022"/>
              <a:gd name="connsiteX45-24991" fmla="*/ 5045840 w 10693106"/>
              <a:gd name="connsiteY45-24992" fmla="*/ 423689 h 5292022"/>
              <a:gd name="connsiteX46-24993" fmla="*/ 5325240 w 10693106"/>
              <a:gd name="connsiteY46-24994" fmla="*/ 584556 h 5292022"/>
              <a:gd name="connsiteX47-24995" fmla="*/ 5494573 w 10693106"/>
              <a:gd name="connsiteY47-24996" fmla="*/ 736956 h 5292022"/>
              <a:gd name="connsiteX48-24997" fmla="*/ 5562306 w 10693106"/>
              <a:gd name="connsiteY48-24998" fmla="*/ 813156 h 5292022"/>
              <a:gd name="connsiteX49-24999" fmla="*/ 5621573 w 10693106"/>
              <a:gd name="connsiteY49-25000" fmla="*/ 863956 h 5292022"/>
              <a:gd name="connsiteX50-25001" fmla="*/ 5672373 w 10693106"/>
              <a:gd name="connsiteY50-25002" fmla="*/ 931689 h 5292022"/>
              <a:gd name="connsiteX51-25003" fmla="*/ 5757040 w 10693106"/>
              <a:gd name="connsiteY51-25004" fmla="*/ 1033289 h 5292022"/>
              <a:gd name="connsiteX52-25005" fmla="*/ 5833240 w 10693106"/>
              <a:gd name="connsiteY52-25006" fmla="*/ 1126422 h 5292022"/>
              <a:gd name="connsiteX53-25007" fmla="*/ 6763726 w 10693106"/>
              <a:gd name="connsiteY53-25008" fmla="*/ 1389312 h 5292022"/>
              <a:gd name="connsiteX54-25009" fmla="*/ 7742050 w 10693106"/>
              <a:gd name="connsiteY54-25010" fmla="*/ 1241146 h 5292022"/>
              <a:gd name="connsiteX55-25011" fmla="*/ 8652640 w 10693106"/>
              <a:gd name="connsiteY55-25012" fmla="*/ 677689 h 5292022"/>
              <a:gd name="connsiteX56-25013" fmla="*/ 8982840 w 10693106"/>
              <a:gd name="connsiteY56-25014" fmla="*/ 398289 h 5292022"/>
              <a:gd name="connsiteX57-25015" fmla="*/ 9152173 w 10693106"/>
              <a:gd name="connsiteY57-25016" fmla="*/ 339022 h 5292022"/>
              <a:gd name="connsiteX58-25017" fmla="*/ 9380773 w 10693106"/>
              <a:gd name="connsiteY58-25018" fmla="*/ 355956 h 5292022"/>
              <a:gd name="connsiteX59-25019" fmla="*/ 9744840 w 10693106"/>
              <a:gd name="connsiteY59-25020" fmla="*/ 466022 h 5292022"/>
              <a:gd name="connsiteX60-25021" fmla="*/ 9888773 w 10693106"/>
              <a:gd name="connsiteY60-25022" fmla="*/ 508356 h 5292022"/>
              <a:gd name="connsiteX61-25023" fmla="*/ 9998840 w 10693106"/>
              <a:gd name="connsiteY61-25024" fmla="*/ 559156 h 5292022"/>
              <a:gd name="connsiteX62-25025" fmla="*/ 10083506 w 10693106"/>
              <a:gd name="connsiteY62-25026" fmla="*/ 618422 h 5292022"/>
              <a:gd name="connsiteX63-25027" fmla="*/ 10286706 w 10693106"/>
              <a:gd name="connsiteY63-25028" fmla="*/ 686156 h 5292022"/>
              <a:gd name="connsiteX64-25029" fmla="*/ 10388306 w 10693106"/>
              <a:gd name="connsiteY64-25030" fmla="*/ 889356 h 5292022"/>
              <a:gd name="connsiteX65-25031" fmla="*/ 10540706 w 10693106"/>
              <a:gd name="connsiteY65-25032" fmla="*/ 1261889 h 5292022"/>
              <a:gd name="connsiteX66-25033" fmla="*/ 10557640 w 10693106"/>
              <a:gd name="connsiteY66-25034" fmla="*/ 1346556 h 5292022"/>
              <a:gd name="connsiteX67-25035" fmla="*/ 10583040 w 10693106"/>
              <a:gd name="connsiteY67-25036" fmla="*/ 1448156 h 5292022"/>
              <a:gd name="connsiteX68-25037" fmla="*/ 10616906 w 10693106"/>
              <a:gd name="connsiteY68-25038" fmla="*/ 1651356 h 5292022"/>
              <a:gd name="connsiteX69-25039" fmla="*/ 10633840 w 10693106"/>
              <a:gd name="connsiteY69-25040" fmla="*/ 1736022 h 5292022"/>
              <a:gd name="connsiteX70-25041" fmla="*/ 10650773 w 10693106"/>
              <a:gd name="connsiteY70-25042" fmla="*/ 1769889 h 5292022"/>
              <a:gd name="connsiteX71-25043" fmla="*/ 10676173 w 10693106"/>
              <a:gd name="connsiteY71-25044" fmla="*/ 1854556 h 5292022"/>
              <a:gd name="connsiteX72-25045" fmla="*/ 10693106 w 10693106"/>
              <a:gd name="connsiteY72-25046" fmla="*/ 2006956 h 5292022"/>
              <a:gd name="connsiteX73-25047" fmla="*/ 10625373 w 10693106"/>
              <a:gd name="connsiteY73-25048" fmla="*/ 2227089 h 5292022"/>
              <a:gd name="connsiteX74-25049" fmla="*/ 10608440 w 10693106"/>
              <a:gd name="connsiteY74-25050" fmla="*/ 2252489 h 5292022"/>
              <a:gd name="connsiteX75-25051" fmla="*/ 10540706 w 10693106"/>
              <a:gd name="connsiteY75-25052" fmla="*/ 2396422 h 5292022"/>
              <a:gd name="connsiteX76-25053" fmla="*/ 10498373 w 10693106"/>
              <a:gd name="connsiteY76-25054" fmla="*/ 2481089 h 5292022"/>
              <a:gd name="connsiteX77-25055" fmla="*/ 10439106 w 10693106"/>
              <a:gd name="connsiteY77-25056" fmla="*/ 2667356 h 5292022"/>
              <a:gd name="connsiteX78-25057" fmla="*/ 10430640 w 10693106"/>
              <a:gd name="connsiteY78-25058" fmla="*/ 2709689 h 5292022"/>
              <a:gd name="connsiteX79-25059" fmla="*/ 10405240 w 10693106"/>
              <a:gd name="connsiteY79-25060" fmla="*/ 2785889 h 5292022"/>
              <a:gd name="connsiteX80-25061" fmla="*/ 10396773 w 10693106"/>
              <a:gd name="connsiteY80-25062" fmla="*/ 2819756 h 5292022"/>
              <a:gd name="connsiteX81-25063" fmla="*/ 10362906 w 10693106"/>
              <a:gd name="connsiteY81-25064" fmla="*/ 2912889 h 5292022"/>
              <a:gd name="connsiteX82-25065" fmla="*/ 10329040 w 10693106"/>
              <a:gd name="connsiteY82-25066" fmla="*/ 2955222 h 5292022"/>
              <a:gd name="connsiteX83-25067" fmla="*/ 10227440 w 10693106"/>
              <a:gd name="connsiteY83-25068" fmla="*/ 3056822 h 5292022"/>
              <a:gd name="connsiteX84-25069" fmla="*/ 10168173 w 10693106"/>
              <a:gd name="connsiteY84-25070" fmla="*/ 3124556 h 5292022"/>
              <a:gd name="connsiteX85-25071" fmla="*/ 10117373 w 10693106"/>
              <a:gd name="connsiteY85-25072" fmla="*/ 3175356 h 5292022"/>
              <a:gd name="connsiteX86-25073" fmla="*/ 10032706 w 10693106"/>
              <a:gd name="connsiteY86-25074" fmla="*/ 3276956 h 5292022"/>
              <a:gd name="connsiteX87-25075" fmla="*/ 9948040 w 10693106"/>
              <a:gd name="connsiteY87-25076" fmla="*/ 3336222 h 5292022"/>
              <a:gd name="connsiteX88-25077" fmla="*/ 9905706 w 10693106"/>
              <a:gd name="connsiteY88-25078" fmla="*/ 3361622 h 5292022"/>
              <a:gd name="connsiteX89-25079" fmla="*/ 9829506 w 10693106"/>
              <a:gd name="connsiteY89-25080" fmla="*/ 3378556 h 5292022"/>
              <a:gd name="connsiteX90-25081" fmla="*/ 9727906 w 10693106"/>
              <a:gd name="connsiteY90-25082" fmla="*/ 3420889 h 5292022"/>
              <a:gd name="connsiteX91-25083" fmla="*/ 9634773 w 10693106"/>
              <a:gd name="connsiteY91-25084" fmla="*/ 3446289 h 5292022"/>
              <a:gd name="connsiteX92-25085" fmla="*/ 9456973 w 10693106"/>
              <a:gd name="connsiteY92-25086" fmla="*/ 3539422 h 5292022"/>
              <a:gd name="connsiteX93-25087" fmla="*/ 9313040 w 10693106"/>
              <a:gd name="connsiteY93-25088" fmla="*/ 3666422 h 5292022"/>
              <a:gd name="connsiteX94-25089" fmla="*/ 9279173 w 10693106"/>
              <a:gd name="connsiteY94-25090" fmla="*/ 3683356 h 5292022"/>
              <a:gd name="connsiteX95-25091" fmla="*/ 9067506 w 10693106"/>
              <a:gd name="connsiteY95-25092" fmla="*/ 3861156 h 5292022"/>
              <a:gd name="connsiteX96-25093" fmla="*/ 8999773 w 10693106"/>
              <a:gd name="connsiteY96-25094" fmla="*/ 3928889 h 5292022"/>
              <a:gd name="connsiteX97-25095" fmla="*/ 8813506 w 10693106"/>
              <a:gd name="connsiteY97-25096" fmla="*/ 4064356 h 5292022"/>
              <a:gd name="connsiteX98-25097" fmla="*/ 8728840 w 10693106"/>
              <a:gd name="connsiteY98-25098" fmla="*/ 4106689 h 5292022"/>
              <a:gd name="connsiteX99-25099" fmla="*/ 8373240 w 10693106"/>
              <a:gd name="connsiteY99-25100" fmla="*/ 4140556 h 5292022"/>
              <a:gd name="connsiteX100-25101" fmla="*/ 7966840 w 10693106"/>
              <a:gd name="connsiteY100-25102" fmla="*/ 4233689 h 5292022"/>
              <a:gd name="connsiteX101-25103" fmla="*/ 7687440 w 10693106"/>
              <a:gd name="connsiteY101-25104" fmla="*/ 4394556 h 5292022"/>
              <a:gd name="connsiteX102-25105" fmla="*/ 7551973 w 10693106"/>
              <a:gd name="connsiteY102-25106" fmla="*/ 4479222 h 5292022"/>
              <a:gd name="connsiteX103-25107" fmla="*/ 7374173 w 10693106"/>
              <a:gd name="connsiteY103-25108" fmla="*/ 4657022 h 5292022"/>
              <a:gd name="connsiteX104-25109" fmla="*/ 7374173 w 10693106"/>
              <a:gd name="connsiteY104-25110" fmla="*/ 4657022 h 5292022"/>
              <a:gd name="connsiteX105-25111" fmla="*/ 7221773 w 10693106"/>
              <a:gd name="connsiteY105-25112" fmla="*/ 4775556 h 5292022"/>
              <a:gd name="connsiteX106-25113" fmla="*/ 7027040 w 10693106"/>
              <a:gd name="connsiteY106-25114" fmla="*/ 4902556 h 5292022"/>
              <a:gd name="connsiteX107-25115" fmla="*/ 6883106 w 10693106"/>
              <a:gd name="connsiteY107-25116" fmla="*/ 4970289 h 5292022"/>
              <a:gd name="connsiteX108-25117" fmla="*/ 6815373 w 10693106"/>
              <a:gd name="connsiteY108-25118" fmla="*/ 5012622 h 5292022"/>
              <a:gd name="connsiteX109-25119" fmla="*/ 6646040 w 10693106"/>
              <a:gd name="connsiteY109-25120" fmla="*/ 5105756 h 5292022"/>
              <a:gd name="connsiteX110-25121" fmla="*/ 6527506 w 10693106"/>
              <a:gd name="connsiteY110-25122" fmla="*/ 5165022 h 5292022"/>
              <a:gd name="connsiteX111-25123" fmla="*/ 6298906 w 10693106"/>
              <a:gd name="connsiteY111-25124" fmla="*/ 5241222 h 5292022"/>
              <a:gd name="connsiteX112-25125" fmla="*/ 6197306 w 10693106"/>
              <a:gd name="connsiteY112-25126" fmla="*/ 5266622 h 5292022"/>
              <a:gd name="connsiteX113-25127" fmla="*/ 6061840 w 10693106"/>
              <a:gd name="connsiteY113-25128" fmla="*/ 5275089 h 5292022"/>
              <a:gd name="connsiteX114-25129" fmla="*/ 5917906 w 10693106"/>
              <a:gd name="connsiteY114-25130" fmla="*/ 5292022 h 5292022"/>
              <a:gd name="connsiteX115-25131" fmla="*/ 5748573 w 10693106"/>
              <a:gd name="connsiteY115-25132" fmla="*/ 5283556 h 5292022"/>
              <a:gd name="connsiteX116-25133" fmla="*/ 5282906 w 10693106"/>
              <a:gd name="connsiteY116-25134" fmla="*/ 5173489 h 5292022"/>
              <a:gd name="connsiteX117-25135" fmla="*/ 5138973 w 10693106"/>
              <a:gd name="connsiteY117-25136" fmla="*/ 5071889 h 5292022"/>
              <a:gd name="connsiteX118-25137" fmla="*/ 4959480 w 10693106"/>
              <a:gd name="connsiteY118-25138" fmla="*/ 4988069 h 5292022"/>
              <a:gd name="connsiteX119-25139" fmla="*/ 4842216 w 10693106"/>
              <a:gd name="connsiteY119-25140" fmla="*/ 4953779 h 5292022"/>
              <a:gd name="connsiteX120-25141" fmla="*/ 4797343 w 10693106"/>
              <a:gd name="connsiteY120-25142" fmla="*/ 4878426 h 5292022"/>
              <a:gd name="connsiteX121-25143" fmla="*/ 4686853 w 10693106"/>
              <a:gd name="connsiteY121-25144" fmla="*/ 4788256 h 5292022"/>
              <a:gd name="connsiteX122-25145" fmla="*/ 4536146 w 10693106"/>
              <a:gd name="connsiteY122-25146" fmla="*/ 4712902 h 5292022"/>
              <a:gd name="connsiteX123-25147" fmla="*/ 4365120 w 10693106"/>
              <a:gd name="connsiteY123-25148" fmla="*/ 4616382 h 5292022"/>
              <a:gd name="connsiteX124-25149" fmla="*/ 4187743 w 10693106"/>
              <a:gd name="connsiteY124-25150" fmla="*/ 4521556 h 5292022"/>
              <a:gd name="connsiteX125-25151" fmla="*/ 4125936 w 10693106"/>
              <a:gd name="connsiteY125-25152" fmla="*/ 4386724 h 5292022"/>
              <a:gd name="connsiteX126-25153" fmla="*/ 3995973 w 10693106"/>
              <a:gd name="connsiteY126-25154" fmla="*/ 4232419 h 5292022"/>
              <a:gd name="connsiteX127-25155" fmla="*/ 3962530 w 10693106"/>
              <a:gd name="connsiteY127-25156" fmla="*/ 4135052 h 5292022"/>
              <a:gd name="connsiteX128-25157" fmla="*/ 3895643 w 10693106"/>
              <a:gd name="connsiteY128-25158" fmla="*/ 4059699 h 5292022"/>
              <a:gd name="connsiteX129-25159" fmla="*/ 3919773 w 10693106"/>
              <a:gd name="connsiteY129-25160" fmla="*/ 3920422 h 5292022"/>
              <a:gd name="connsiteX130-25161" fmla="*/ 3877440 w 10693106"/>
              <a:gd name="connsiteY130-25162" fmla="*/ 3624089 h 5292022"/>
              <a:gd name="connsiteX131-25163" fmla="*/ 3852040 w 10693106"/>
              <a:gd name="connsiteY131-25164" fmla="*/ 3530956 h 5292022"/>
              <a:gd name="connsiteX132-25165" fmla="*/ 3801240 w 10693106"/>
              <a:gd name="connsiteY132-25166" fmla="*/ 3420889 h 5292022"/>
              <a:gd name="connsiteX133-25167" fmla="*/ 3733506 w 10693106"/>
              <a:gd name="connsiteY133-25168" fmla="*/ 3319289 h 5292022"/>
              <a:gd name="connsiteX134-25169" fmla="*/ 3242440 w 10693106"/>
              <a:gd name="connsiteY134-25170" fmla="*/ 3099156 h 5292022"/>
              <a:gd name="connsiteX135-25171" fmla="*/ 3123906 w 10693106"/>
              <a:gd name="connsiteY135-25172" fmla="*/ 2997556 h 5292022"/>
              <a:gd name="connsiteX136-25173" fmla="*/ 2988440 w 10693106"/>
              <a:gd name="connsiteY136-25174" fmla="*/ 2802822 h 5292022"/>
              <a:gd name="connsiteX137-25175" fmla="*/ 2971506 w 10693106"/>
              <a:gd name="connsiteY137-25176" fmla="*/ 2743556 h 5292022"/>
              <a:gd name="connsiteX138-25177" fmla="*/ 2996906 w 10693106"/>
              <a:gd name="connsiteY138-25178" fmla="*/ 2531889 h 5292022"/>
              <a:gd name="connsiteX139-25179" fmla="*/ 3013840 w 10693106"/>
              <a:gd name="connsiteY139-25180" fmla="*/ 2430289 h 5292022"/>
              <a:gd name="connsiteX140-25181" fmla="*/ 3005373 w 10693106"/>
              <a:gd name="connsiteY140-25182" fmla="*/ 2311756 h 5292022"/>
              <a:gd name="connsiteX141-25183" fmla="*/ 2988440 w 10693106"/>
              <a:gd name="connsiteY141-25184" fmla="*/ 2260956 h 5292022"/>
              <a:gd name="connsiteX142-25185" fmla="*/ 2802173 w 10693106"/>
              <a:gd name="connsiteY142-25186" fmla="*/ 2006956 h 5292022"/>
              <a:gd name="connsiteX143-25187" fmla="*/ 2641306 w 10693106"/>
              <a:gd name="connsiteY143-25188" fmla="*/ 1863022 h 5292022"/>
              <a:gd name="connsiteX144-25189" fmla="*/ 2590506 w 10693106"/>
              <a:gd name="connsiteY144-25190" fmla="*/ 1837622 h 5292022"/>
              <a:gd name="connsiteX145-25191" fmla="*/ 2531240 w 10693106"/>
              <a:gd name="connsiteY145-25192" fmla="*/ 1829156 h 5292022"/>
              <a:gd name="connsiteX146-25193" fmla="*/ 2446573 w 10693106"/>
              <a:gd name="connsiteY146-25194" fmla="*/ 1812222 h 5292022"/>
              <a:gd name="connsiteX147-25195" fmla="*/ 2251840 w 10693106"/>
              <a:gd name="connsiteY147-25196" fmla="*/ 1837622 h 5292022"/>
              <a:gd name="connsiteX148-25197" fmla="*/ 2167173 w 10693106"/>
              <a:gd name="connsiteY148-25198" fmla="*/ 1879956 h 5292022"/>
              <a:gd name="connsiteX149-25199" fmla="*/ 1980906 w 10693106"/>
              <a:gd name="connsiteY149-25200" fmla="*/ 1939222 h 5292022"/>
              <a:gd name="connsiteX150-25201" fmla="*/ 1904706 w 10693106"/>
              <a:gd name="connsiteY150-25202" fmla="*/ 1973089 h 5292022"/>
              <a:gd name="connsiteX151-25203" fmla="*/ 1828506 w 10693106"/>
              <a:gd name="connsiteY151-25204" fmla="*/ 1990022 h 5292022"/>
              <a:gd name="connsiteX152-25205" fmla="*/ 1726906 w 10693106"/>
              <a:gd name="connsiteY152-25206" fmla="*/ 2040822 h 5292022"/>
              <a:gd name="connsiteX153-25207" fmla="*/ 1659173 w 10693106"/>
              <a:gd name="connsiteY153-25208" fmla="*/ 2074689 h 5292022"/>
              <a:gd name="connsiteX154-25209" fmla="*/ 1498306 w 10693106"/>
              <a:gd name="connsiteY154-25210" fmla="*/ 2100089 h 5292022"/>
              <a:gd name="connsiteX155-25211" fmla="*/ 914106 w 10693106"/>
              <a:gd name="connsiteY155-25212" fmla="*/ 2032356 h 5292022"/>
              <a:gd name="connsiteX156-25213" fmla="*/ 617773 w 10693106"/>
              <a:gd name="connsiteY156-25214" fmla="*/ 1922289 h 5292022"/>
              <a:gd name="connsiteX157-25215" fmla="*/ 516173 w 10693106"/>
              <a:gd name="connsiteY157-25216" fmla="*/ 1837622 h 5292022"/>
              <a:gd name="connsiteX158-25217" fmla="*/ 355306 w 10693106"/>
              <a:gd name="connsiteY158-25218" fmla="*/ 1625956 h 5292022"/>
              <a:gd name="connsiteX159-25219" fmla="*/ 296040 w 10693106"/>
              <a:gd name="connsiteY159-25220" fmla="*/ 1524356 h 5292022"/>
              <a:gd name="connsiteX160-25221" fmla="*/ 253706 w 10693106"/>
              <a:gd name="connsiteY160-25222" fmla="*/ 1346556 h 5292022"/>
              <a:gd name="connsiteX161-25223" fmla="*/ 245240 w 10693106"/>
              <a:gd name="connsiteY161-25224" fmla="*/ 1219556 h 5292022"/>
              <a:gd name="connsiteX162-25225" fmla="*/ 236773 w 10693106"/>
              <a:gd name="connsiteY162-25226" fmla="*/ 1117956 h 5292022"/>
              <a:gd name="connsiteX163-25227" fmla="*/ 245240 w 10693106"/>
              <a:gd name="connsiteY163-25228" fmla="*/ 847022 h 5292022"/>
              <a:gd name="connsiteX164-25229" fmla="*/ 236773 w 10693106"/>
              <a:gd name="connsiteY164-25230" fmla="*/ 703089 h 5292022"/>
              <a:gd name="connsiteX165-25231" fmla="*/ 109773 w 10693106"/>
              <a:gd name="connsiteY165-25232" fmla="*/ 559156 h 5292022"/>
              <a:gd name="connsiteX166-25233" fmla="*/ 58973 w 10693106"/>
              <a:gd name="connsiteY166-25234" fmla="*/ 482956 h 5292022"/>
              <a:gd name="connsiteX167-25235" fmla="*/ 16640 w 10693106"/>
              <a:gd name="connsiteY167-25236" fmla="*/ 432156 h 5292022"/>
              <a:gd name="connsiteX168-25237" fmla="*/ 8173 w 10693106"/>
              <a:gd name="connsiteY168-25238" fmla="*/ 389822 h 5292022"/>
              <a:gd name="connsiteX169-25239" fmla="*/ 16640 w 10693106"/>
              <a:gd name="connsiteY169-25240" fmla="*/ 339022 h 5292022"/>
              <a:gd name="connsiteX0-25241" fmla="*/ 16640 w 10693106"/>
              <a:gd name="connsiteY0-25242" fmla="*/ 339022 h 5292022"/>
              <a:gd name="connsiteX1-25243" fmla="*/ 58973 w 10693106"/>
              <a:gd name="connsiteY1-25244" fmla="*/ 245889 h 5292022"/>
              <a:gd name="connsiteX2-25245" fmla="*/ 109773 w 10693106"/>
              <a:gd name="connsiteY2-25246" fmla="*/ 178156 h 5292022"/>
              <a:gd name="connsiteX3-25247" fmla="*/ 202906 w 10693106"/>
              <a:gd name="connsiteY3-25248" fmla="*/ 93489 h 5292022"/>
              <a:gd name="connsiteX4-25249" fmla="*/ 236773 w 10693106"/>
              <a:gd name="connsiteY4-25250" fmla="*/ 68089 h 5292022"/>
              <a:gd name="connsiteX5-25251" fmla="*/ 335410 w 10693106"/>
              <a:gd name="connsiteY5-25252" fmla="*/ 58352 h 5292022"/>
              <a:gd name="connsiteX6-25253" fmla="*/ 382400 w 10693106"/>
              <a:gd name="connsiteY6-25254" fmla="*/ 51156 h 5292022"/>
              <a:gd name="connsiteX7-25255" fmla="*/ 434912 w 10693106"/>
              <a:gd name="connsiteY7-25256" fmla="*/ 70071 h 5292022"/>
              <a:gd name="connsiteX8-25257" fmla="*/ 492697 w 10693106"/>
              <a:gd name="connsiteY8-25258" fmla="*/ 74247 h 5292022"/>
              <a:gd name="connsiteX9-25259" fmla="*/ 822897 w 10693106"/>
              <a:gd name="connsiteY9-25260" fmla="*/ 82713 h 5292022"/>
              <a:gd name="connsiteX10-25261" fmla="*/ 1091906 w 10693106"/>
              <a:gd name="connsiteY10-25262" fmla="*/ 356 h 5292022"/>
              <a:gd name="connsiteX11-25263" fmla="*/ 1235840 w 10693106"/>
              <a:gd name="connsiteY11-25264" fmla="*/ 59622 h 5292022"/>
              <a:gd name="connsiteX12-25265" fmla="*/ 1337440 w 10693106"/>
              <a:gd name="connsiteY12-25266" fmla="*/ 135822 h 5292022"/>
              <a:gd name="connsiteX13-25267" fmla="*/ 1422106 w 10693106"/>
              <a:gd name="connsiteY13-25268" fmla="*/ 245889 h 5292022"/>
              <a:gd name="connsiteX14-25269" fmla="*/ 1481373 w 10693106"/>
              <a:gd name="connsiteY14-25270" fmla="*/ 313622 h 5292022"/>
              <a:gd name="connsiteX15-25271" fmla="*/ 1532173 w 10693106"/>
              <a:gd name="connsiteY15-25272" fmla="*/ 347489 h 5292022"/>
              <a:gd name="connsiteX16-25273" fmla="*/ 1684573 w 10693106"/>
              <a:gd name="connsiteY16-25274" fmla="*/ 406756 h 5292022"/>
              <a:gd name="connsiteX17-25275" fmla="*/ 1760773 w 10693106"/>
              <a:gd name="connsiteY17-25276" fmla="*/ 423689 h 5292022"/>
              <a:gd name="connsiteX18-25277" fmla="*/ 1997840 w 10693106"/>
              <a:gd name="connsiteY18-25278" fmla="*/ 415222 h 5292022"/>
              <a:gd name="connsiteX19-25279" fmla="*/ 2116373 w 10693106"/>
              <a:gd name="connsiteY19-25280" fmla="*/ 398289 h 5292022"/>
              <a:gd name="connsiteX20-25281" fmla="*/ 2260306 w 10693106"/>
              <a:gd name="connsiteY20-25282" fmla="*/ 381356 h 5292022"/>
              <a:gd name="connsiteX21-25283" fmla="*/ 2404240 w 10693106"/>
              <a:gd name="connsiteY21-25284" fmla="*/ 355956 h 5292022"/>
              <a:gd name="connsiteX22-25285" fmla="*/ 2455040 w 10693106"/>
              <a:gd name="connsiteY22-25286" fmla="*/ 330556 h 5292022"/>
              <a:gd name="connsiteX23-25287" fmla="*/ 2531240 w 10693106"/>
              <a:gd name="connsiteY23-25288" fmla="*/ 305156 h 5292022"/>
              <a:gd name="connsiteX24-25289" fmla="*/ 2649350 w 10693106"/>
              <a:gd name="connsiteY24-25290" fmla="*/ 225781 h 5292022"/>
              <a:gd name="connsiteX25-25291" fmla="*/ 2742906 w 10693106"/>
              <a:gd name="connsiteY25-25292" fmla="*/ 186622 h 5292022"/>
              <a:gd name="connsiteX26-25293" fmla="*/ 2764920 w 10693106"/>
              <a:gd name="connsiteY26-25294" fmla="*/ 173076 h 5292022"/>
              <a:gd name="connsiteX27-25295" fmla="*/ 2832653 w 10693106"/>
              <a:gd name="connsiteY27-25296" fmla="*/ 167996 h 5292022"/>
              <a:gd name="connsiteX28-25297" fmla="*/ 3002294 w 10693106"/>
              <a:gd name="connsiteY28-25298" fmla="*/ 154680 h 5292022"/>
              <a:gd name="connsiteX29-25299" fmla="*/ 3142763 w 10693106"/>
              <a:gd name="connsiteY29-25300" fmla="*/ 110421 h 5292022"/>
              <a:gd name="connsiteX30-25301" fmla="*/ 3398918 w 10693106"/>
              <a:gd name="connsiteY30-25302" fmla="*/ 72322 h 5292022"/>
              <a:gd name="connsiteX31-25303" fmla="*/ 3606506 w 10693106"/>
              <a:gd name="connsiteY31-25304" fmla="*/ 60393 h 5292022"/>
              <a:gd name="connsiteX32-25305" fmla="*/ 3682706 w 10693106"/>
              <a:gd name="connsiteY32-25306" fmla="*/ 79942 h 5292022"/>
              <a:gd name="connsiteX33-25307" fmla="*/ 3741973 w 10693106"/>
              <a:gd name="connsiteY33-25308" fmla="*/ 86561 h 5292022"/>
              <a:gd name="connsiteX34-25309" fmla="*/ 3794678 w 10693106"/>
              <a:gd name="connsiteY34-25310" fmla="*/ 101321 h 5292022"/>
              <a:gd name="connsiteX35-25311" fmla="*/ 3833625 w 10693106"/>
              <a:gd name="connsiteY35-25312" fmla="*/ 110846 h 5292022"/>
              <a:gd name="connsiteX36-25313" fmla="*/ 3892487 w 10693106"/>
              <a:gd name="connsiteY36-25314" fmla="*/ 116984 h 5292022"/>
              <a:gd name="connsiteX37-25315" fmla="*/ 3933108 w 10693106"/>
              <a:gd name="connsiteY37-25316" fmla="*/ 128837 h 5292022"/>
              <a:gd name="connsiteX38-25317" fmla="*/ 3976923 w 10693106"/>
              <a:gd name="connsiteY38-25318" fmla="*/ 135187 h 5292022"/>
              <a:gd name="connsiteX39-25319" fmla="*/ 4021373 w 10693106"/>
              <a:gd name="connsiteY39-25320" fmla="*/ 144289 h 5292022"/>
              <a:gd name="connsiteX40-25321" fmla="*/ 4055240 w 10693106"/>
              <a:gd name="connsiteY40-25322" fmla="*/ 152756 h 5292022"/>
              <a:gd name="connsiteX41-25323" fmla="*/ 4275373 w 10693106"/>
              <a:gd name="connsiteY41-25324" fmla="*/ 195089 h 5292022"/>
              <a:gd name="connsiteX42-25325" fmla="*/ 4402373 w 10693106"/>
              <a:gd name="connsiteY42-25326" fmla="*/ 228956 h 5292022"/>
              <a:gd name="connsiteX43-25327" fmla="*/ 4529373 w 10693106"/>
              <a:gd name="connsiteY43-25328" fmla="*/ 271289 h 5292022"/>
              <a:gd name="connsiteX44-25329" fmla="*/ 4859573 w 10693106"/>
              <a:gd name="connsiteY44-25330" fmla="*/ 347489 h 5292022"/>
              <a:gd name="connsiteX45-25331" fmla="*/ 5045840 w 10693106"/>
              <a:gd name="connsiteY45-25332" fmla="*/ 423689 h 5292022"/>
              <a:gd name="connsiteX46-25333" fmla="*/ 5325240 w 10693106"/>
              <a:gd name="connsiteY46-25334" fmla="*/ 584556 h 5292022"/>
              <a:gd name="connsiteX47-25335" fmla="*/ 5494573 w 10693106"/>
              <a:gd name="connsiteY47-25336" fmla="*/ 736956 h 5292022"/>
              <a:gd name="connsiteX48-25337" fmla="*/ 5562306 w 10693106"/>
              <a:gd name="connsiteY48-25338" fmla="*/ 813156 h 5292022"/>
              <a:gd name="connsiteX49-25339" fmla="*/ 5621573 w 10693106"/>
              <a:gd name="connsiteY49-25340" fmla="*/ 863956 h 5292022"/>
              <a:gd name="connsiteX50-25341" fmla="*/ 5672373 w 10693106"/>
              <a:gd name="connsiteY50-25342" fmla="*/ 931689 h 5292022"/>
              <a:gd name="connsiteX51-25343" fmla="*/ 5757040 w 10693106"/>
              <a:gd name="connsiteY51-25344" fmla="*/ 1033289 h 5292022"/>
              <a:gd name="connsiteX52-25345" fmla="*/ 5833240 w 10693106"/>
              <a:gd name="connsiteY52-25346" fmla="*/ 1126422 h 5292022"/>
              <a:gd name="connsiteX53-25347" fmla="*/ 6763726 w 10693106"/>
              <a:gd name="connsiteY53-25348" fmla="*/ 1389312 h 5292022"/>
              <a:gd name="connsiteX54-25349" fmla="*/ 7742050 w 10693106"/>
              <a:gd name="connsiteY54-25350" fmla="*/ 1241146 h 5292022"/>
              <a:gd name="connsiteX55-25351" fmla="*/ 8652640 w 10693106"/>
              <a:gd name="connsiteY55-25352" fmla="*/ 677689 h 5292022"/>
              <a:gd name="connsiteX56-25353" fmla="*/ 8982840 w 10693106"/>
              <a:gd name="connsiteY56-25354" fmla="*/ 398289 h 5292022"/>
              <a:gd name="connsiteX57-25355" fmla="*/ 9380773 w 10693106"/>
              <a:gd name="connsiteY57-25356" fmla="*/ 355956 h 5292022"/>
              <a:gd name="connsiteX58-25357" fmla="*/ 9744840 w 10693106"/>
              <a:gd name="connsiteY58-25358" fmla="*/ 466022 h 5292022"/>
              <a:gd name="connsiteX59-25359" fmla="*/ 9888773 w 10693106"/>
              <a:gd name="connsiteY59-25360" fmla="*/ 508356 h 5292022"/>
              <a:gd name="connsiteX60-25361" fmla="*/ 9998840 w 10693106"/>
              <a:gd name="connsiteY60-25362" fmla="*/ 559156 h 5292022"/>
              <a:gd name="connsiteX61-25363" fmla="*/ 10083506 w 10693106"/>
              <a:gd name="connsiteY61-25364" fmla="*/ 618422 h 5292022"/>
              <a:gd name="connsiteX62-25365" fmla="*/ 10286706 w 10693106"/>
              <a:gd name="connsiteY62-25366" fmla="*/ 686156 h 5292022"/>
              <a:gd name="connsiteX63-25367" fmla="*/ 10388306 w 10693106"/>
              <a:gd name="connsiteY63-25368" fmla="*/ 889356 h 5292022"/>
              <a:gd name="connsiteX64-25369" fmla="*/ 10540706 w 10693106"/>
              <a:gd name="connsiteY64-25370" fmla="*/ 1261889 h 5292022"/>
              <a:gd name="connsiteX65-25371" fmla="*/ 10557640 w 10693106"/>
              <a:gd name="connsiteY65-25372" fmla="*/ 1346556 h 5292022"/>
              <a:gd name="connsiteX66-25373" fmla="*/ 10583040 w 10693106"/>
              <a:gd name="connsiteY66-25374" fmla="*/ 1448156 h 5292022"/>
              <a:gd name="connsiteX67-25375" fmla="*/ 10616906 w 10693106"/>
              <a:gd name="connsiteY67-25376" fmla="*/ 1651356 h 5292022"/>
              <a:gd name="connsiteX68-25377" fmla="*/ 10633840 w 10693106"/>
              <a:gd name="connsiteY68-25378" fmla="*/ 1736022 h 5292022"/>
              <a:gd name="connsiteX69-25379" fmla="*/ 10650773 w 10693106"/>
              <a:gd name="connsiteY69-25380" fmla="*/ 1769889 h 5292022"/>
              <a:gd name="connsiteX70-25381" fmla="*/ 10676173 w 10693106"/>
              <a:gd name="connsiteY70-25382" fmla="*/ 1854556 h 5292022"/>
              <a:gd name="connsiteX71-25383" fmla="*/ 10693106 w 10693106"/>
              <a:gd name="connsiteY71-25384" fmla="*/ 2006956 h 5292022"/>
              <a:gd name="connsiteX72-25385" fmla="*/ 10625373 w 10693106"/>
              <a:gd name="connsiteY72-25386" fmla="*/ 2227089 h 5292022"/>
              <a:gd name="connsiteX73-25387" fmla="*/ 10608440 w 10693106"/>
              <a:gd name="connsiteY73-25388" fmla="*/ 2252489 h 5292022"/>
              <a:gd name="connsiteX74-25389" fmla="*/ 10540706 w 10693106"/>
              <a:gd name="connsiteY74-25390" fmla="*/ 2396422 h 5292022"/>
              <a:gd name="connsiteX75-25391" fmla="*/ 10498373 w 10693106"/>
              <a:gd name="connsiteY75-25392" fmla="*/ 2481089 h 5292022"/>
              <a:gd name="connsiteX76-25393" fmla="*/ 10439106 w 10693106"/>
              <a:gd name="connsiteY76-25394" fmla="*/ 2667356 h 5292022"/>
              <a:gd name="connsiteX77-25395" fmla="*/ 10430640 w 10693106"/>
              <a:gd name="connsiteY77-25396" fmla="*/ 2709689 h 5292022"/>
              <a:gd name="connsiteX78-25397" fmla="*/ 10405240 w 10693106"/>
              <a:gd name="connsiteY78-25398" fmla="*/ 2785889 h 5292022"/>
              <a:gd name="connsiteX79-25399" fmla="*/ 10396773 w 10693106"/>
              <a:gd name="connsiteY79-25400" fmla="*/ 2819756 h 5292022"/>
              <a:gd name="connsiteX80-25401" fmla="*/ 10362906 w 10693106"/>
              <a:gd name="connsiteY80-25402" fmla="*/ 2912889 h 5292022"/>
              <a:gd name="connsiteX81-25403" fmla="*/ 10329040 w 10693106"/>
              <a:gd name="connsiteY81-25404" fmla="*/ 2955222 h 5292022"/>
              <a:gd name="connsiteX82-25405" fmla="*/ 10227440 w 10693106"/>
              <a:gd name="connsiteY82-25406" fmla="*/ 3056822 h 5292022"/>
              <a:gd name="connsiteX83-25407" fmla="*/ 10168173 w 10693106"/>
              <a:gd name="connsiteY83-25408" fmla="*/ 3124556 h 5292022"/>
              <a:gd name="connsiteX84-25409" fmla="*/ 10117373 w 10693106"/>
              <a:gd name="connsiteY84-25410" fmla="*/ 3175356 h 5292022"/>
              <a:gd name="connsiteX85-25411" fmla="*/ 10032706 w 10693106"/>
              <a:gd name="connsiteY85-25412" fmla="*/ 3276956 h 5292022"/>
              <a:gd name="connsiteX86-25413" fmla="*/ 9948040 w 10693106"/>
              <a:gd name="connsiteY86-25414" fmla="*/ 3336222 h 5292022"/>
              <a:gd name="connsiteX87-25415" fmla="*/ 9905706 w 10693106"/>
              <a:gd name="connsiteY87-25416" fmla="*/ 3361622 h 5292022"/>
              <a:gd name="connsiteX88-25417" fmla="*/ 9829506 w 10693106"/>
              <a:gd name="connsiteY88-25418" fmla="*/ 3378556 h 5292022"/>
              <a:gd name="connsiteX89-25419" fmla="*/ 9727906 w 10693106"/>
              <a:gd name="connsiteY89-25420" fmla="*/ 3420889 h 5292022"/>
              <a:gd name="connsiteX90-25421" fmla="*/ 9634773 w 10693106"/>
              <a:gd name="connsiteY90-25422" fmla="*/ 3446289 h 5292022"/>
              <a:gd name="connsiteX91-25423" fmla="*/ 9456973 w 10693106"/>
              <a:gd name="connsiteY91-25424" fmla="*/ 3539422 h 5292022"/>
              <a:gd name="connsiteX92-25425" fmla="*/ 9313040 w 10693106"/>
              <a:gd name="connsiteY92-25426" fmla="*/ 3666422 h 5292022"/>
              <a:gd name="connsiteX93-25427" fmla="*/ 9279173 w 10693106"/>
              <a:gd name="connsiteY93-25428" fmla="*/ 3683356 h 5292022"/>
              <a:gd name="connsiteX94-25429" fmla="*/ 9067506 w 10693106"/>
              <a:gd name="connsiteY94-25430" fmla="*/ 3861156 h 5292022"/>
              <a:gd name="connsiteX95-25431" fmla="*/ 8999773 w 10693106"/>
              <a:gd name="connsiteY95-25432" fmla="*/ 3928889 h 5292022"/>
              <a:gd name="connsiteX96-25433" fmla="*/ 8813506 w 10693106"/>
              <a:gd name="connsiteY96-25434" fmla="*/ 4064356 h 5292022"/>
              <a:gd name="connsiteX97-25435" fmla="*/ 8728840 w 10693106"/>
              <a:gd name="connsiteY97-25436" fmla="*/ 4106689 h 5292022"/>
              <a:gd name="connsiteX98-25437" fmla="*/ 8373240 w 10693106"/>
              <a:gd name="connsiteY98-25438" fmla="*/ 4140556 h 5292022"/>
              <a:gd name="connsiteX99-25439" fmla="*/ 7966840 w 10693106"/>
              <a:gd name="connsiteY99-25440" fmla="*/ 4233689 h 5292022"/>
              <a:gd name="connsiteX100-25441" fmla="*/ 7687440 w 10693106"/>
              <a:gd name="connsiteY100-25442" fmla="*/ 4394556 h 5292022"/>
              <a:gd name="connsiteX101-25443" fmla="*/ 7551973 w 10693106"/>
              <a:gd name="connsiteY101-25444" fmla="*/ 4479222 h 5292022"/>
              <a:gd name="connsiteX102-25445" fmla="*/ 7374173 w 10693106"/>
              <a:gd name="connsiteY102-25446" fmla="*/ 4657022 h 5292022"/>
              <a:gd name="connsiteX103-25447" fmla="*/ 7374173 w 10693106"/>
              <a:gd name="connsiteY103-25448" fmla="*/ 4657022 h 5292022"/>
              <a:gd name="connsiteX104-25449" fmla="*/ 7221773 w 10693106"/>
              <a:gd name="connsiteY104-25450" fmla="*/ 4775556 h 5292022"/>
              <a:gd name="connsiteX105-25451" fmla="*/ 7027040 w 10693106"/>
              <a:gd name="connsiteY105-25452" fmla="*/ 4902556 h 5292022"/>
              <a:gd name="connsiteX106-25453" fmla="*/ 6883106 w 10693106"/>
              <a:gd name="connsiteY106-25454" fmla="*/ 4970289 h 5292022"/>
              <a:gd name="connsiteX107-25455" fmla="*/ 6815373 w 10693106"/>
              <a:gd name="connsiteY107-25456" fmla="*/ 5012622 h 5292022"/>
              <a:gd name="connsiteX108-25457" fmla="*/ 6646040 w 10693106"/>
              <a:gd name="connsiteY108-25458" fmla="*/ 5105756 h 5292022"/>
              <a:gd name="connsiteX109-25459" fmla="*/ 6527506 w 10693106"/>
              <a:gd name="connsiteY109-25460" fmla="*/ 5165022 h 5292022"/>
              <a:gd name="connsiteX110-25461" fmla="*/ 6298906 w 10693106"/>
              <a:gd name="connsiteY110-25462" fmla="*/ 5241222 h 5292022"/>
              <a:gd name="connsiteX111-25463" fmla="*/ 6197306 w 10693106"/>
              <a:gd name="connsiteY111-25464" fmla="*/ 5266622 h 5292022"/>
              <a:gd name="connsiteX112-25465" fmla="*/ 6061840 w 10693106"/>
              <a:gd name="connsiteY112-25466" fmla="*/ 5275089 h 5292022"/>
              <a:gd name="connsiteX113-25467" fmla="*/ 5917906 w 10693106"/>
              <a:gd name="connsiteY113-25468" fmla="*/ 5292022 h 5292022"/>
              <a:gd name="connsiteX114-25469" fmla="*/ 5748573 w 10693106"/>
              <a:gd name="connsiteY114-25470" fmla="*/ 5283556 h 5292022"/>
              <a:gd name="connsiteX115-25471" fmla="*/ 5282906 w 10693106"/>
              <a:gd name="connsiteY115-25472" fmla="*/ 5173489 h 5292022"/>
              <a:gd name="connsiteX116-25473" fmla="*/ 5138973 w 10693106"/>
              <a:gd name="connsiteY116-25474" fmla="*/ 5071889 h 5292022"/>
              <a:gd name="connsiteX117-25475" fmla="*/ 4959480 w 10693106"/>
              <a:gd name="connsiteY117-25476" fmla="*/ 4988069 h 5292022"/>
              <a:gd name="connsiteX118-25477" fmla="*/ 4842216 w 10693106"/>
              <a:gd name="connsiteY118-25478" fmla="*/ 4953779 h 5292022"/>
              <a:gd name="connsiteX119-25479" fmla="*/ 4797343 w 10693106"/>
              <a:gd name="connsiteY119-25480" fmla="*/ 4878426 h 5292022"/>
              <a:gd name="connsiteX120-25481" fmla="*/ 4686853 w 10693106"/>
              <a:gd name="connsiteY120-25482" fmla="*/ 4788256 h 5292022"/>
              <a:gd name="connsiteX121-25483" fmla="*/ 4536146 w 10693106"/>
              <a:gd name="connsiteY121-25484" fmla="*/ 4712902 h 5292022"/>
              <a:gd name="connsiteX122-25485" fmla="*/ 4365120 w 10693106"/>
              <a:gd name="connsiteY122-25486" fmla="*/ 4616382 h 5292022"/>
              <a:gd name="connsiteX123-25487" fmla="*/ 4187743 w 10693106"/>
              <a:gd name="connsiteY123-25488" fmla="*/ 4521556 h 5292022"/>
              <a:gd name="connsiteX124-25489" fmla="*/ 4125936 w 10693106"/>
              <a:gd name="connsiteY124-25490" fmla="*/ 4386724 h 5292022"/>
              <a:gd name="connsiteX125-25491" fmla="*/ 3995973 w 10693106"/>
              <a:gd name="connsiteY125-25492" fmla="*/ 4232419 h 5292022"/>
              <a:gd name="connsiteX126-25493" fmla="*/ 3962530 w 10693106"/>
              <a:gd name="connsiteY126-25494" fmla="*/ 4135052 h 5292022"/>
              <a:gd name="connsiteX127-25495" fmla="*/ 3895643 w 10693106"/>
              <a:gd name="connsiteY127-25496" fmla="*/ 4059699 h 5292022"/>
              <a:gd name="connsiteX128-25497" fmla="*/ 3919773 w 10693106"/>
              <a:gd name="connsiteY128-25498" fmla="*/ 3920422 h 5292022"/>
              <a:gd name="connsiteX129-25499" fmla="*/ 3877440 w 10693106"/>
              <a:gd name="connsiteY129-25500" fmla="*/ 3624089 h 5292022"/>
              <a:gd name="connsiteX130-25501" fmla="*/ 3852040 w 10693106"/>
              <a:gd name="connsiteY130-25502" fmla="*/ 3530956 h 5292022"/>
              <a:gd name="connsiteX131-25503" fmla="*/ 3801240 w 10693106"/>
              <a:gd name="connsiteY131-25504" fmla="*/ 3420889 h 5292022"/>
              <a:gd name="connsiteX132-25505" fmla="*/ 3733506 w 10693106"/>
              <a:gd name="connsiteY132-25506" fmla="*/ 3319289 h 5292022"/>
              <a:gd name="connsiteX133-25507" fmla="*/ 3242440 w 10693106"/>
              <a:gd name="connsiteY133-25508" fmla="*/ 3099156 h 5292022"/>
              <a:gd name="connsiteX134-25509" fmla="*/ 3123906 w 10693106"/>
              <a:gd name="connsiteY134-25510" fmla="*/ 2997556 h 5292022"/>
              <a:gd name="connsiteX135-25511" fmla="*/ 2988440 w 10693106"/>
              <a:gd name="connsiteY135-25512" fmla="*/ 2802822 h 5292022"/>
              <a:gd name="connsiteX136-25513" fmla="*/ 2971506 w 10693106"/>
              <a:gd name="connsiteY136-25514" fmla="*/ 2743556 h 5292022"/>
              <a:gd name="connsiteX137-25515" fmla="*/ 2996906 w 10693106"/>
              <a:gd name="connsiteY137-25516" fmla="*/ 2531889 h 5292022"/>
              <a:gd name="connsiteX138-25517" fmla="*/ 3013840 w 10693106"/>
              <a:gd name="connsiteY138-25518" fmla="*/ 2430289 h 5292022"/>
              <a:gd name="connsiteX139-25519" fmla="*/ 3005373 w 10693106"/>
              <a:gd name="connsiteY139-25520" fmla="*/ 2311756 h 5292022"/>
              <a:gd name="connsiteX140-25521" fmla="*/ 2988440 w 10693106"/>
              <a:gd name="connsiteY140-25522" fmla="*/ 2260956 h 5292022"/>
              <a:gd name="connsiteX141-25523" fmla="*/ 2802173 w 10693106"/>
              <a:gd name="connsiteY141-25524" fmla="*/ 2006956 h 5292022"/>
              <a:gd name="connsiteX142-25525" fmla="*/ 2641306 w 10693106"/>
              <a:gd name="connsiteY142-25526" fmla="*/ 1863022 h 5292022"/>
              <a:gd name="connsiteX143-25527" fmla="*/ 2590506 w 10693106"/>
              <a:gd name="connsiteY143-25528" fmla="*/ 1837622 h 5292022"/>
              <a:gd name="connsiteX144-25529" fmla="*/ 2531240 w 10693106"/>
              <a:gd name="connsiteY144-25530" fmla="*/ 1829156 h 5292022"/>
              <a:gd name="connsiteX145-25531" fmla="*/ 2446573 w 10693106"/>
              <a:gd name="connsiteY145-25532" fmla="*/ 1812222 h 5292022"/>
              <a:gd name="connsiteX146-25533" fmla="*/ 2251840 w 10693106"/>
              <a:gd name="connsiteY146-25534" fmla="*/ 1837622 h 5292022"/>
              <a:gd name="connsiteX147-25535" fmla="*/ 2167173 w 10693106"/>
              <a:gd name="connsiteY147-25536" fmla="*/ 1879956 h 5292022"/>
              <a:gd name="connsiteX148-25537" fmla="*/ 1980906 w 10693106"/>
              <a:gd name="connsiteY148-25538" fmla="*/ 1939222 h 5292022"/>
              <a:gd name="connsiteX149-25539" fmla="*/ 1904706 w 10693106"/>
              <a:gd name="connsiteY149-25540" fmla="*/ 1973089 h 5292022"/>
              <a:gd name="connsiteX150-25541" fmla="*/ 1828506 w 10693106"/>
              <a:gd name="connsiteY150-25542" fmla="*/ 1990022 h 5292022"/>
              <a:gd name="connsiteX151-25543" fmla="*/ 1726906 w 10693106"/>
              <a:gd name="connsiteY151-25544" fmla="*/ 2040822 h 5292022"/>
              <a:gd name="connsiteX152-25545" fmla="*/ 1659173 w 10693106"/>
              <a:gd name="connsiteY152-25546" fmla="*/ 2074689 h 5292022"/>
              <a:gd name="connsiteX153-25547" fmla="*/ 1498306 w 10693106"/>
              <a:gd name="connsiteY153-25548" fmla="*/ 2100089 h 5292022"/>
              <a:gd name="connsiteX154-25549" fmla="*/ 914106 w 10693106"/>
              <a:gd name="connsiteY154-25550" fmla="*/ 2032356 h 5292022"/>
              <a:gd name="connsiteX155-25551" fmla="*/ 617773 w 10693106"/>
              <a:gd name="connsiteY155-25552" fmla="*/ 1922289 h 5292022"/>
              <a:gd name="connsiteX156-25553" fmla="*/ 516173 w 10693106"/>
              <a:gd name="connsiteY156-25554" fmla="*/ 1837622 h 5292022"/>
              <a:gd name="connsiteX157-25555" fmla="*/ 355306 w 10693106"/>
              <a:gd name="connsiteY157-25556" fmla="*/ 1625956 h 5292022"/>
              <a:gd name="connsiteX158-25557" fmla="*/ 296040 w 10693106"/>
              <a:gd name="connsiteY158-25558" fmla="*/ 1524356 h 5292022"/>
              <a:gd name="connsiteX159-25559" fmla="*/ 253706 w 10693106"/>
              <a:gd name="connsiteY159-25560" fmla="*/ 1346556 h 5292022"/>
              <a:gd name="connsiteX160-25561" fmla="*/ 245240 w 10693106"/>
              <a:gd name="connsiteY160-25562" fmla="*/ 1219556 h 5292022"/>
              <a:gd name="connsiteX161-25563" fmla="*/ 236773 w 10693106"/>
              <a:gd name="connsiteY161-25564" fmla="*/ 1117956 h 5292022"/>
              <a:gd name="connsiteX162-25565" fmla="*/ 245240 w 10693106"/>
              <a:gd name="connsiteY162-25566" fmla="*/ 847022 h 5292022"/>
              <a:gd name="connsiteX163-25567" fmla="*/ 236773 w 10693106"/>
              <a:gd name="connsiteY163-25568" fmla="*/ 703089 h 5292022"/>
              <a:gd name="connsiteX164-25569" fmla="*/ 109773 w 10693106"/>
              <a:gd name="connsiteY164-25570" fmla="*/ 559156 h 5292022"/>
              <a:gd name="connsiteX165-25571" fmla="*/ 58973 w 10693106"/>
              <a:gd name="connsiteY165-25572" fmla="*/ 482956 h 5292022"/>
              <a:gd name="connsiteX166-25573" fmla="*/ 16640 w 10693106"/>
              <a:gd name="connsiteY166-25574" fmla="*/ 432156 h 5292022"/>
              <a:gd name="connsiteX167-25575" fmla="*/ 8173 w 10693106"/>
              <a:gd name="connsiteY167-25576" fmla="*/ 389822 h 5292022"/>
              <a:gd name="connsiteX168-25577" fmla="*/ 16640 w 10693106"/>
              <a:gd name="connsiteY168-25578" fmla="*/ 339022 h 5292022"/>
              <a:gd name="connsiteX0-25579" fmla="*/ 16640 w 10693106"/>
              <a:gd name="connsiteY0-25580" fmla="*/ 339022 h 5292022"/>
              <a:gd name="connsiteX1-25581" fmla="*/ 58973 w 10693106"/>
              <a:gd name="connsiteY1-25582" fmla="*/ 245889 h 5292022"/>
              <a:gd name="connsiteX2-25583" fmla="*/ 109773 w 10693106"/>
              <a:gd name="connsiteY2-25584" fmla="*/ 178156 h 5292022"/>
              <a:gd name="connsiteX3-25585" fmla="*/ 202906 w 10693106"/>
              <a:gd name="connsiteY3-25586" fmla="*/ 93489 h 5292022"/>
              <a:gd name="connsiteX4-25587" fmla="*/ 236773 w 10693106"/>
              <a:gd name="connsiteY4-25588" fmla="*/ 68089 h 5292022"/>
              <a:gd name="connsiteX5-25589" fmla="*/ 335410 w 10693106"/>
              <a:gd name="connsiteY5-25590" fmla="*/ 58352 h 5292022"/>
              <a:gd name="connsiteX6-25591" fmla="*/ 382400 w 10693106"/>
              <a:gd name="connsiteY6-25592" fmla="*/ 51156 h 5292022"/>
              <a:gd name="connsiteX7-25593" fmla="*/ 434912 w 10693106"/>
              <a:gd name="connsiteY7-25594" fmla="*/ 70071 h 5292022"/>
              <a:gd name="connsiteX8-25595" fmla="*/ 492697 w 10693106"/>
              <a:gd name="connsiteY8-25596" fmla="*/ 74247 h 5292022"/>
              <a:gd name="connsiteX9-25597" fmla="*/ 822897 w 10693106"/>
              <a:gd name="connsiteY9-25598" fmla="*/ 82713 h 5292022"/>
              <a:gd name="connsiteX10-25599" fmla="*/ 1091906 w 10693106"/>
              <a:gd name="connsiteY10-25600" fmla="*/ 356 h 5292022"/>
              <a:gd name="connsiteX11-25601" fmla="*/ 1235840 w 10693106"/>
              <a:gd name="connsiteY11-25602" fmla="*/ 59622 h 5292022"/>
              <a:gd name="connsiteX12-25603" fmla="*/ 1337440 w 10693106"/>
              <a:gd name="connsiteY12-25604" fmla="*/ 135822 h 5292022"/>
              <a:gd name="connsiteX13-25605" fmla="*/ 1422106 w 10693106"/>
              <a:gd name="connsiteY13-25606" fmla="*/ 245889 h 5292022"/>
              <a:gd name="connsiteX14-25607" fmla="*/ 1481373 w 10693106"/>
              <a:gd name="connsiteY14-25608" fmla="*/ 313622 h 5292022"/>
              <a:gd name="connsiteX15-25609" fmla="*/ 1532173 w 10693106"/>
              <a:gd name="connsiteY15-25610" fmla="*/ 347489 h 5292022"/>
              <a:gd name="connsiteX16-25611" fmla="*/ 1684573 w 10693106"/>
              <a:gd name="connsiteY16-25612" fmla="*/ 406756 h 5292022"/>
              <a:gd name="connsiteX17-25613" fmla="*/ 1760773 w 10693106"/>
              <a:gd name="connsiteY17-25614" fmla="*/ 423689 h 5292022"/>
              <a:gd name="connsiteX18-25615" fmla="*/ 1997840 w 10693106"/>
              <a:gd name="connsiteY18-25616" fmla="*/ 415222 h 5292022"/>
              <a:gd name="connsiteX19-25617" fmla="*/ 2116373 w 10693106"/>
              <a:gd name="connsiteY19-25618" fmla="*/ 398289 h 5292022"/>
              <a:gd name="connsiteX20-25619" fmla="*/ 2260306 w 10693106"/>
              <a:gd name="connsiteY20-25620" fmla="*/ 381356 h 5292022"/>
              <a:gd name="connsiteX21-25621" fmla="*/ 2404240 w 10693106"/>
              <a:gd name="connsiteY21-25622" fmla="*/ 355956 h 5292022"/>
              <a:gd name="connsiteX22-25623" fmla="*/ 2455040 w 10693106"/>
              <a:gd name="connsiteY22-25624" fmla="*/ 330556 h 5292022"/>
              <a:gd name="connsiteX23-25625" fmla="*/ 2531240 w 10693106"/>
              <a:gd name="connsiteY23-25626" fmla="*/ 305156 h 5292022"/>
              <a:gd name="connsiteX24-25627" fmla="*/ 2649350 w 10693106"/>
              <a:gd name="connsiteY24-25628" fmla="*/ 225781 h 5292022"/>
              <a:gd name="connsiteX25-25629" fmla="*/ 2742906 w 10693106"/>
              <a:gd name="connsiteY25-25630" fmla="*/ 186622 h 5292022"/>
              <a:gd name="connsiteX26-25631" fmla="*/ 2764920 w 10693106"/>
              <a:gd name="connsiteY26-25632" fmla="*/ 173076 h 5292022"/>
              <a:gd name="connsiteX27-25633" fmla="*/ 2832653 w 10693106"/>
              <a:gd name="connsiteY27-25634" fmla="*/ 167996 h 5292022"/>
              <a:gd name="connsiteX28-25635" fmla="*/ 3002294 w 10693106"/>
              <a:gd name="connsiteY28-25636" fmla="*/ 154680 h 5292022"/>
              <a:gd name="connsiteX29-25637" fmla="*/ 3142763 w 10693106"/>
              <a:gd name="connsiteY29-25638" fmla="*/ 110421 h 5292022"/>
              <a:gd name="connsiteX30-25639" fmla="*/ 3398918 w 10693106"/>
              <a:gd name="connsiteY30-25640" fmla="*/ 72322 h 5292022"/>
              <a:gd name="connsiteX31-25641" fmla="*/ 3606506 w 10693106"/>
              <a:gd name="connsiteY31-25642" fmla="*/ 60393 h 5292022"/>
              <a:gd name="connsiteX32-25643" fmla="*/ 3682706 w 10693106"/>
              <a:gd name="connsiteY32-25644" fmla="*/ 79942 h 5292022"/>
              <a:gd name="connsiteX33-25645" fmla="*/ 3741973 w 10693106"/>
              <a:gd name="connsiteY33-25646" fmla="*/ 86561 h 5292022"/>
              <a:gd name="connsiteX34-25647" fmla="*/ 3794678 w 10693106"/>
              <a:gd name="connsiteY34-25648" fmla="*/ 101321 h 5292022"/>
              <a:gd name="connsiteX35-25649" fmla="*/ 3833625 w 10693106"/>
              <a:gd name="connsiteY35-25650" fmla="*/ 110846 h 5292022"/>
              <a:gd name="connsiteX36-25651" fmla="*/ 3892487 w 10693106"/>
              <a:gd name="connsiteY36-25652" fmla="*/ 116984 h 5292022"/>
              <a:gd name="connsiteX37-25653" fmla="*/ 3933108 w 10693106"/>
              <a:gd name="connsiteY37-25654" fmla="*/ 128837 h 5292022"/>
              <a:gd name="connsiteX38-25655" fmla="*/ 3976923 w 10693106"/>
              <a:gd name="connsiteY38-25656" fmla="*/ 135187 h 5292022"/>
              <a:gd name="connsiteX39-25657" fmla="*/ 4021373 w 10693106"/>
              <a:gd name="connsiteY39-25658" fmla="*/ 144289 h 5292022"/>
              <a:gd name="connsiteX40-25659" fmla="*/ 4055240 w 10693106"/>
              <a:gd name="connsiteY40-25660" fmla="*/ 152756 h 5292022"/>
              <a:gd name="connsiteX41-25661" fmla="*/ 4275373 w 10693106"/>
              <a:gd name="connsiteY41-25662" fmla="*/ 195089 h 5292022"/>
              <a:gd name="connsiteX42-25663" fmla="*/ 4402373 w 10693106"/>
              <a:gd name="connsiteY42-25664" fmla="*/ 228956 h 5292022"/>
              <a:gd name="connsiteX43-25665" fmla="*/ 4529373 w 10693106"/>
              <a:gd name="connsiteY43-25666" fmla="*/ 271289 h 5292022"/>
              <a:gd name="connsiteX44-25667" fmla="*/ 4859573 w 10693106"/>
              <a:gd name="connsiteY44-25668" fmla="*/ 347489 h 5292022"/>
              <a:gd name="connsiteX45-25669" fmla="*/ 5045840 w 10693106"/>
              <a:gd name="connsiteY45-25670" fmla="*/ 423689 h 5292022"/>
              <a:gd name="connsiteX46-25671" fmla="*/ 5325240 w 10693106"/>
              <a:gd name="connsiteY46-25672" fmla="*/ 584556 h 5292022"/>
              <a:gd name="connsiteX47-25673" fmla="*/ 5494573 w 10693106"/>
              <a:gd name="connsiteY47-25674" fmla="*/ 736956 h 5292022"/>
              <a:gd name="connsiteX48-25675" fmla="*/ 5562306 w 10693106"/>
              <a:gd name="connsiteY48-25676" fmla="*/ 813156 h 5292022"/>
              <a:gd name="connsiteX49-25677" fmla="*/ 5621573 w 10693106"/>
              <a:gd name="connsiteY49-25678" fmla="*/ 863956 h 5292022"/>
              <a:gd name="connsiteX50-25679" fmla="*/ 5672373 w 10693106"/>
              <a:gd name="connsiteY50-25680" fmla="*/ 931689 h 5292022"/>
              <a:gd name="connsiteX51-25681" fmla="*/ 5757040 w 10693106"/>
              <a:gd name="connsiteY51-25682" fmla="*/ 1033289 h 5292022"/>
              <a:gd name="connsiteX52-25683" fmla="*/ 5833240 w 10693106"/>
              <a:gd name="connsiteY52-25684" fmla="*/ 1126422 h 5292022"/>
              <a:gd name="connsiteX53-25685" fmla="*/ 6839926 w 10693106"/>
              <a:gd name="connsiteY53-25686" fmla="*/ 1252152 h 5292022"/>
              <a:gd name="connsiteX54-25687" fmla="*/ 7742050 w 10693106"/>
              <a:gd name="connsiteY54-25688" fmla="*/ 1241146 h 5292022"/>
              <a:gd name="connsiteX55-25689" fmla="*/ 8652640 w 10693106"/>
              <a:gd name="connsiteY55-25690" fmla="*/ 677689 h 5292022"/>
              <a:gd name="connsiteX56-25691" fmla="*/ 8982840 w 10693106"/>
              <a:gd name="connsiteY56-25692" fmla="*/ 398289 h 5292022"/>
              <a:gd name="connsiteX57-25693" fmla="*/ 9380773 w 10693106"/>
              <a:gd name="connsiteY57-25694" fmla="*/ 355956 h 5292022"/>
              <a:gd name="connsiteX58-25695" fmla="*/ 9744840 w 10693106"/>
              <a:gd name="connsiteY58-25696" fmla="*/ 466022 h 5292022"/>
              <a:gd name="connsiteX59-25697" fmla="*/ 9888773 w 10693106"/>
              <a:gd name="connsiteY59-25698" fmla="*/ 508356 h 5292022"/>
              <a:gd name="connsiteX60-25699" fmla="*/ 9998840 w 10693106"/>
              <a:gd name="connsiteY60-25700" fmla="*/ 559156 h 5292022"/>
              <a:gd name="connsiteX61-25701" fmla="*/ 10083506 w 10693106"/>
              <a:gd name="connsiteY61-25702" fmla="*/ 618422 h 5292022"/>
              <a:gd name="connsiteX62-25703" fmla="*/ 10286706 w 10693106"/>
              <a:gd name="connsiteY62-25704" fmla="*/ 686156 h 5292022"/>
              <a:gd name="connsiteX63-25705" fmla="*/ 10388306 w 10693106"/>
              <a:gd name="connsiteY63-25706" fmla="*/ 889356 h 5292022"/>
              <a:gd name="connsiteX64-25707" fmla="*/ 10540706 w 10693106"/>
              <a:gd name="connsiteY64-25708" fmla="*/ 1261889 h 5292022"/>
              <a:gd name="connsiteX65-25709" fmla="*/ 10557640 w 10693106"/>
              <a:gd name="connsiteY65-25710" fmla="*/ 1346556 h 5292022"/>
              <a:gd name="connsiteX66-25711" fmla="*/ 10583040 w 10693106"/>
              <a:gd name="connsiteY66-25712" fmla="*/ 1448156 h 5292022"/>
              <a:gd name="connsiteX67-25713" fmla="*/ 10616906 w 10693106"/>
              <a:gd name="connsiteY67-25714" fmla="*/ 1651356 h 5292022"/>
              <a:gd name="connsiteX68-25715" fmla="*/ 10633840 w 10693106"/>
              <a:gd name="connsiteY68-25716" fmla="*/ 1736022 h 5292022"/>
              <a:gd name="connsiteX69-25717" fmla="*/ 10650773 w 10693106"/>
              <a:gd name="connsiteY69-25718" fmla="*/ 1769889 h 5292022"/>
              <a:gd name="connsiteX70-25719" fmla="*/ 10676173 w 10693106"/>
              <a:gd name="connsiteY70-25720" fmla="*/ 1854556 h 5292022"/>
              <a:gd name="connsiteX71-25721" fmla="*/ 10693106 w 10693106"/>
              <a:gd name="connsiteY71-25722" fmla="*/ 2006956 h 5292022"/>
              <a:gd name="connsiteX72-25723" fmla="*/ 10625373 w 10693106"/>
              <a:gd name="connsiteY72-25724" fmla="*/ 2227089 h 5292022"/>
              <a:gd name="connsiteX73-25725" fmla="*/ 10608440 w 10693106"/>
              <a:gd name="connsiteY73-25726" fmla="*/ 2252489 h 5292022"/>
              <a:gd name="connsiteX74-25727" fmla="*/ 10540706 w 10693106"/>
              <a:gd name="connsiteY74-25728" fmla="*/ 2396422 h 5292022"/>
              <a:gd name="connsiteX75-25729" fmla="*/ 10498373 w 10693106"/>
              <a:gd name="connsiteY75-25730" fmla="*/ 2481089 h 5292022"/>
              <a:gd name="connsiteX76-25731" fmla="*/ 10439106 w 10693106"/>
              <a:gd name="connsiteY76-25732" fmla="*/ 2667356 h 5292022"/>
              <a:gd name="connsiteX77-25733" fmla="*/ 10430640 w 10693106"/>
              <a:gd name="connsiteY77-25734" fmla="*/ 2709689 h 5292022"/>
              <a:gd name="connsiteX78-25735" fmla="*/ 10405240 w 10693106"/>
              <a:gd name="connsiteY78-25736" fmla="*/ 2785889 h 5292022"/>
              <a:gd name="connsiteX79-25737" fmla="*/ 10396773 w 10693106"/>
              <a:gd name="connsiteY79-25738" fmla="*/ 2819756 h 5292022"/>
              <a:gd name="connsiteX80-25739" fmla="*/ 10362906 w 10693106"/>
              <a:gd name="connsiteY80-25740" fmla="*/ 2912889 h 5292022"/>
              <a:gd name="connsiteX81-25741" fmla="*/ 10329040 w 10693106"/>
              <a:gd name="connsiteY81-25742" fmla="*/ 2955222 h 5292022"/>
              <a:gd name="connsiteX82-25743" fmla="*/ 10227440 w 10693106"/>
              <a:gd name="connsiteY82-25744" fmla="*/ 3056822 h 5292022"/>
              <a:gd name="connsiteX83-25745" fmla="*/ 10168173 w 10693106"/>
              <a:gd name="connsiteY83-25746" fmla="*/ 3124556 h 5292022"/>
              <a:gd name="connsiteX84-25747" fmla="*/ 10117373 w 10693106"/>
              <a:gd name="connsiteY84-25748" fmla="*/ 3175356 h 5292022"/>
              <a:gd name="connsiteX85-25749" fmla="*/ 10032706 w 10693106"/>
              <a:gd name="connsiteY85-25750" fmla="*/ 3276956 h 5292022"/>
              <a:gd name="connsiteX86-25751" fmla="*/ 9948040 w 10693106"/>
              <a:gd name="connsiteY86-25752" fmla="*/ 3336222 h 5292022"/>
              <a:gd name="connsiteX87-25753" fmla="*/ 9905706 w 10693106"/>
              <a:gd name="connsiteY87-25754" fmla="*/ 3361622 h 5292022"/>
              <a:gd name="connsiteX88-25755" fmla="*/ 9829506 w 10693106"/>
              <a:gd name="connsiteY88-25756" fmla="*/ 3378556 h 5292022"/>
              <a:gd name="connsiteX89-25757" fmla="*/ 9727906 w 10693106"/>
              <a:gd name="connsiteY89-25758" fmla="*/ 3420889 h 5292022"/>
              <a:gd name="connsiteX90-25759" fmla="*/ 9634773 w 10693106"/>
              <a:gd name="connsiteY90-25760" fmla="*/ 3446289 h 5292022"/>
              <a:gd name="connsiteX91-25761" fmla="*/ 9456973 w 10693106"/>
              <a:gd name="connsiteY91-25762" fmla="*/ 3539422 h 5292022"/>
              <a:gd name="connsiteX92-25763" fmla="*/ 9313040 w 10693106"/>
              <a:gd name="connsiteY92-25764" fmla="*/ 3666422 h 5292022"/>
              <a:gd name="connsiteX93-25765" fmla="*/ 9279173 w 10693106"/>
              <a:gd name="connsiteY93-25766" fmla="*/ 3683356 h 5292022"/>
              <a:gd name="connsiteX94-25767" fmla="*/ 9067506 w 10693106"/>
              <a:gd name="connsiteY94-25768" fmla="*/ 3861156 h 5292022"/>
              <a:gd name="connsiteX95-25769" fmla="*/ 8999773 w 10693106"/>
              <a:gd name="connsiteY95-25770" fmla="*/ 3928889 h 5292022"/>
              <a:gd name="connsiteX96-25771" fmla="*/ 8813506 w 10693106"/>
              <a:gd name="connsiteY96-25772" fmla="*/ 4064356 h 5292022"/>
              <a:gd name="connsiteX97-25773" fmla="*/ 8728840 w 10693106"/>
              <a:gd name="connsiteY97-25774" fmla="*/ 4106689 h 5292022"/>
              <a:gd name="connsiteX98-25775" fmla="*/ 8373240 w 10693106"/>
              <a:gd name="connsiteY98-25776" fmla="*/ 4140556 h 5292022"/>
              <a:gd name="connsiteX99-25777" fmla="*/ 7966840 w 10693106"/>
              <a:gd name="connsiteY99-25778" fmla="*/ 4233689 h 5292022"/>
              <a:gd name="connsiteX100-25779" fmla="*/ 7687440 w 10693106"/>
              <a:gd name="connsiteY100-25780" fmla="*/ 4394556 h 5292022"/>
              <a:gd name="connsiteX101-25781" fmla="*/ 7551973 w 10693106"/>
              <a:gd name="connsiteY101-25782" fmla="*/ 4479222 h 5292022"/>
              <a:gd name="connsiteX102-25783" fmla="*/ 7374173 w 10693106"/>
              <a:gd name="connsiteY102-25784" fmla="*/ 4657022 h 5292022"/>
              <a:gd name="connsiteX103-25785" fmla="*/ 7374173 w 10693106"/>
              <a:gd name="connsiteY103-25786" fmla="*/ 4657022 h 5292022"/>
              <a:gd name="connsiteX104-25787" fmla="*/ 7221773 w 10693106"/>
              <a:gd name="connsiteY104-25788" fmla="*/ 4775556 h 5292022"/>
              <a:gd name="connsiteX105-25789" fmla="*/ 7027040 w 10693106"/>
              <a:gd name="connsiteY105-25790" fmla="*/ 4902556 h 5292022"/>
              <a:gd name="connsiteX106-25791" fmla="*/ 6883106 w 10693106"/>
              <a:gd name="connsiteY106-25792" fmla="*/ 4970289 h 5292022"/>
              <a:gd name="connsiteX107-25793" fmla="*/ 6815373 w 10693106"/>
              <a:gd name="connsiteY107-25794" fmla="*/ 5012622 h 5292022"/>
              <a:gd name="connsiteX108-25795" fmla="*/ 6646040 w 10693106"/>
              <a:gd name="connsiteY108-25796" fmla="*/ 5105756 h 5292022"/>
              <a:gd name="connsiteX109-25797" fmla="*/ 6527506 w 10693106"/>
              <a:gd name="connsiteY109-25798" fmla="*/ 5165022 h 5292022"/>
              <a:gd name="connsiteX110-25799" fmla="*/ 6298906 w 10693106"/>
              <a:gd name="connsiteY110-25800" fmla="*/ 5241222 h 5292022"/>
              <a:gd name="connsiteX111-25801" fmla="*/ 6197306 w 10693106"/>
              <a:gd name="connsiteY111-25802" fmla="*/ 5266622 h 5292022"/>
              <a:gd name="connsiteX112-25803" fmla="*/ 6061840 w 10693106"/>
              <a:gd name="connsiteY112-25804" fmla="*/ 5275089 h 5292022"/>
              <a:gd name="connsiteX113-25805" fmla="*/ 5917906 w 10693106"/>
              <a:gd name="connsiteY113-25806" fmla="*/ 5292022 h 5292022"/>
              <a:gd name="connsiteX114-25807" fmla="*/ 5748573 w 10693106"/>
              <a:gd name="connsiteY114-25808" fmla="*/ 5283556 h 5292022"/>
              <a:gd name="connsiteX115-25809" fmla="*/ 5282906 w 10693106"/>
              <a:gd name="connsiteY115-25810" fmla="*/ 5173489 h 5292022"/>
              <a:gd name="connsiteX116-25811" fmla="*/ 5138973 w 10693106"/>
              <a:gd name="connsiteY116-25812" fmla="*/ 5071889 h 5292022"/>
              <a:gd name="connsiteX117-25813" fmla="*/ 4959480 w 10693106"/>
              <a:gd name="connsiteY117-25814" fmla="*/ 4988069 h 5292022"/>
              <a:gd name="connsiteX118-25815" fmla="*/ 4842216 w 10693106"/>
              <a:gd name="connsiteY118-25816" fmla="*/ 4953779 h 5292022"/>
              <a:gd name="connsiteX119-25817" fmla="*/ 4797343 w 10693106"/>
              <a:gd name="connsiteY119-25818" fmla="*/ 4878426 h 5292022"/>
              <a:gd name="connsiteX120-25819" fmla="*/ 4686853 w 10693106"/>
              <a:gd name="connsiteY120-25820" fmla="*/ 4788256 h 5292022"/>
              <a:gd name="connsiteX121-25821" fmla="*/ 4536146 w 10693106"/>
              <a:gd name="connsiteY121-25822" fmla="*/ 4712902 h 5292022"/>
              <a:gd name="connsiteX122-25823" fmla="*/ 4365120 w 10693106"/>
              <a:gd name="connsiteY122-25824" fmla="*/ 4616382 h 5292022"/>
              <a:gd name="connsiteX123-25825" fmla="*/ 4187743 w 10693106"/>
              <a:gd name="connsiteY123-25826" fmla="*/ 4521556 h 5292022"/>
              <a:gd name="connsiteX124-25827" fmla="*/ 4125936 w 10693106"/>
              <a:gd name="connsiteY124-25828" fmla="*/ 4386724 h 5292022"/>
              <a:gd name="connsiteX125-25829" fmla="*/ 3995973 w 10693106"/>
              <a:gd name="connsiteY125-25830" fmla="*/ 4232419 h 5292022"/>
              <a:gd name="connsiteX126-25831" fmla="*/ 3962530 w 10693106"/>
              <a:gd name="connsiteY126-25832" fmla="*/ 4135052 h 5292022"/>
              <a:gd name="connsiteX127-25833" fmla="*/ 3895643 w 10693106"/>
              <a:gd name="connsiteY127-25834" fmla="*/ 4059699 h 5292022"/>
              <a:gd name="connsiteX128-25835" fmla="*/ 3919773 w 10693106"/>
              <a:gd name="connsiteY128-25836" fmla="*/ 3920422 h 5292022"/>
              <a:gd name="connsiteX129-25837" fmla="*/ 3877440 w 10693106"/>
              <a:gd name="connsiteY129-25838" fmla="*/ 3624089 h 5292022"/>
              <a:gd name="connsiteX130-25839" fmla="*/ 3852040 w 10693106"/>
              <a:gd name="connsiteY130-25840" fmla="*/ 3530956 h 5292022"/>
              <a:gd name="connsiteX131-25841" fmla="*/ 3801240 w 10693106"/>
              <a:gd name="connsiteY131-25842" fmla="*/ 3420889 h 5292022"/>
              <a:gd name="connsiteX132-25843" fmla="*/ 3733506 w 10693106"/>
              <a:gd name="connsiteY132-25844" fmla="*/ 3319289 h 5292022"/>
              <a:gd name="connsiteX133-25845" fmla="*/ 3242440 w 10693106"/>
              <a:gd name="connsiteY133-25846" fmla="*/ 3099156 h 5292022"/>
              <a:gd name="connsiteX134-25847" fmla="*/ 3123906 w 10693106"/>
              <a:gd name="connsiteY134-25848" fmla="*/ 2997556 h 5292022"/>
              <a:gd name="connsiteX135-25849" fmla="*/ 2988440 w 10693106"/>
              <a:gd name="connsiteY135-25850" fmla="*/ 2802822 h 5292022"/>
              <a:gd name="connsiteX136-25851" fmla="*/ 2971506 w 10693106"/>
              <a:gd name="connsiteY136-25852" fmla="*/ 2743556 h 5292022"/>
              <a:gd name="connsiteX137-25853" fmla="*/ 2996906 w 10693106"/>
              <a:gd name="connsiteY137-25854" fmla="*/ 2531889 h 5292022"/>
              <a:gd name="connsiteX138-25855" fmla="*/ 3013840 w 10693106"/>
              <a:gd name="connsiteY138-25856" fmla="*/ 2430289 h 5292022"/>
              <a:gd name="connsiteX139-25857" fmla="*/ 3005373 w 10693106"/>
              <a:gd name="connsiteY139-25858" fmla="*/ 2311756 h 5292022"/>
              <a:gd name="connsiteX140-25859" fmla="*/ 2988440 w 10693106"/>
              <a:gd name="connsiteY140-25860" fmla="*/ 2260956 h 5292022"/>
              <a:gd name="connsiteX141-25861" fmla="*/ 2802173 w 10693106"/>
              <a:gd name="connsiteY141-25862" fmla="*/ 2006956 h 5292022"/>
              <a:gd name="connsiteX142-25863" fmla="*/ 2641306 w 10693106"/>
              <a:gd name="connsiteY142-25864" fmla="*/ 1863022 h 5292022"/>
              <a:gd name="connsiteX143-25865" fmla="*/ 2590506 w 10693106"/>
              <a:gd name="connsiteY143-25866" fmla="*/ 1837622 h 5292022"/>
              <a:gd name="connsiteX144-25867" fmla="*/ 2531240 w 10693106"/>
              <a:gd name="connsiteY144-25868" fmla="*/ 1829156 h 5292022"/>
              <a:gd name="connsiteX145-25869" fmla="*/ 2446573 w 10693106"/>
              <a:gd name="connsiteY145-25870" fmla="*/ 1812222 h 5292022"/>
              <a:gd name="connsiteX146-25871" fmla="*/ 2251840 w 10693106"/>
              <a:gd name="connsiteY146-25872" fmla="*/ 1837622 h 5292022"/>
              <a:gd name="connsiteX147-25873" fmla="*/ 2167173 w 10693106"/>
              <a:gd name="connsiteY147-25874" fmla="*/ 1879956 h 5292022"/>
              <a:gd name="connsiteX148-25875" fmla="*/ 1980906 w 10693106"/>
              <a:gd name="connsiteY148-25876" fmla="*/ 1939222 h 5292022"/>
              <a:gd name="connsiteX149-25877" fmla="*/ 1904706 w 10693106"/>
              <a:gd name="connsiteY149-25878" fmla="*/ 1973089 h 5292022"/>
              <a:gd name="connsiteX150-25879" fmla="*/ 1828506 w 10693106"/>
              <a:gd name="connsiteY150-25880" fmla="*/ 1990022 h 5292022"/>
              <a:gd name="connsiteX151-25881" fmla="*/ 1726906 w 10693106"/>
              <a:gd name="connsiteY151-25882" fmla="*/ 2040822 h 5292022"/>
              <a:gd name="connsiteX152-25883" fmla="*/ 1659173 w 10693106"/>
              <a:gd name="connsiteY152-25884" fmla="*/ 2074689 h 5292022"/>
              <a:gd name="connsiteX153-25885" fmla="*/ 1498306 w 10693106"/>
              <a:gd name="connsiteY153-25886" fmla="*/ 2100089 h 5292022"/>
              <a:gd name="connsiteX154-25887" fmla="*/ 914106 w 10693106"/>
              <a:gd name="connsiteY154-25888" fmla="*/ 2032356 h 5292022"/>
              <a:gd name="connsiteX155-25889" fmla="*/ 617773 w 10693106"/>
              <a:gd name="connsiteY155-25890" fmla="*/ 1922289 h 5292022"/>
              <a:gd name="connsiteX156-25891" fmla="*/ 516173 w 10693106"/>
              <a:gd name="connsiteY156-25892" fmla="*/ 1837622 h 5292022"/>
              <a:gd name="connsiteX157-25893" fmla="*/ 355306 w 10693106"/>
              <a:gd name="connsiteY157-25894" fmla="*/ 1625956 h 5292022"/>
              <a:gd name="connsiteX158-25895" fmla="*/ 296040 w 10693106"/>
              <a:gd name="connsiteY158-25896" fmla="*/ 1524356 h 5292022"/>
              <a:gd name="connsiteX159-25897" fmla="*/ 253706 w 10693106"/>
              <a:gd name="connsiteY159-25898" fmla="*/ 1346556 h 5292022"/>
              <a:gd name="connsiteX160-25899" fmla="*/ 245240 w 10693106"/>
              <a:gd name="connsiteY160-25900" fmla="*/ 1219556 h 5292022"/>
              <a:gd name="connsiteX161-25901" fmla="*/ 236773 w 10693106"/>
              <a:gd name="connsiteY161-25902" fmla="*/ 1117956 h 5292022"/>
              <a:gd name="connsiteX162-25903" fmla="*/ 245240 w 10693106"/>
              <a:gd name="connsiteY162-25904" fmla="*/ 847022 h 5292022"/>
              <a:gd name="connsiteX163-25905" fmla="*/ 236773 w 10693106"/>
              <a:gd name="connsiteY163-25906" fmla="*/ 703089 h 5292022"/>
              <a:gd name="connsiteX164-25907" fmla="*/ 109773 w 10693106"/>
              <a:gd name="connsiteY164-25908" fmla="*/ 559156 h 5292022"/>
              <a:gd name="connsiteX165-25909" fmla="*/ 58973 w 10693106"/>
              <a:gd name="connsiteY165-25910" fmla="*/ 482956 h 5292022"/>
              <a:gd name="connsiteX166-25911" fmla="*/ 16640 w 10693106"/>
              <a:gd name="connsiteY166-25912" fmla="*/ 432156 h 5292022"/>
              <a:gd name="connsiteX167-25913" fmla="*/ 8173 w 10693106"/>
              <a:gd name="connsiteY167-25914" fmla="*/ 389822 h 5292022"/>
              <a:gd name="connsiteX168-25915" fmla="*/ 16640 w 10693106"/>
              <a:gd name="connsiteY168-25916" fmla="*/ 339022 h 5292022"/>
              <a:gd name="connsiteX0-25917" fmla="*/ 16640 w 10693106"/>
              <a:gd name="connsiteY0-25918" fmla="*/ 339022 h 5292022"/>
              <a:gd name="connsiteX1-25919" fmla="*/ 58973 w 10693106"/>
              <a:gd name="connsiteY1-25920" fmla="*/ 245889 h 5292022"/>
              <a:gd name="connsiteX2-25921" fmla="*/ 109773 w 10693106"/>
              <a:gd name="connsiteY2-25922" fmla="*/ 178156 h 5292022"/>
              <a:gd name="connsiteX3-25923" fmla="*/ 202906 w 10693106"/>
              <a:gd name="connsiteY3-25924" fmla="*/ 93489 h 5292022"/>
              <a:gd name="connsiteX4-25925" fmla="*/ 236773 w 10693106"/>
              <a:gd name="connsiteY4-25926" fmla="*/ 68089 h 5292022"/>
              <a:gd name="connsiteX5-25927" fmla="*/ 335410 w 10693106"/>
              <a:gd name="connsiteY5-25928" fmla="*/ 58352 h 5292022"/>
              <a:gd name="connsiteX6-25929" fmla="*/ 382400 w 10693106"/>
              <a:gd name="connsiteY6-25930" fmla="*/ 51156 h 5292022"/>
              <a:gd name="connsiteX7-25931" fmla="*/ 434912 w 10693106"/>
              <a:gd name="connsiteY7-25932" fmla="*/ 70071 h 5292022"/>
              <a:gd name="connsiteX8-25933" fmla="*/ 492697 w 10693106"/>
              <a:gd name="connsiteY8-25934" fmla="*/ 74247 h 5292022"/>
              <a:gd name="connsiteX9-25935" fmla="*/ 822897 w 10693106"/>
              <a:gd name="connsiteY9-25936" fmla="*/ 82713 h 5292022"/>
              <a:gd name="connsiteX10-25937" fmla="*/ 1091906 w 10693106"/>
              <a:gd name="connsiteY10-25938" fmla="*/ 356 h 5292022"/>
              <a:gd name="connsiteX11-25939" fmla="*/ 1235840 w 10693106"/>
              <a:gd name="connsiteY11-25940" fmla="*/ 59622 h 5292022"/>
              <a:gd name="connsiteX12-25941" fmla="*/ 1337440 w 10693106"/>
              <a:gd name="connsiteY12-25942" fmla="*/ 135822 h 5292022"/>
              <a:gd name="connsiteX13-25943" fmla="*/ 1422106 w 10693106"/>
              <a:gd name="connsiteY13-25944" fmla="*/ 245889 h 5292022"/>
              <a:gd name="connsiteX14-25945" fmla="*/ 1481373 w 10693106"/>
              <a:gd name="connsiteY14-25946" fmla="*/ 313622 h 5292022"/>
              <a:gd name="connsiteX15-25947" fmla="*/ 1532173 w 10693106"/>
              <a:gd name="connsiteY15-25948" fmla="*/ 347489 h 5292022"/>
              <a:gd name="connsiteX16-25949" fmla="*/ 1684573 w 10693106"/>
              <a:gd name="connsiteY16-25950" fmla="*/ 406756 h 5292022"/>
              <a:gd name="connsiteX17-25951" fmla="*/ 1760773 w 10693106"/>
              <a:gd name="connsiteY17-25952" fmla="*/ 423689 h 5292022"/>
              <a:gd name="connsiteX18-25953" fmla="*/ 1997840 w 10693106"/>
              <a:gd name="connsiteY18-25954" fmla="*/ 415222 h 5292022"/>
              <a:gd name="connsiteX19-25955" fmla="*/ 2116373 w 10693106"/>
              <a:gd name="connsiteY19-25956" fmla="*/ 398289 h 5292022"/>
              <a:gd name="connsiteX20-25957" fmla="*/ 2260306 w 10693106"/>
              <a:gd name="connsiteY20-25958" fmla="*/ 381356 h 5292022"/>
              <a:gd name="connsiteX21-25959" fmla="*/ 2404240 w 10693106"/>
              <a:gd name="connsiteY21-25960" fmla="*/ 355956 h 5292022"/>
              <a:gd name="connsiteX22-25961" fmla="*/ 2455040 w 10693106"/>
              <a:gd name="connsiteY22-25962" fmla="*/ 330556 h 5292022"/>
              <a:gd name="connsiteX23-25963" fmla="*/ 2531240 w 10693106"/>
              <a:gd name="connsiteY23-25964" fmla="*/ 305156 h 5292022"/>
              <a:gd name="connsiteX24-25965" fmla="*/ 2649350 w 10693106"/>
              <a:gd name="connsiteY24-25966" fmla="*/ 225781 h 5292022"/>
              <a:gd name="connsiteX25-25967" fmla="*/ 2742906 w 10693106"/>
              <a:gd name="connsiteY25-25968" fmla="*/ 186622 h 5292022"/>
              <a:gd name="connsiteX26-25969" fmla="*/ 2764920 w 10693106"/>
              <a:gd name="connsiteY26-25970" fmla="*/ 173076 h 5292022"/>
              <a:gd name="connsiteX27-25971" fmla="*/ 2832653 w 10693106"/>
              <a:gd name="connsiteY27-25972" fmla="*/ 167996 h 5292022"/>
              <a:gd name="connsiteX28-25973" fmla="*/ 3002294 w 10693106"/>
              <a:gd name="connsiteY28-25974" fmla="*/ 154680 h 5292022"/>
              <a:gd name="connsiteX29-25975" fmla="*/ 3142763 w 10693106"/>
              <a:gd name="connsiteY29-25976" fmla="*/ 110421 h 5292022"/>
              <a:gd name="connsiteX30-25977" fmla="*/ 3398918 w 10693106"/>
              <a:gd name="connsiteY30-25978" fmla="*/ 72322 h 5292022"/>
              <a:gd name="connsiteX31-25979" fmla="*/ 3606506 w 10693106"/>
              <a:gd name="connsiteY31-25980" fmla="*/ 60393 h 5292022"/>
              <a:gd name="connsiteX32-25981" fmla="*/ 3682706 w 10693106"/>
              <a:gd name="connsiteY32-25982" fmla="*/ 79942 h 5292022"/>
              <a:gd name="connsiteX33-25983" fmla="*/ 3741973 w 10693106"/>
              <a:gd name="connsiteY33-25984" fmla="*/ 86561 h 5292022"/>
              <a:gd name="connsiteX34-25985" fmla="*/ 3794678 w 10693106"/>
              <a:gd name="connsiteY34-25986" fmla="*/ 101321 h 5292022"/>
              <a:gd name="connsiteX35-25987" fmla="*/ 3833625 w 10693106"/>
              <a:gd name="connsiteY35-25988" fmla="*/ 110846 h 5292022"/>
              <a:gd name="connsiteX36-25989" fmla="*/ 3892487 w 10693106"/>
              <a:gd name="connsiteY36-25990" fmla="*/ 116984 h 5292022"/>
              <a:gd name="connsiteX37-25991" fmla="*/ 3933108 w 10693106"/>
              <a:gd name="connsiteY37-25992" fmla="*/ 128837 h 5292022"/>
              <a:gd name="connsiteX38-25993" fmla="*/ 3976923 w 10693106"/>
              <a:gd name="connsiteY38-25994" fmla="*/ 135187 h 5292022"/>
              <a:gd name="connsiteX39-25995" fmla="*/ 4021373 w 10693106"/>
              <a:gd name="connsiteY39-25996" fmla="*/ 144289 h 5292022"/>
              <a:gd name="connsiteX40-25997" fmla="*/ 4055240 w 10693106"/>
              <a:gd name="connsiteY40-25998" fmla="*/ 152756 h 5292022"/>
              <a:gd name="connsiteX41-25999" fmla="*/ 4275373 w 10693106"/>
              <a:gd name="connsiteY41-26000" fmla="*/ 195089 h 5292022"/>
              <a:gd name="connsiteX42-26001" fmla="*/ 4402373 w 10693106"/>
              <a:gd name="connsiteY42-26002" fmla="*/ 228956 h 5292022"/>
              <a:gd name="connsiteX43-26003" fmla="*/ 4529373 w 10693106"/>
              <a:gd name="connsiteY43-26004" fmla="*/ 271289 h 5292022"/>
              <a:gd name="connsiteX44-26005" fmla="*/ 4859573 w 10693106"/>
              <a:gd name="connsiteY44-26006" fmla="*/ 347489 h 5292022"/>
              <a:gd name="connsiteX45-26007" fmla="*/ 5045840 w 10693106"/>
              <a:gd name="connsiteY45-26008" fmla="*/ 423689 h 5292022"/>
              <a:gd name="connsiteX46-26009" fmla="*/ 5325240 w 10693106"/>
              <a:gd name="connsiteY46-26010" fmla="*/ 584556 h 5292022"/>
              <a:gd name="connsiteX47-26011" fmla="*/ 5494573 w 10693106"/>
              <a:gd name="connsiteY47-26012" fmla="*/ 736956 h 5292022"/>
              <a:gd name="connsiteX48-26013" fmla="*/ 5562306 w 10693106"/>
              <a:gd name="connsiteY48-26014" fmla="*/ 813156 h 5292022"/>
              <a:gd name="connsiteX49-26015" fmla="*/ 5621573 w 10693106"/>
              <a:gd name="connsiteY49-26016" fmla="*/ 863956 h 5292022"/>
              <a:gd name="connsiteX50-26017" fmla="*/ 5672373 w 10693106"/>
              <a:gd name="connsiteY50-26018" fmla="*/ 931689 h 5292022"/>
              <a:gd name="connsiteX51-26019" fmla="*/ 5757040 w 10693106"/>
              <a:gd name="connsiteY51-26020" fmla="*/ 1033289 h 5292022"/>
              <a:gd name="connsiteX52-26021" fmla="*/ 5833240 w 10693106"/>
              <a:gd name="connsiteY52-26022" fmla="*/ 1126422 h 5292022"/>
              <a:gd name="connsiteX53-26023" fmla="*/ 6839926 w 10693106"/>
              <a:gd name="connsiteY53-26024" fmla="*/ 1252152 h 5292022"/>
              <a:gd name="connsiteX54-26025" fmla="*/ 7703950 w 10693106"/>
              <a:gd name="connsiteY54-26026" fmla="*/ 1069696 h 5292022"/>
              <a:gd name="connsiteX55-26027" fmla="*/ 8652640 w 10693106"/>
              <a:gd name="connsiteY55-26028" fmla="*/ 677689 h 5292022"/>
              <a:gd name="connsiteX56-26029" fmla="*/ 8982840 w 10693106"/>
              <a:gd name="connsiteY56-26030" fmla="*/ 398289 h 5292022"/>
              <a:gd name="connsiteX57-26031" fmla="*/ 9380773 w 10693106"/>
              <a:gd name="connsiteY57-26032" fmla="*/ 355956 h 5292022"/>
              <a:gd name="connsiteX58-26033" fmla="*/ 9744840 w 10693106"/>
              <a:gd name="connsiteY58-26034" fmla="*/ 466022 h 5292022"/>
              <a:gd name="connsiteX59-26035" fmla="*/ 9888773 w 10693106"/>
              <a:gd name="connsiteY59-26036" fmla="*/ 508356 h 5292022"/>
              <a:gd name="connsiteX60-26037" fmla="*/ 9998840 w 10693106"/>
              <a:gd name="connsiteY60-26038" fmla="*/ 559156 h 5292022"/>
              <a:gd name="connsiteX61-26039" fmla="*/ 10083506 w 10693106"/>
              <a:gd name="connsiteY61-26040" fmla="*/ 618422 h 5292022"/>
              <a:gd name="connsiteX62-26041" fmla="*/ 10286706 w 10693106"/>
              <a:gd name="connsiteY62-26042" fmla="*/ 686156 h 5292022"/>
              <a:gd name="connsiteX63-26043" fmla="*/ 10388306 w 10693106"/>
              <a:gd name="connsiteY63-26044" fmla="*/ 889356 h 5292022"/>
              <a:gd name="connsiteX64-26045" fmla="*/ 10540706 w 10693106"/>
              <a:gd name="connsiteY64-26046" fmla="*/ 1261889 h 5292022"/>
              <a:gd name="connsiteX65-26047" fmla="*/ 10557640 w 10693106"/>
              <a:gd name="connsiteY65-26048" fmla="*/ 1346556 h 5292022"/>
              <a:gd name="connsiteX66-26049" fmla="*/ 10583040 w 10693106"/>
              <a:gd name="connsiteY66-26050" fmla="*/ 1448156 h 5292022"/>
              <a:gd name="connsiteX67-26051" fmla="*/ 10616906 w 10693106"/>
              <a:gd name="connsiteY67-26052" fmla="*/ 1651356 h 5292022"/>
              <a:gd name="connsiteX68-26053" fmla="*/ 10633840 w 10693106"/>
              <a:gd name="connsiteY68-26054" fmla="*/ 1736022 h 5292022"/>
              <a:gd name="connsiteX69-26055" fmla="*/ 10650773 w 10693106"/>
              <a:gd name="connsiteY69-26056" fmla="*/ 1769889 h 5292022"/>
              <a:gd name="connsiteX70-26057" fmla="*/ 10676173 w 10693106"/>
              <a:gd name="connsiteY70-26058" fmla="*/ 1854556 h 5292022"/>
              <a:gd name="connsiteX71-26059" fmla="*/ 10693106 w 10693106"/>
              <a:gd name="connsiteY71-26060" fmla="*/ 2006956 h 5292022"/>
              <a:gd name="connsiteX72-26061" fmla="*/ 10625373 w 10693106"/>
              <a:gd name="connsiteY72-26062" fmla="*/ 2227089 h 5292022"/>
              <a:gd name="connsiteX73-26063" fmla="*/ 10608440 w 10693106"/>
              <a:gd name="connsiteY73-26064" fmla="*/ 2252489 h 5292022"/>
              <a:gd name="connsiteX74-26065" fmla="*/ 10540706 w 10693106"/>
              <a:gd name="connsiteY74-26066" fmla="*/ 2396422 h 5292022"/>
              <a:gd name="connsiteX75-26067" fmla="*/ 10498373 w 10693106"/>
              <a:gd name="connsiteY75-26068" fmla="*/ 2481089 h 5292022"/>
              <a:gd name="connsiteX76-26069" fmla="*/ 10439106 w 10693106"/>
              <a:gd name="connsiteY76-26070" fmla="*/ 2667356 h 5292022"/>
              <a:gd name="connsiteX77-26071" fmla="*/ 10430640 w 10693106"/>
              <a:gd name="connsiteY77-26072" fmla="*/ 2709689 h 5292022"/>
              <a:gd name="connsiteX78-26073" fmla="*/ 10405240 w 10693106"/>
              <a:gd name="connsiteY78-26074" fmla="*/ 2785889 h 5292022"/>
              <a:gd name="connsiteX79-26075" fmla="*/ 10396773 w 10693106"/>
              <a:gd name="connsiteY79-26076" fmla="*/ 2819756 h 5292022"/>
              <a:gd name="connsiteX80-26077" fmla="*/ 10362906 w 10693106"/>
              <a:gd name="connsiteY80-26078" fmla="*/ 2912889 h 5292022"/>
              <a:gd name="connsiteX81-26079" fmla="*/ 10329040 w 10693106"/>
              <a:gd name="connsiteY81-26080" fmla="*/ 2955222 h 5292022"/>
              <a:gd name="connsiteX82-26081" fmla="*/ 10227440 w 10693106"/>
              <a:gd name="connsiteY82-26082" fmla="*/ 3056822 h 5292022"/>
              <a:gd name="connsiteX83-26083" fmla="*/ 10168173 w 10693106"/>
              <a:gd name="connsiteY83-26084" fmla="*/ 3124556 h 5292022"/>
              <a:gd name="connsiteX84-26085" fmla="*/ 10117373 w 10693106"/>
              <a:gd name="connsiteY84-26086" fmla="*/ 3175356 h 5292022"/>
              <a:gd name="connsiteX85-26087" fmla="*/ 10032706 w 10693106"/>
              <a:gd name="connsiteY85-26088" fmla="*/ 3276956 h 5292022"/>
              <a:gd name="connsiteX86-26089" fmla="*/ 9948040 w 10693106"/>
              <a:gd name="connsiteY86-26090" fmla="*/ 3336222 h 5292022"/>
              <a:gd name="connsiteX87-26091" fmla="*/ 9905706 w 10693106"/>
              <a:gd name="connsiteY87-26092" fmla="*/ 3361622 h 5292022"/>
              <a:gd name="connsiteX88-26093" fmla="*/ 9829506 w 10693106"/>
              <a:gd name="connsiteY88-26094" fmla="*/ 3378556 h 5292022"/>
              <a:gd name="connsiteX89-26095" fmla="*/ 9727906 w 10693106"/>
              <a:gd name="connsiteY89-26096" fmla="*/ 3420889 h 5292022"/>
              <a:gd name="connsiteX90-26097" fmla="*/ 9634773 w 10693106"/>
              <a:gd name="connsiteY90-26098" fmla="*/ 3446289 h 5292022"/>
              <a:gd name="connsiteX91-26099" fmla="*/ 9456973 w 10693106"/>
              <a:gd name="connsiteY91-26100" fmla="*/ 3539422 h 5292022"/>
              <a:gd name="connsiteX92-26101" fmla="*/ 9313040 w 10693106"/>
              <a:gd name="connsiteY92-26102" fmla="*/ 3666422 h 5292022"/>
              <a:gd name="connsiteX93-26103" fmla="*/ 9279173 w 10693106"/>
              <a:gd name="connsiteY93-26104" fmla="*/ 3683356 h 5292022"/>
              <a:gd name="connsiteX94-26105" fmla="*/ 9067506 w 10693106"/>
              <a:gd name="connsiteY94-26106" fmla="*/ 3861156 h 5292022"/>
              <a:gd name="connsiteX95-26107" fmla="*/ 8999773 w 10693106"/>
              <a:gd name="connsiteY95-26108" fmla="*/ 3928889 h 5292022"/>
              <a:gd name="connsiteX96-26109" fmla="*/ 8813506 w 10693106"/>
              <a:gd name="connsiteY96-26110" fmla="*/ 4064356 h 5292022"/>
              <a:gd name="connsiteX97-26111" fmla="*/ 8728840 w 10693106"/>
              <a:gd name="connsiteY97-26112" fmla="*/ 4106689 h 5292022"/>
              <a:gd name="connsiteX98-26113" fmla="*/ 8373240 w 10693106"/>
              <a:gd name="connsiteY98-26114" fmla="*/ 4140556 h 5292022"/>
              <a:gd name="connsiteX99-26115" fmla="*/ 7966840 w 10693106"/>
              <a:gd name="connsiteY99-26116" fmla="*/ 4233689 h 5292022"/>
              <a:gd name="connsiteX100-26117" fmla="*/ 7687440 w 10693106"/>
              <a:gd name="connsiteY100-26118" fmla="*/ 4394556 h 5292022"/>
              <a:gd name="connsiteX101-26119" fmla="*/ 7551973 w 10693106"/>
              <a:gd name="connsiteY101-26120" fmla="*/ 4479222 h 5292022"/>
              <a:gd name="connsiteX102-26121" fmla="*/ 7374173 w 10693106"/>
              <a:gd name="connsiteY102-26122" fmla="*/ 4657022 h 5292022"/>
              <a:gd name="connsiteX103-26123" fmla="*/ 7374173 w 10693106"/>
              <a:gd name="connsiteY103-26124" fmla="*/ 4657022 h 5292022"/>
              <a:gd name="connsiteX104-26125" fmla="*/ 7221773 w 10693106"/>
              <a:gd name="connsiteY104-26126" fmla="*/ 4775556 h 5292022"/>
              <a:gd name="connsiteX105-26127" fmla="*/ 7027040 w 10693106"/>
              <a:gd name="connsiteY105-26128" fmla="*/ 4902556 h 5292022"/>
              <a:gd name="connsiteX106-26129" fmla="*/ 6883106 w 10693106"/>
              <a:gd name="connsiteY106-26130" fmla="*/ 4970289 h 5292022"/>
              <a:gd name="connsiteX107-26131" fmla="*/ 6815373 w 10693106"/>
              <a:gd name="connsiteY107-26132" fmla="*/ 5012622 h 5292022"/>
              <a:gd name="connsiteX108-26133" fmla="*/ 6646040 w 10693106"/>
              <a:gd name="connsiteY108-26134" fmla="*/ 5105756 h 5292022"/>
              <a:gd name="connsiteX109-26135" fmla="*/ 6527506 w 10693106"/>
              <a:gd name="connsiteY109-26136" fmla="*/ 5165022 h 5292022"/>
              <a:gd name="connsiteX110-26137" fmla="*/ 6298906 w 10693106"/>
              <a:gd name="connsiteY110-26138" fmla="*/ 5241222 h 5292022"/>
              <a:gd name="connsiteX111-26139" fmla="*/ 6197306 w 10693106"/>
              <a:gd name="connsiteY111-26140" fmla="*/ 5266622 h 5292022"/>
              <a:gd name="connsiteX112-26141" fmla="*/ 6061840 w 10693106"/>
              <a:gd name="connsiteY112-26142" fmla="*/ 5275089 h 5292022"/>
              <a:gd name="connsiteX113-26143" fmla="*/ 5917906 w 10693106"/>
              <a:gd name="connsiteY113-26144" fmla="*/ 5292022 h 5292022"/>
              <a:gd name="connsiteX114-26145" fmla="*/ 5748573 w 10693106"/>
              <a:gd name="connsiteY114-26146" fmla="*/ 5283556 h 5292022"/>
              <a:gd name="connsiteX115-26147" fmla="*/ 5282906 w 10693106"/>
              <a:gd name="connsiteY115-26148" fmla="*/ 5173489 h 5292022"/>
              <a:gd name="connsiteX116-26149" fmla="*/ 5138973 w 10693106"/>
              <a:gd name="connsiteY116-26150" fmla="*/ 5071889 h 5292022"/>
              <a:gd name="connsiteX117-26151" fmla="*/ 4959480 w 10693106"/>
              <a:gd name="connsiteY117-26152" fmla="*/ 4988069 h 5292022"/>
              <a:gd name="connsiteX118-26153" fmla="*/ 4842216 w 10693106"/>
              <a:gd name="connsiteY118-26154" fmla="*/ 4953779 h 5292022"/>
              <a:gd name="connsiteX119-26155" fmla="*/ 4797343 w 10693106"/>
              <a:gd name="connsiteY119-26156" fmla="*/ 4878426 h 5292022"/>
              <a:gd name="connsiteX120-26157" fmla="*/ 4686853 w 10693106"/>
              <a:gd name="connsiteY120-26158" fmla="*/ 4788256 h 5292022"/>
              <a:gd name="connsiteX121-26159" fmla="*/ 4536146 w 10693106"/>
              <a:gd name="connsiteY121-26160" fmla="*/ 4712902 h 5292022"/>
              <a:gd name="connsiteX122-26161" fmla="*/ 4365120 w 10693106"/>
              <a:gd name="connsiteY122-26162" fmla="*/ 4616382 h 5292022"/>
              <a:gd name="connsiteX123-26163" fmla="*/ 4187743 w 10693106"/>
              <a:gd name="connsiteY123-26164" fmla="*/ 4521556 h 5292022"/>
              <a:gd name="connsiteX124-26165" fmla="*/ 4125936 w 10693106"/>
              <a:gd name="connsiteY124-26166" fmla="*/ 4386724 h 5292022"/>
              <a:gd name="connsiteX125-26167" fmla="*/ 3995973 w 10693106"/>
              <a:gd name="connsiteY125-26168" fmla="*/ 4232419 h 5292022"/>
              <a:gd name="connsiteX126-26169" fmla="*/ 3962530 w 10693106"/>
              <a:gd name="connsiteY126-26170" fmla="*/ 4135052 h 5292022"/>
              <a:gd name="connsiteX127-26171" fmla="*/ 3895643 w 10693106"/>
              <a:gd name="connsiteY127-26172" fmla="*/ 4059699 h 5292022"/>
              <a:gd name="connsiteX128-26173" fmla="*/ 3919773 w 10693106"/>
              <a:gd name="connsiteY128-26174" fmla="*/ 3920422 h 5292022"/>
              <a:gd name="connsiteX129-26175" fmla="*/ 3877440 w 10693106"/>
              <a:gd name="connsiteY129-26176" fmla="*/ 3624089 h 5292022"/>
              <a:gd name="connsiteX130-26177" fmla="*/ 3852040 w 10693106"/>
              <a:gd name="connsiteY130-26178" fmla="*/ 3530956 h 5292022"/>
              <a:gd name="connsiteX131-26179" fmla="*/ 3801240 w 10693106"/>
              <a:gd name="connsiteY131-26180" fmla="*/ 3420889 h 5292022"/>
              <a:gd name="connsiteX132-26181" fmla="*/ 3733506 w 10693106"/>
              <a:gd name="connsiteY132-26182" fmla="*/ 3319289 h 5292022"/>
              <a:gd name="connsiteX133-26183" fmla="*/ 3242440 w 10693106"/>
              <a:gd name="connsiteY133-26184" fmla="*/ 3099156 h 5292022"/>
              <a:gd name="connsiteX134-26185" fmla="*/ 3123906 w 10693106"/>
              <a:gd name="connsiteY134-26186" fmla="*/ 2997556 h 5292022"/>
              <a:gd name="connsiteX135-26187" fmla="*/ 2988440 w 10693106"/>
              <a:gd name="connsiteY135-26188" fmla="*/ 2802822 h 5292022"/>
              <a:gd name="connsiteX136-26189" fmla="*/ 2971506 w 10693106"/>
              <a:gd name="connsiteY136-26190" fmla="*/ 2743556 h 5292022"/>
              <a:gd name="connsiteX137-26191" fmla="*/ 2996906 w 10693106"/>
              <a:gd name="connsiteY137-26192" fmla="*/ 2531889 h 5292022"/>
              <a:gd name="connsiteX138-26193" fmla="*/ 3013840 w 10693106"/>
              <a:gd name="connsiteY138-26194" fmla="*/ 2430289 h 5292022"/>
              <a:gd name="connsiteX139-26195" fmla="*/ 3005373 w 10693106"/>
              <a:gd name="connsiteY139-26196" fmla="*/ 2311756 h 5292022"/>
              <a:gd name="connsiteX140-26197" fmla="*/ 2988440 w 10693106"/>
              <a:gd name="connsiteY140-26198" fmla="*/ 2260956 h 5292022"/>
              <a:gd name="connsiteX141-26199" fmla="*/ 2802173 w 10693106"/>
              <a:gd name="connsiteY141-26200" fmla="*/ 2006956 h 5292022"/>
              <a:gd name="connsiteX142-26201" fmla="*/ 2641306 w 10693106"/>
              <a:gd name="connsiteY142-26202" fmla="*/ 1863022 h 5292022"/>
              <a:gd name="connsiteX143-26203" fmla="*/ 2590506 w 10693106"/>
              <a:gd name="connsiteY143-26204" fmla="*/ 1837622 h 5292022"/>
              <a:gd name="connsiteX144-26205" fmla="*/ 2531240 w 10693106"/>
              <a:gd name="connsiteY144-26206" fmla="*/ 1829156 h 5292022"/>
              <a:gd name="connsiteX145-26207" fmla="*/ 2446573 w 10693106"/>
              <a:gd name="connsiteY145-26208" fmla="*/ 1812222 h 5292022"/>
              <a:gd name="connsiteX146-26209" fmla="*/ 2251840 w 10693106"/>
              <a:gd name="connsiteY146-26210" fmla="*/ 1837622 h 5292022"/>
              <a:gd name="connsiteX147-26211" fmla="*/ 2167173 w 10693106"/>
              <a:gd name="connsiteY147-26212" fmla="*/ 1879956 h 5292022"/>
              <a:gd name="connsiteX148-26213" fmla="*/ 1980906 w 10693106"/>
              <a:gd name="connsiteY148-26214" fmla="*/ 1939222 h 5292022"/>
              <a:gd name="connsiteX149-26215" fmla="*/ 1904706 w 10693106"/>
              <a:gd name="connsiteY149-26216" fmla="*/ 1973089 h 5292022"/>
              <a:gd name="connsiteX150-26217" fmla="*/ 1828506 w 10693106"/>
              <a:gd name="connsiteY150-26218" fmla="*/ 1990022 h 5292022"/>
              <a:gd name="connsiteX151-26219" fmla="*/ 1726906 w 10693106"/>
              <a:gd name="connsiteY151-26220" fmla="*/ 2040822 h 5292022"/>
              <a:gd name="connsiteX152-26221" fmla="*/ 1659173 w 10693106"/>
              <a:gd name="connsiteY152-26222" fmla="*/ 2074689 h 5292022"/>
              <a:gd name="connsiteX153-26223" fmla="*/ 1498306 w 10693106"/>
              <a:gd name="connsiteY153-26224" fmla="*/ 2100089 h 5292022"/>
              <a:gd name="connsiteX154-26225" fmla="*/ 914106 w 10693106"/>
              <a:gd name="connsiteY154-26226" fmla="*/ 2032356 h 5292022"/>
              <a:gd name="connsiteX155-26227" fmla="*/ 617773 w 10693106"/>
              <a:gd name="connsiteY155-26228" fmla="*/ 1922289 h 5292022"/>
              <a:gd name="connsiteX156-26229" fmla="*/ 516173 w 10693106"/>
              <a:gd name="connsiteY156-26230" fmla="*/ 1837622 h 5292022"/>
              <a:gd name="connsiteX157-26231" fmla="*/ 355306 w 10693106"/>
              <a:gd name="connsiteY157-26232" fmla="*/ 1625956 h 5292022"/>
              <a:gd name="connsiteX158-26233" fmla="*/ 296040 w 10693106"/>
              <a:gd name="connsiteY158-26234" fmla="*/ 1524356 h 5292022"/>
              <a:gd name="connsiteX159-26235" fmla="*/ 253706 w 10693106"/>
              <a:gd name="connsiteY159-26236" fmla="*/ 1346556 h 5292022"/>
              <a:gd name="connsiteX160-26237" fmla="*/ 245240 w 10693106"/>
              <a:gd name="connsiteY160-26238" fmla="*/ 1219556 h 5292022"/>
              <a:gd name="connsiteX161-26239" fmla="*/ 236773 w 10693106"/>
              <a:gd name="connsiteY161-26240" fmla="*/ 1117956 h 5292022"/>
              <a:gd name="connsiteX162-26241" fmla="*/ 245240 w 10693106"/>
              <a:gd name="connsiteY162-26242" fmla="*/ 847022 h 5292022"/>
              <a:gd name="connsiteX163-26243" fmla="*/ 236773 w 10693106"/>
              <a:gd name="connsiteY163-26244" fmla="*/ 703089 h 5292022"/>
              <a:gd name="connsiteX164-26245" fmla="*/ 109773 w 10693106"/>
              <a:gd name="connsiteY164-26246" fmla="*/ 559156 h 5292022"/>
              <a:gd name="connsiteX165-26247" fmla="*/ 58973 w 10693106"/>
              <a:gd name="connsiteY165-26248" fmla="*/ 482956 h 5292022"/>
              <a:gd name="connsiteX166-26249" fmla="*/ 16640 w 10693106"/>
              <a:gd name="connsiteY166-26250" fmla="*/ 432156 h 5292022"/>
              <a:gd name="connsiteX167-26251" fmla="*/ 8173 w 10693106"/>
              <a:gd name="connsiteY167-26252" fmla="*/ 389822 h 5292022"/>
              <a:gd name="connsiteX168-26253" fmla="*/ 16640 w 10693106"/>
              <a:gd name="connsiteY168-26254" fmla="*/ 339022 h 5292022"/>
              <a:gd name="connsiteX0-26255" fmla="*/ 16640 w 10693106"/>
              <a:gd name="connsiteY0-26256" fmla="*/ 339022 h 5292022"/>
              <a:gd name="connsiteX1-26257" fmla="*/ 58973 w 10693106"/>
              <a:gd name="connsiteY1-26258" fmla="*/ 245889 h 5292022"/>
              <a:gd name="connsiteX2-26259" fmla="*/ 109773 w 10693106"/>
              <a:gd name="connsiteY2-26260" fmla="*/ 178156 h 5292022"/>
              <a:gd name="connsiteX3-26261" fmla="*/ 202906 w 10693106"/>
              <a:gd name="connsiteY3-26262" fmla="*/ 93489 h 5292022"/>
              <a:gd name="connsiteX4-26263" fmla="*/ 236773 w 10693106"/>
              <a:gd name="connsiteY4-26264" fmla="*/ 68089 h 5292022"/>
              <a:gd name="connsiteX5-26265" fmla="*/ 335410 w 10693106"/>
              <a:gd name="connsiteY5-26266" fmla="*/ 58352 h 5292022"/>
              <a:gd name="connsiteX6-26267" fmla="*/ 382400 w 10693106"/>
              <a:gd name="connsiteY6-26268" fmla="*/ 51156 h 5292022"/>
              <a:gd name="connsiteX7-26269" fmla="*/ 434912 w 10693106"/>
              <a:gd name="connsiteY7-26270" fmla="*/ 70071 h 5292022"/>
              <a:gd name="connsiteX8-26271" fmla="*/ 492697 w 10693106"/>
              <a:gd name="connsiteY8-26272" fmla="*/ 74247 h 5292022"/>
              <a:gd name="connsiteX9-26273" fmla="*/ 822897 w 10693106"/>
              <a:gd name="connsiteY9-26274" fmla="*/ 82713 h 5292022"/>
              <a:gd name="connsiteX10-26275" fmla="*/ 1091906 w 10693106"/>
              <a:gd name="connsiteY10-26276" fmla="*/ 356 h 5292022"/>
              <a:gd name="connsiteX11-26277" fmla="*/ 1235840 w 10693106"/>
              <a:gd name="connsiteY11-26278" fmla="*/ 59622 h 5292022"/>
              <a:gd name="connsiteX12-26279" fmla="*/ 1337440 w 10693106"/>
              <a:gd name="connsiteY12-26280" fmla="*/ 135822 h 5292022"/>
              <a:gd name="connsiteX13-26281" fmla="*/ 1422106 w 10693106"/>
              <a:gd name="connsiteY13-26282" fmla="*/ 245889 h 5292022"/>
              <a:gd name="connsiteX14-26283" fmla="*/ 1481373 w 10693106"/>
              <a:gd name="connsiteY14-26284" fmla="*/ 313622 h 5292022"/>
              <a:gd name="connsiteX15-26285" fmla="*/ 1532173 w 10693106"/>
              <a:gd name="connsiteY15-26286" fmla="*/ 347489 h 5292022"/>
              <a:gd name="connsiteX16-26287" fmla="*/ 1684573 w 10693106"/>
              <a:gd name="connsiteY16-26288" fmla="*/ 406756 h 5292022"/>
              <a:gd name="connsiteX17-26289" fmla="*/ 1760773 w 10693106"/>
              <a:gd name="connsiteY17-26290" fmla="*/ 423689 h 5292022"/>
              <a:gd name="connsiteX18-26291" fmla="*/ 1997840 w 10693106"/>
              <a:gd name="connsiteY18-26292" fmla="*/ 415222 h 5292022"/>
              <a:gd name="connsiteX19-26293" fmla="*/ 2116373 w 10693106"/>
              <a:gd name="connsiteY19-26294" fmla="*/ 398289 h 5292022"/>
              <a:gd name="connsiteX20-26295" fmla="*/ 2260306 w 10693106"/>
              <a:gd name="connsiteY20-26296" fmla="*/ 381356 h 5292022"/>
              <a:gd name="connsiteX21-26297" fmla="*/ 2404240 w 10693106"/>
              <a:gd name="connsiteY21-26298" fmla="*/ 355956 h 5292022"/>
              <a:gd name="connsiteX22-26299" fmla="*/ 2455040 w 10693106"/>
              <a:gd name="connsiteY22-26300" fmla="*/ 330556 h 5292022"/>
              <a:gd name="connsiteX23-26301" fmla="*/ 2531240 w 10693106"/>
              <a:gd name="connsiteY23-26302" fmla="*/ 305156 h 5292022"/>
              <a:gd name="connsiteX24-26303" fmla="*/ 2649350 w 10693106"/>
              <a:gd name="connsiteY24-26304" fmla="*/ 225781 h 5292022"/>
              <a:gd name="connsiteX25-26305" fmla="*/ 2742906 w 10693106"/>
              <a:gd name="connsiteY25-26306" fmla="*/ 186622 h 5292022"/>
              <a:gd name="connsiteX26-26307" fmla="*/ 2764920 w 10693106"/>
              <a:gd name="connsiteY26-26308" fmla="*/ 173076 h 5292022"/>
              <a:gd name="connsiteX27-26309" fmla="*/ 2832653 w 10693106"/>
              <a:gd name="connsiteY27-26310" fmla="*/ 167996 h 5292022"/>
              <a:gd name="connsiteX28-26311" fmla="*/ 3002294 w 10693106"/>
              <a:gd name="connsiteY28-26312" fmla="*/ 154680 h 5292022"/>
              <a:gd name="connsiteX29-26313" fmla="*/ 3142763 w 10693106"/>
              <a:gd name="connsiteY29-26314" fmla="*/ 110421 h 5292022"/>
              <a:gd name="connsiteX30-26315" fmla="*/ 3398918 w 10693106"/>
              <a:gd name="connsiteY30-26316" fmla="*/ 72322 h 5292022"/>
              <a:gd name="connsiteX31-26317" fmla="*/ 3606506 w 10693106"/>
              <a:gd name="connsiteY31-26318" fmla="*/ 60393 h 5292022"/>
              <a:gd name="connsiteX32-26319" fmla="*/ 3682706 w 10693106"/>
              <a:gd name="connsiteY32-26320" fmla="*/ 79942 h 5292022"/>
              <a:gd name="connsiteX33-26321" fmla="*/ 3741973 w 10693106"/>
              <a:gd name="connsiteY33-26322" fmla="*/ 86561 h 5292022"/>
              <a:gd name="connsiteX34-26323" fmla="*/ 3794678 w 10693106"/>
              <a:gd name="connsiteY34-26324" fmla="*/ 101321 h 5292022"/>
              <a:gd name="connsiteX35-26325" fmla="*/ 3833625 w 10693106"/>
              <a:gd name="connsiteY35-26326" fmla="*/ 110846 h 5292022"/>
              <a:gd name="connsiteX36-26327" fmla="*/ 3892487 w 10693106"/>
              <a:gd name="connsiteY36-26328" fmla="*/ 116984 h 5292022"/>
              <a:gd name="connsiteX37-26329" fmla="*/ 3933108 w 10693106"/>
              <a:gd name="connsiteY37-26330" fmla="*/ 128837 h 5292022"/>
              <a:gd name="connsiteX38-26331" fmla="*/ 3976923 w 10693106"/>
              <a:gd name="connsiteY38-26332" fmla="*/ 135187 h 5292022"/>
              <a:gd name="connsiteX39-26333" fmla="*/ 4021373 w 10693106"/>
              <a:gd name="connsiteY39-26334" fmla="*/ 144289 h 5292022"/>
              <a:gd name="connsiteX40-26335" fmla="*/ 4055240 w 10693106"/>
              <a:gd name="connsiteY40-26336" fmla="*/ 152756 h 5292022"/>
              <a:gd name="connsiteX41-26337" fmla="*/ 4275373 w 10693106"/>
              <a:gd name="connsiteY41-26338" fmla="*/ 195089 h 5292022"/>
              <a:gd name="connsiteX42-26339" fmla="*/ 4402373 w 10693106"/>
              <a:gd name="connsiteY42-26340" fmla="*/ 228956 h 5292022"/>
              <a:gd name="connsiteX43-26341" fmla="*/ 4529373 w 10693106"/>
              <a:gd name="connsiteY43-26342" fmla="*/ 271289 h 5292022"/>
              <a:gd name="connsiteX44-26343" fmla="*/ 4859573 w 10693106"/>
              <a:gd name="connsiteY44-26344" fmla="*/ 347489 h 5292022"/>
              <a:gd name="connsiteX45-26345" fmla="*/ 5045840 w 10693106"/>
              <a:gd name="connsiteY45-26346" fmla="*/ 423689 h 5292022"/>
              <a:gd name="connsiteX46-26347" fmla="*/ 5325240 w 10693106"/>
              <a:gd name="connsiteY46-26348" fmla="*/ 584556 h 5292022"/>
              <a:gd name="connsiteX47-26349" fmla="*/ 5494573 w 10693106"/>
              <a:gd name="connsiteY47-26350" fmla="*/ 736956 h 5292022"/>
              <a:gd name="connsiteX48-26351" fmla="*/ 5562306 w 10693106"/>
              <a:gd name="connsiteY48-26352" fmla="*/ 813156 h 5292022"/>
              <a:gd name="connsiteX49-26353" fmla="*/ 5621573 w 10693106"/>
              <a:gd name="connsiteY49-26354" fmla="*/ 863956 h 5292022"/>
              <a:gd name="connsiteX50-26355" fmla="*/ 5672373 w 10693106"/>
              <a:gd name="connsiteY50-26356" fmla="*/ 931689 h 5292022"/>
              <a:gd name="connsiteX51-26357" fmla="*/ 5833240 w 10693106"/>
              <a:gd name="connsiteY51-26358" fmla="*/ 1126422 h 5292022"/>
              <a:gd name="connsiteX52-26359" fmla="*/ 6839926 w 10693106"/>
              <a:gd name="connsiteY52-26360" fmla="*/ 1252152 h 5292022"/>
              <a:gd name="connsiteX53-26361" fmla="*/ 7703950 w 10693106"/>
              <a:gd name="connsiteY53-26362" fmla="*/ 1069696 h 5292022"/>
              <a:gd name="connsiteX54-26363" fmla="*/ 8652640 w 10693106"/>
              <a:gd name="connsiteY54-26364" fmla="*/ 677689 h 5292022"/>
              <a:gd name="connsiteX55-26365" fmla="*/ 8982840 w 10693106"/>
              <a:gd name="connsiteY55-26366" fmla="*/ 398289 h 5292022"/>
              <a:gd name="connsiteX56-26367" fmla="*/ 9380773 w 10693106"/>
              <a:gd name="connsiteY56-26368" fmla="*/ 355956 h 5292022"/>
              <a:gd name="connsiteX57-26369" fmla="*/ 9744840 w 10693106"/>
              <a:gd name="connsiteY57-26370" fmla="*/ 466022 h 5292022"/>
              <a:gd name="connsiteX58-26371" fmla="*/ 9888773 w 10693106"/>
              <a:gd name="connsiteY58-26372" fmla="*/ 508356 h 5292022"/>
              <a:gd name="connsiteX59-26373" fmla="*/ 9998840 w 10693106"/>
              <a:gd name="connsiteY59-26374" fmla="*/ 559156 h 5292022"/>
              <a:gd name="connsiteX60-26375" fmla="*/ 10083506 w 10693106"/>
              <a:gd name="connsiteY60-26376" fmla="*/ 618422 h 5292022"/>
              <a:gd name="connsiteX61-26377" fmla="*/ 10286706 w 10693106"/>
              <a:gd name="connsiteY61-26378" fmla="*/ 686156 h 5292022"/>
              <a:gd name="connsiteX62-26379" fmla="*/ 10388306 w 10693106"/>
              <a:gd name="connsiteY62-26380" fmla="*/ 889356 h 5292022"/>
              <a:gd name="connsiteX63-26381" fmla="*/ 10540706 w 10693106"/>
              <a:gd name="connsiteY63-26382" fmla="*/ 1261889 h 5292022"/>
              <a:gd name="connsiteX64-26383" fmla="*/ 10557640 w 10693106"/>
              <a:gd name="connsiteY64-26384" fmla="*/ 1346556 h 5292022"/>
              <a:gd name="connsiteX65-26385" fmla="*/ 10583040 w 10693106"/>
              <a:gd name="connsiteY65-26386" fmla="*/ 1448156 h 5292022"/>
              <a:gd name="connsiteX66-26387" fmla="*/ 10616906 w 10693106"/>
              <a:gd name="connsiteY66-26388" fmla="*/ 1651356 h 5292022"/>
              <a:gd name="connsiteX67-26389" fmla="*/ 10633840 w 10693106"/>
              <a:gd name="connsiteY67-26390" fmla="*/ 1736022 h 5292022"/>
              <a:gd name="connsiteX68-26391" fmla="*/ 10650773 w 10693106"/>
              <a:gd name="connsiteY68-26392" fmla="*/ 1769889 h 5292022"/>
              <a:gd name="connsiteX69-26393" fmla="*/ 10676173 w 10693106"/>
              <a:gd name="connsiteY69-26394" fmla="*/ 1854556 h 5292022"/>
              <a:gd name="connsiteX70-26395" fmla="*/ 10693106 w 10693106"/>
              <a:gd name="connsiteY70-26396" fmla="*/ 2006956 h 5292022"/>
              <a:gd name="connsiteX71-26397" fmla="*/ 10625373 w 10693106"/>
              <a:gd name="connsiteY71-26398" fmla="*/ 2227089 h 5292022"/>
              <a:gd name="connsiteX72-26399" fmla="*/ 10608440 w 10693106"/>
              <a:gd name="connsiteY72-26400" fmla="*/ 2252489 h 5292022"/>
              <a:gd name="connsiteX73-26401" fmla="*/ 10540706 w 10693106"/>
              <a:gd name="connsiteY73-26402" fmla="*/ 2396422 h 5292022"/>
              <a:gd name="connsiteX74-26403" fmla="*/ 10498373 w 10693106"/>
              <a:gd name="connsiteY74-26404" fmla="*/ 2481089 h 5292022"/>
              <a:gd name="connsiteX75-26405" fmla="*/ 10439106 w 10693106"/>
              <a:gd name="connsiteY75-26406" fmla="*/ 2667356 h 5292022"/>
              <a:gd name="connsiteX76-26407" fmla="*/ 10430640 w 10693106"/>
              <a:gd name="connsiteY76-26408" fmla="*/ 2709689 h 5292022"/>
              <a:gd name="connsiteX77-26409" fmla="*/ 10405240 w 10693106"/>
              <a:gd name="connsiteY77-26410" fmla="*/ 2785889 h 5292022"/>
              <a:gd name="connsiteX78-26411" fmla="*/ 10396773 w 10693106"/>
              <a:gd name="connsiteY78-26412" fmla="*/ 2819756 h 5292022"/>
              <a:gd name="connsiteX79-26413" fmla="*/ 10362906 w 10693106"/>
              <a:gd name="connsiteY79-26414" fmla="*/ 2912889 h 5292022"/>
              <a:gd name="connsiteX80-26415" fmla="*/ 10329040 w 10693106"/>
              <a:gd name="connsiteY80-26416" fmla="*/ 2955222 h 5292022"/>
              <a:gd name="connsiteX81-26417" fmla="*/ 10227440 w 10693106"/>
              <a:gd name="connsiteY81-26418" fmla="*/ 3056822 h 5292022"/>
              <a:gd name="connsiteX82-26419" fmla="*/ 10168173 w 10693106"/>
              <a:gd name="connsiteY82-26420" fmla="*/ 3124556 h 5292022"/>
              <a:gd name="connsiteX83-26421" fmla="*/ 10117373 w 10693106"/>
              <a:gd name="connsiteY83-26422" fmla="*/ 3175356 h 5292022"/>
              <a:gd name="connsiteX84-26423" fmla="*/ 10032706 w 10693106"/>
              <a:gd name="connsiteY84-26424" fmla="*/ 3276956 h 5292022"/>
              <a:gd name="connsiteX85-26425" fmla="*/ 9948040 w 10693106"/>
              <a:gd name="connsiteY85-26426" fmla="*/ 3336222 h 5292022"/>
              <a:gd name="connsiteX86-26427" fmla="*/ 9905706 w 10693106"/>
              <a:gd name="connsiteY86-26428" fmla="*/ 3361622 h 5292022"/>
              <a:gd name="connsiteX87-26429" fmla="*/ 9829506 w 10693106"/>
              <a:gd name="connsiteY87-26430" fmla="*/ 3378556 h 5292022"/>
              <a:gd name="connsiteX88-26431" fmla="*/ 9727906 w 10693106"/>
              <a:gd name="connsiteY88-26432" fmla="*/ 3420889 h 5292022"/>
              <a:gd name="connsiteX89-26433" fmla="*/ 9634773 w 10693106"/>
              <a:gd name="connsiteY89-26434" fmla="*/ 3446289 h 5292022"/>
              <a:gd name="connsiteX90-26435" fmla="*/ 9456973 w 10693106"/>
              <a:gd name="connsiteY90-26436" fmla="*/ 3539422 h 5292022"/>
              <a:gd name="connsiteX91-26437" fmla="*/ 9313040 w 10693106"/>
              <a:gd name="connsiteY91-26438" fmla="*/ 3666422 h 5292022"/>
              <a:gd name="connsiteX92-26439" fmla="*/ 9279173 w 10693106"/>
              <a:gd name="connsiteY92-26440" fmla="*/ 3683356 h 5292022"/>
              <a:gd name="connsiteX93-26441" fmla="*/ 9067506 w 10693106"/>
              <a:gd name="connsiteY93-26442" fmla="*/ 3861156 h 5292022"/>
              <a:gd name="connsiteX94-26443" fmla="*/ 8999773 w 10693106"/>
              <a:gd name="connsiteY94-26444" fmla="*/ 3928889 h 5292022"/>
              <a:gd name="connsiteX95-26445" fmla="*/ 8813506 w 10693106"/>
              <a:gd name="connsiteY95-26446" fmla="*/ 4064356 h 5292022"/>
              <a:gd name="connsiteX96-26447" fmla="*/ 8728840 w 10693106"/>
              <a:gd name="connsiteY96-26448" fmla="*/ 4106689 h 5292022"/>
              <a:gd name="connsiteX97-26449" fmla="*/ 8373240 w 10693106"/>
              <a:gd name="connsiteY97-26450" fmla="*/ 4140556 h 5292022"/>
              <a:gd name="connsiteX98-26451" fmla="*/ 7966840 w 10693106"/>
              <a:gd name="connsiteY98-26452" fmla="*/ 4233689 h 5292022"/>
              <a:gd name="connsiteX99-26453" fmla="*/ 7687440 w 10693106"/>
              <a:gd name="connsiteY99-26454" fmla="*/ 4394556 h 5292022"/>
              <a:gd name="connsiteX100-26455" fmla="*/ 7551973 w 10693106"/>
              <a:gd name="connsiteY100-26456" fmla="*/ 4479222 h 5292022"/>
              <a:gd name="connsiteX101-26457" fmla="*/ 7374173 w 10693106"/>
              <a:gd name="connsiteY101-26458" fmla="*/ 4657022 h 5292022"/>
              <a:gd name="connsiteX102-26459" fmla="*/ 7374173 w 10693106"/>
              <a:gd name="connsiteY102-26460" fmla="*/ 4657022 h 5292022"/>
              <a:gd name="connsiteX103-26461" fmla="*/ 7221773 w 10693106"/>
              <a:gd name="connsiteY103-26462" fmla="*/ 4775556 h 5292022"/>
              <a:gd name="connsiteX104-26463" fmla="*/ 7027040 w 10693106"/>
              <a:gd name="connsiteY104-26464" fmla="*/ 4902556 h 5292022"/>
              <a:gd name="connsiteX105-26465" fmla="*/ 6883106 w 10693106"/>
              <a:gd name="connsiteY105-26466" fmla="*/ 4970289 h 5292022"/>
              <a:gd name="connsiteX106-26467" fmla="*/ 6815373 w 10693106"/>
              <a:gd name="connsiteY106-26468" fmla="*/ 5012622 h 5292022"/>
              <a:gd name="connsiteX107-26469" fmla="*/ 6646040 w 10693106"/>
              <a:gd name="connsiteY107-26470" fmla="*/ 5105756 h 5292022"/>
              <a:gd name="connsiteX108-26471" fmla="*/ 6527506 w 10693106"/>
              <a:gd name="connsiteY108-26472" fmla="*/ 5165022 h 5292022"/>
              <a:gd name="connsiteX109-26473" fmla="*/ 6298906 w 10693106"/>
              <a:gd name="connsiteY109-26474" fmla="*/ 5241222 h 5292022"/>
              <a:gd name="connsiteX110-26475" fmla="*/ 6197306 w 10693106"/>
              <a:gd name="connsiteY110-26476" fmla="*/ 5266622 h 5292022"/>
              <a:gd name="connsiteX111-26477" fmla="*/ 6061840 w 10693106"/>
              <a:gd name="connsiteY111-26478" fmla="*/ 5275089 h 5292022"/>
              <a:gd name="connsiteX112-26479" fmla="*/ 5917906 w 10693106"/>
              <a:gd name="connsiteY112-26480" fmla="*/ 5292022 h 5292022"/>
              <a:gd name="connsiteX113-26481" fmla="*/ 5748573 w 10693106"/>
              <a:gd name="connsiteY113-26482" fmla="*/ 5283556 h 5292022"/>
              <a:gd name="connsiteX114-26483" fmla="*/ 5282906 w 10693106"/>
              <a:gd name="connsiteY114-26484" fmla="*/ 5173489 h 5292022"/>
              <a:gd name="connsiteX115-26485" fmla="*/ 5138973 w 10693106"/>
              <a:gd name="connsiteY115-26486" fmla="*/ 5071889 h 5292022"/>
              <a:gd name="connsiteX116-26487" fmla="*/ 4959480 w 10693106"/>
              <a:gd name="connsiteY116-26488" fmla="*/ 4988069 h 5292022"/>
              <a:gd name="connsiteX117-26489" fmla="*/ 4842216 w 10693106"/>
              <a:gd name="connsiteY117-26490" fmla="*/ 4953779 h 5292022"/>
              <a:gd name="connsiteX118-26491" fmla="*/ 4797343 w 10693106"/>
              <a:gd name="connsiteY118-26492" fmla="*/ 4878426 h 5292022"/>
              <a:gd name="connsiteX119-26493" fmla="*/ 4686853 w 10693106"/>
              <a:gd name="connsiteY119-26494" fmla="*/ 4788256 h 5292022"/>
              <a:gd name="connsiteX120-26495" fmla="*/ 4536146 w 10693106"/>
              <a:gd name="connsiteY120-26496" fmla="*/ 4712902 h 5292022"/>
              <a:gd name="connsiteX121-26497" fmla="*/ 4365120 w 10693106"/>
              <a:gd name="connsiteY121-26498" fmla="*/ 4616382 h 5292022"/>
              <a:gd name="connsiteX122-26499" fmla="*/ 4187743 w 10693106"/>
              <a:gd name="connsiteY122-26500" fmla="*/ 4521556 h 5292022"/>
              <a:gd name="connsiteX123-26501" fmla="*/ 4125936 w 10693106"/>
              <a:gd name="connsiteY123-26502" fmla="*/ 4386724 h 5292022"/>
              <a:gd name="connsiteX124-26503" fmla="*/ 3995973 w 10693106"/>
              <a:gd name="connsiteY124-26504" fmla="*/ 4232419 h 5292022"/>
              <a:gd name="connsiteX125-26505" fmla="*/ 3962530 w 10693106"/>
              <a:gd name="connsiteY125-26506" fmla="*/ 4135052 h 5292022"/>
              <a:gd name="connsiteX126-26507" fmla="*/ 3895643 w 10693106"/>
              <a:gd name="connsiteY126-26508" fmla="*/ 4059699 h 5292022"/>
              <a:gd name="connsiteX127-26509" fmla="*/ 3919773 w 10693106"/>
              <a:gd name="connsiteY127-26510" fmla="*/ 3920422 h 5292022"/>
              <a:gd name="connsiteX128-26511" fmla="*/ 3877440 w 10693106"/>
              <a:gd name="connsiteY128-26512" fmla="*/ 3624089 h 5292022"/>
              <a:gd name="connsiteX129-26513" fmla="*/ 3852040 w 10693106"/>
              <a:gd name="connsiteY129-26514" fmla="*/ 3530956 h 5292022"/>
              <a:gd name="connsiteX130-26515" fmla="*/ 3801240 w 10693106"/>
              <a:gd name="connsiteY130-26516" fmla="*/ 3420889 h 5292022"/>
              <a:gd name="connsiteX131-26517" fmla="*/ 3733506 w 10693106"/>
              <a:gd name="connsiteY131-26518" fmla="*/ 3319289 h 5292022"/>
              <a:gd name="connsiteX132-26519" fmla="*/ 3242440 w 10693106"/>
              <a:gd name="connsiteY132-26520" fmla="*/ 3099156 h 5292022"/>
              <a:gd name="connsiteX133-26521" fmla="*/ 3123906 w 10693106"/>
              <a:gd name="connsiteY133-26522" fmla="*/ 2997556 h 5292022"/>
              <a:gd name="connsiteX134-26523" fmla="*/ 2988440 w 10693106"/>
              <a:gd name="connsiteY134-26524" fmla="*/ 2802822 h 5292022"/>
              <a:gd name="connsiteX135-26525" fmla="*/ 2971506 w 10693106"/>
              <a:gd name="connsiteY135-26526" fmla="*/ 2743556 h 5292022"/>
              <a:gd name="connsiteX136-26527" fmla="*/ 2996906 w 10693106"/>
              <a:gd name="connsiteY136-26528" fmla="*/ 2531889 h 5292022"/>
              <a:gd name="connsiteX137-26529" fmla="*/ 3013840 w 10693106"/>
              <a:gd name="connsiteY137-26530" fmla="*/ 2430289 h 5292022"/>
              <a:gd name="connsiteX138-26531" fmla="*/ 3005373 w 10693106"/>
              <a:gd name="connsiteY138-26532" fmla="*/ 2311756 h 5292022"/>
              <a:gd name="connsiteX139-26533" fmla="*/ 2988440 w 10693106"/>
              <a:gd name="connsiteY139-26534" fmla="*/ 2260956 h 5292022"/>
              <a:gd name="connsiteX140-26535" fmla="*/ 2802173 w 10693106"/>
              <a:gd name="connsiteY140-26536" fmla="*/ 2006956 h 5292022"/>
              <a:gd name="connsiteX141-26537" fmla="*/ 2641306 w 10693106"/>
              <a:gd name="connsiteY141-26538" fmla="*/ 1863022 h 5292022"/>
              <a:gd name="connsiteX142-26539" fmla="*/ 2590506 w 10693106"/>
              <a:gd name="connsiteY142-26540" fmla="*/ 1837622 h 5292022"/>
              <a:gd name="connsiteX143-26541" fmla="*/ 2531240 w 10693106"/>
              <a:gd name="connsiteY143-26542" fmla="*/ 1829156 h 5292022"/>
              <a:gd name="connsiteX144-26543" fmla="*/ 2446573 w 10693106"/>
              <a:gd name="connsiteY144-26544" fmla="*/ 1812222 h 5292022"/>
              <a:gd name="connsiteX145-26545" fmla="*/ 2251840 w 10693106"/>
              <a:gd name="connsiteY145-26546" fmla="*/ 1837622 h 5292022"/>
              <a:gd name="connsiteX146-26547" fmla="*/ 2167173 w 10693106"/>
              <a:gd name="connsiteY146-26548" fmla="*/ 1879956 h 5292022"/>
              <a:gd name="connsiteX147-26549" fmla="*/ 1980906 w 10693106"/>
              <a:gd name="connsiteY147-26550" fmla="*/ 1939222 h 5292022"/>
              <a:gd name="connsiteX148-26551" fmla="*/ 1904706 w 10693106"/>
              <a:gd name="connsiteY148-26552" fmla="*/ 1973089 h 5292022"/>
              <a:gd name="connsiteX149-26553" fmla="*/ 1828506 w 10693106"/>
              <a:gd name="connsiteY149-26554" fmla="*/ 1990022 h 5292022"/>
              <a:gd name="connsiteX150-26555" fmla="*/ 1726906 w 10693106"/>
              <a:gd name="connsiteY150-26556" fmla="*/ 2040822 h 5292022"/>
              <a:gd name="connsiteX151-26557" fmla="*/ 1659173 w 10693106"/>
              <a:gd name="connsiteY151-26558" fmla="*/ 2074689 h 5292022"/>
              <a:gd name="connsiteX152-26559" fmla="*/ 1498306 w 10693106"/>
              <a:gd name="connsiteY152-26560" fmla="*/ 2100089 h 5292022"/>
              <a:gd name="connsiteX153-26561" fmla="*/ 914106 w 10693106"/>
              <a:gd name="connsiteY153-26562" fmla="*/ 2032356 h 5292022"/>
              <a:gd name="connsiteX154-26563" fmla="*/ 617773 w 10693106"/>
              <a:gd name="connsiteY154-26564" fmla="*/ 1922289 h 5292022"/>
              <a:gd name="connsiteX155-26565" fmla="*/ 516173 w 10693106"/>
              <a:gd name="connsiteY155-26566" fmla="*/ 1837622 h 5292022"/>
              <a:gd name="connsiteX156-26567" fmla="*/ 355306 w 10693106"/>
              <a:gd name="connsiteY156-26568" fmla="*/ 1625956 h 5292022"/>
              <a:gd name="connsiteX157-26569" fmla="*/ 296040 w 10693106"/>
              <a:gd name="connsiteY157-26570" fmla="*/ 1524356 h 5292022"/>
              <a:gd name="connsiteX158-26571" fmla="*/ 253706 w 10693106"/>
              <a:gd name="connsiteY158-26572" fmla="*/ 1346556 h 5292022"/>
              <a:gd name="connsiteX159-26573" fmla="*/ 245240 w 10693106"/>
              <a:gd name="connsiteY159-26574" fmla="*/ 1219556 h 5292022"/>
              <a:gd name="connsiteX160-26575" fmla="*/ 236773 w 10693106"/>
              <a:gd name="connsiteY160-26576" fmla="*/ 1117956 h 5292022"/>
              <a:gd name="connsiteX161-26577" fmla="*/ 245240 w 10693106"/>
              <a:gd name="connsiteY161-26578" fmla="*/ 847022 h 5292022"/>
              <a:gd name="connsiteX162-26579" fmla="*/ 236773 w 10693106"/>
              <a:gd name="connsiteY162-26580" fmla="*/ 703089 h 5292022"/>
              <a:gd name="connsiteX163-26581" fmla="*/ 109773 w 10693106"/>
              <a:gd name="connsiteY163-26582" fmla="*/ 559156 h 5292022"/>
              <a:gd name="connsiteX164-26583" fmla="*/ 58973 w 10693106"/>
              <a:gd name="connsiteY164-26584" fmla="*/ 482956 h 5292022"/>
              <a:gd name="connsiteX165-26585" fmla="*/ 16640 w 10693106"/>
              <a:gd name="connsiteY165-26586" fmla="*/ 432156 h 5292022"/>
              <a:gd name="connsiteX166-26587" fmla="*/ 8173 w 10693106"/>
              <a:gd name="connsiteY166-26588" fmla="*/ 389822 h 5292022"/>
              <a:gd name="connsiteX167-26589" fmla="*/ 16640 w 10693106"/>
              <a:gd name="connsiteY167-26590" fmla="*/ 339022 h 5292022"/>
              <a:gd name="connsiteX0-26591" fmla="*/ 16640 w 10693106"/>
              <a:gd name="connsiteY0-26592" fmla="*/ 339022 h 5292022"/>
              <a:gd name="connsiteX1-26593" fmla="*/ 58973 w 10693106"/>
              <a:gd name="connsiteY1-26594" fmla="*/ 245889 h 5292022"/>
              <a:gd name="connsiteX2-26595" fmla="*/ 109773 w 10693106"/>
              <a:gd name="connsiteY2-26596" fmla="*/ 178156 h 5292022"/>
              <a:gd name="connsiteX3-26597" fmla="*/ 202906 w 10693106"/>
              <a:gd name="connsiteY3-26598" fmla="*/ 93489 h 5292022"/>
              <a:gd name="connsiteX4-26599" fmla="*/ 236773 w 10693106"/>
              <a:gd name="connsiteY4-26600" fmla="*/ 68089 h 5292022"/>
              <a:gd name="connsiteX5-26601" fmla="*/ 335410 w 10693106"/>
              <a:gd name="connsiteY5-26602" fmla="*/ 58352 h 5292022"/>
              <a:gd name="connsiteX6-26603" fmla="*/ 382400 w 10693106"/>
              <a:gd name="connsiteY6-26604" fmla="*/ 51156 h 5292022"/>
              <a:gd name="connsiteX7-26605" fmla="*/ 434912 w 10693106"/>
              <a:gd name="connsiteY7-26606" fmla="*/ 70071 h 5292022"/>
              <a:gd name="connsiteX8-26607" fmla="*/ 492697 w 10693106"/>
              <a:gd name="connsiteY8-26608" fmla="*/ 74247 h 5292022"/>
              <a:gd name="connsiteX9-26609" fmla="*/ 822897 w 10693106"/>
              <a:gd name="connsiteY9-26610" fmla="*/ 82713 h 5292022"/>
              <a:gd name="connsiteX10-26611" fmla="*/ 1091906 w 10693106"/>
              <a:gd name="connsiteY10-26612" fmla="*/ 356 h 5292022"/>
              <a:gd name="connsiteX11-26613" fmla="*/ 1235840 w 10693106"/>
              <a:gd name="connsiteY11-26614" fmla="*/ 59622 h 5292022"/>
              <a:gd name="connsiteX12-26615" fmla="*/ 1337440 w 10693106"/>
              <a:gd name="connsiteY12-26616" fmla="*/ 135822 h 5292022"/>
              <a:gd name="connsiteX13-26617" fmla="*/ 1422106 w 10693106"/>
              <a:gd name="connsiteY13-26618" fmla="*/ 245889 h 5292022"/>
              <a:gd name="connsiteX14-26619" fmla="*/ 1481373 w 10693106"/>
              <a:gd name="connsiteY14-26620" fmla="*/ 313622 h 5292022"/>
              <a:gd name="connsiteX15-26621" fmla="*/ 1532173 w 10693106"/>
              <a:gd name="connsiteY15-26622" fmla="*/ 347489 h 5292022"/>
              <a:gd name="connsiteX16-26623" fmla="*/ 1684573 w 10693106"/>
              <a:gd name="connsiteY16-26624" fmla="*/ 406756 h 5292022"/>
              <a:gd name="connsiteX17-26625" fmla="*/ 1760773 w 10693106"/>
              <a:gd name="connsiteY17-26626" fmla="*/ 423689 h 5292022"/>
              <a:gd name="connsiteX18-26627" fmla="*/ 1997840 w 10693106"/>
              <a:gd name="connsiteY18-26628" fmla="*/ 415222 h 5292022"/>
              <a:gd name="connsiteX19-26629" fmla="*/ 2116373 w 10693106"/>
              <a:gd name="connsiteY19-26630" fmla="*/ 398289 h 5292022"/>
              <a:gd name="connsiteX20-26631" fmla="*/ 2260306 w 10693106"/>
              <a:gd name="connsiteY20-26632" fmla="*/ 381356 h 5292022"/>
              <a:gd name="connsiteX21-26633" fmla="*/ 2404240 w 10693106"/>
              <a:gd name="connsiteY21-26634" fmla="*/ 355956 h 5292022"/>
              <a:gd name="connsiteX22-26635" fmla="*/ 2455040 w 10693106"/>
              <a:gd name="connsiteY22-26636" fmla="*/ 330556 h 5292022"/>
              <a:gd name="connsiteX23-26637" fmla="*/ 2531240 w 10693106"/>
              <a:gd name="connsiteY23-26638" fmla="*/ 305156 h 5292022"/>
              <a:gd name="connsiteX24-26639" fmla="*/ 2649350 w 10693106"/>
              <a:gd name="connsiteY24-26640" fmla="*/ 225781 h 5292022"/>
              <a:gd name="connsiteX25-26641" fmla="*/ 2742906 w 10693106"/>
              <a:gd name="connsiteY25-26642" fmla="*/ 186622 h 5292022"/>
              <a:gd name="connsiteX26-26643" fmla="*/ 2764920 w 10693106"/>
              <a:gd name="connsiteY26-26644" fmla="*/ 173076 h 5292022"/>
              <a:gd name="connsiteX27-26645" fmla="*/ 2832653 w 10693106"/>
              <a:gd name="connsiteY27-26646" fmla="*/ 167996 h 5292022"/>
              <a:gd name="connsiteX28-26647" fmla="*/ 3002294 w 10693106"/>
              <a:gd name="connsiteY28-26648" fmla="*/ 154680 h 5292022"/>
              <a:gd name="connsiteX29-26649" fmla="*/ 3142763 w 10693106"/>
              <a:gd name="connsiteY29-26650" fmla="*/ 110421 h 5292022"/>
              <a:gd name="connsiteX30-26651" fmla="*/ 3398918 w 10693106"/>
              <a:gd name="connsiteY30-26652" fmla="*/ 72322 h 5292022"/>
              <a:gd name="connsiteX31-26653" fmla="*/ 3606506 w 10693106"/>
              <a:gd name="connsiteY31-26654" fmla="*/ 60393 h 5292022"/>
              <a:gd name="connsiteX32-26655" fmla="*/ 3682706 w 10693106"/>
              <a:gd name="connsiteY32-26656" fmla="*/ 79942 h 5292022"/>
              <a:gd name="connsiteX33-26657" fmla="*/ 3741973 w 10693106"/>
              <a:gd name="connsiteY33-26658" fmla="*/ 86561 h 5292022"/>
              <a:gd name="connsiteX34-26659" fmla="*/ 3794678 w 10693106"/>
              <a:gd name="connsiteY34-26660" fmla="*/ 101321 h 5292022"/>
              <a:gd name="connsiteX35-26661" fmla="*/ 3833625 w 10693106"/>
              <a:gd name="connsiteY35-26662" fmla="*/ 110846 h 5292022"/>
              <a:gd name="connsiteX36-26663" fmla="*/ 3892487 w 10693106"/>
              <a:gd name="connsiteY36-26664" fmla="*/ 116984 h 5292022"/>
              <a:gd name="connsiteX37-26665" fmla="*/ 3933108 w 10693106"/>
              <a:gd name="connsiteY37-26666" fmla="*/ 128837 h 5292022"/>
              <a:gd name="connsiteX38-26667" fmla="*/ 3976923 w 10693106"/>
              <a:gd name="connsiteY38-26668" fmla="*/ 135187 h 5292022"/>
              <a:gd name="connsiteX39-26669" fmla="*/ 4021373 w 10693106"/>
              <a:gd name="connsiteY39-26670" fmla="*/ 144289 h 5292022"/>
              <a:gd name="connsiteX40-26671" fmla="*/ 4055240 w 10693106"/>
              <a:gd name="connsiteY40-26672" fmla="*/ 152756 h 5292022"/>
              <a:gd name="connsiteX41-26673" fmla="*/ 4275373 w 10693106"/>
              <a:gd name="connsiteY41-26674" fmla="*/ 195089 h 5292022"/>
              <a:gd name="connsiteX42-26675" fmla="*/ 4402373 w 10693106"/>
              <a:gd name="connsiteY42-26676" fmla="*/ 228956 h 5292022"/>
              <a:gd name="connsiteX43-26677" fmla="*/ 4529373 w 10693106"/>
              <a:gd name="connsiteY43-26678" fmla="*/ 271289 h 5292022"/>
              <a:gd name="connsiteX44-26679" fmla="*/ 4859573 w 10693106"/>
              <a:gd name="connsiteY44-26680" fmla="*/ 347489 h 5292022"/>
              <a:gd name="connsiteX45-26681" fmla="*/ 5045840 w 10693106"/>
              <a:gd name="connsiteY45-26682" fmla="*/ 423689 h 5292022"/>
              <a:gd name="connsiteX46-26683" fmla="*/ 5325240 w 10693106"/>
              <a:gd name="connsiteY46-26684" fmla="*/ 584556 h 5292022"/>
              <a:gd name="connsiteX47-26685" fmla="*/ 5494573 w 10693106"/>
              <a:gd name="connsiteY47-26686" fmla="*/ 736956 h 5292022"/>
              <a:gd name="connsiteX48-26687" fmla="*/ 5562306 w 10693106"/>
              <a:gd name="connsiteY48-26688" fmla="*/ 813156 h 5292022"/>
              <a:gd name="connsiteX49-26689" fmla="*/ 5621573 w 10693106"/>
              <a:gd name="connsiteY49-26690" fmla="*/ 863956 h 5292022"/>
              <a:gd name="connsiteX50-26691" fmla="*/ 5672373 w 10693106"/>
              <a:gd name="connsiteY50-26692" fmla="*/ 931689 h 5292022"/>
              <a:gd name="connsiteX51-26693" fmla="*/ 6839926 w 10693106"/>
              <a:gd name="connsiteY51-26694" fmla="*/ 1252152 h 5292022"/>
              <a:gd name="connsiteX52-26695" fmla="*/ 7703950 w 10693106"/>
              <a:gd name="connsiteY52-26696" fmla="*/ 1069696 h 5292022"/>
              <a:gd name="connsiteX53-26697" fmla="*/ 8652640 w 10693106"/>
              <a:gd name="connsiteY53-26698" fmla="*/ 677689 h 5292022"/>
              <a:gd name="connsiteX54-26699" fmla="*/ 8982840 w 10693106"/>
              <a:gd name="connsiteY54-26700" fmla="*/ 398289 h 5292022"/>
              <a:gd name="connsiteX55-26701" fmla="*/ 9380773 w 10693106"/>
              <a:gd name="connsiteY55-26702" fmla="*/ 355956 h 5292022"/>
              <a:gd name="connsiteX56-26703" fmla="*/ 9744840 w 10693106"/>
              <a:gd name="connsiteY56-26704" fmla="*/ 466022 h 5292022"/>
              <a:gd name="connsiteX57-26705" fmla="*/ 9888773 w 10693106"/>
              <a:gd name="connsiteY57-26706" fmla="*/ 508356 h 5292022"/>
              <a:gd name="connsiteX58-26707" fmla="*/ 9998840 w 10693106"/>
              <a:gd name="connsiteY58-26708" fmla="*/ 559156 h 5292022"/>
              <a:gd name="connsiteX59-26709" fmla="*/ 10083506 w 10693106"/>
              <a:gd name="connsiteY59-26710" fmla="*/ 618422 h 5292022"/>
              <a:gd name="connsiteX60-26711" fmla="*/ 10286706 w 10693106"/>
              <a:gd name="connsiteY60-26712" fmla="*/ 686156 h 5292022"/>
              <a:gd name="connsiteX61-26713" fmla="*/ 10388306 w 10693106"/>
              <a:gd name="connsiteY61-26714" fmla="*/ 889356 h 5292022"/>
              <a:gd name="connsiteX62-26715" fmla="*/ 10540706 w 10693106"/>
              <a:gd name="connsiteY62-26716" fmla="*/ 1261889 h 5292022"/>
              <a:gd name="connsiteX63-26717" fmla="*/ 10557640 w 10693106"/>
              <a:gd name="connsiteY63-26718" fmla="*/ 1346556 h 5292022"/>
              <a:gd name="connsiteX64-26719" fmla="*/ 10583040 w 10693106"/>
              <a:gd name="connsiteY64-26720" fmla="*/ 1448156 h 5292022"/>
              <a:gd name="connsiteX65-26721" fmla="*/ 10616906 w 10693106"/>
              <a:gd name="connsiteY65-26722" fmla="*/ 1651356 h 5292022"/>
              <a:gd name="connsiteX66-26723" fmla="*/ 10633840 w 10693106"/>
              <a:gd name="connsiteY66-26724" fmla="*/ 1736022 h 5292022"/>
              <a:gd name="connsiteX67-26725" fmla="*/ 10650773 w 10693106"/>
              <a:gd name="connsiteY67-26726" fmla="*/ 1769889 h 5292022"/>
              <a:gd name="connsiteX68-26727" fmla="*/ 10676173 w 10693106"/>
              <a:gd name="connsiteY68-26728" fmla="*/ 1854556 h 5292022"/>
              <a:gd name="connsiteX69-26729" fmla="*/ 10693106 w 10693106"/>
              <a:gd name="connsiteY69-26730" fmla="*/ 2006956 h 5292022"/>
              <a:gd name="connsiteX70-26731" fmla="*/ 10625373 w 10693106"/>
              <a:gd name="connsiteY70-26732" fmla="*/ 2227089 h 5292022"/>
              <a:gd name="connsiteX71-26733" fmla="*/ 10608440 w 10693106"/>
              <a:gd name="connsiteY71-26734" fmla="*/ 2252489 h 5292022"/>
              <a:gd name="connsiteX72-26735" fmla="*/ 10540706 w 10693106"/>
              <a:gd name="connsiteY72-26736" fmla="*/ 2396422 h 5292022"/>
              <a:gd name="connsiteX73-26737" fmla="*/ 10498373 w 10693106"/>
              <a:gd name="connsiteY73-26738" fmla="*/ 2481089 h 5292022"/>
              <a:gd name="connsiteX74-26739" fmla="*/ 10439106 w 10693106"/>
              <a:gd name="connsiteY74-26740" fmla="*/ 2667356 h 5292022"/>
              <a:gd name="connsiteX75-26741" fmla="*/ 10430640 w 10693106"/>
              <a:gd name="connsiteY75-26742" fmla="*/ 2709689 h 5292022"/>
              <a:gd name="connsiteX76-26743" fmla="*/ 10405240 w 10693106"/>
              <a:gd name="connsiteY76-26744" fmla="*/ 2785889 h 5292022"/>
              <a:gd name="connsiteX77-26745" fmla="*/ 10396773 w 10693106"/>
              <a:gd name="connsiteY77-26746" fmla="*/ 2819756 h 5292022"/>
              <a:gd name="connsiteX78-26747" fmla="*/ 10362906 w 10693106"/>
              <a:gd name="connsiteY78-26748" fmla="*/ 2912889 h 5292022"/>
              <a:gd name="connsiteX79-26749" fmla="*/ 10329040 w 10693106"/>
              <a:gd name="connsiteY79-26750" fmla="*/ 2955222 h 5292022"/>
              <a:gd name="connsiteX80-26751" fmla="*/ 10227440 w 10693106"/>
              <a:gd name="connsiteY80-26752" fmla="*/ 3056822 h 5292022"/>
              <a:gd name="connsiteX81-26753" fmla="*/ 10168173 w 10693106"/>
              <a:gd name="connsiteY81-26754" fmla="*/ 3124556 h 5292022"/>
              <a:gd name="connsiteX82-26755" fmla="*/ 10117373 w 10693106"/>
              <a:gd name="connsiteY82-26756" fmla="*/ 3175356 h 5292022"/>
              <a:gd name="connsiteX83-26757" fmla="*/ 10032706 w 10693106"/>
              <a:gd name="connsiteY83-26758" fmla="*/ 3276956 h 5292022"/>
              <a:gd name="connsiteX84-26759" fmla="*/ 9948040 w 10693106"/>
              <a:gd name="connsiteY84-26760" fmla="*/ 3336222 h 5292022"/>
              <a:gd name="connsiteX85-26761" fmla="*/ 9905706 w 10693106"/>
              <a:gd name="connsiteY85-26762" fmla="*/ 3361622 h 5292022"/>
              <a:gd name="connsiteX86-26763" fmla="*/ 9829506 w 10693106"/>
              <a:gd name="connsiteY86-26764" fmla="*/ 3378556 h 5292022"/>
              <a:gd name="connsiteX87-26765" fmla="*/ 9727906 w 10693106"/>
              <a:gd name="connsiteY87-26766" fmla="*/ 3420889 h 5292022"/>
              <a:gd name="connsiteX88-26767" fmla="*/ 9634773 w 10693106"/>
              <a:gd name="connsiteY88-26768" fmla="*/ 3446289 h 5292022"/>
              <a:gd name="connsiteX89-26769" fmla="*/ 9456973 w 10693106"/>
              <a:gd name="connsiteY89-26770" fmla="*/ 3539422 h 5292022"/>
              <a:gd name="connsiteX90-26771" fmla="*/ 9313040 w 10693106"/>
              <a:gd name="connsiteY90-26772" fmla="*/ 3666422 h 5292022"/>
              <a:gd name="connsiteX91-26773" fmla="*/ 9279173 w 10693106"/>
              <a:gd name="connsiteY91-26774" fmla="*/ 3683356 h 5292022"/>
              <a:gd name="connsiteX92-26775" fmla="*/ 9067506 w 10693106"/>
              <a:gd name="connsiteY92-26776" fmla="*/ 3861156 h 5292022"/>
              <a:gd name="connsiteX93-26777" fmla="*/ 8999773 w 10693106"/>
              <a:gd name="connsiteY93-26778" fmla="*/ 3928889 h 5292022"/>
              <a:gd name="connsiteX94-26779" fmla="*/ 8813506 w 10693106"/>
              <a:gd name="connsiteY94-26780" fmla="*/ 4064356 h 5292022"/>
              <a:gd name="connsiteX95-26781" fmla="*/ 8728840 w 10693106"/>
              <a:gd name="connsiteY95-26782" fmla="*/ 4106689 h 5292022"/>
              <a:gd name="connsiteX96-26783" fmla="*/ 8373240 w 10693106"/>
              <a:gd name="connsiteY96-26784" fmla="*/ 4140556 h 5292022"/>
              <a:gd name="connsiteX97-26785" fmla="*/ 7966840 w 10693106"/>
              <a:gd name="connsiteY97-26786" fmla="*/ 4233689 h 5292022"/>
              <a:gd name="connsiteX98-26787" fmla="*/ 7687440 w 10693106"/>
              <a:gd name="connsiteY98-26788" fmla="*/ 4394556 h 5292022"/>
              <a:gd name="connsiteX99-26789" fmla="*/ 7551973 w 10693106"/>
              <a:gd name="connsiteY99-26790" fmla="*/ 4479222 h 5292022"/>
              <a:gd name="connsiteX100-26791" fmla="*/ 7374173 w 10693106"/>
              <a:gd name="connsiteY100-26792" fmla="*/ 4657022 h 5292022"/>
              <a:gd name="connsiteX101-26793" fmla="*/ 7374173 w 10693106"/>
              <a:gd name="connsiteY101-26794" fmla="*/ 4657022 h 5292022"/>
              <a:gd name="connsiteX102-26795" fmla="*/ 7221773 w 10693106"/>
              <a:gd name="connsiteY102-26796" fmla="*/ 4775556 h 5292022"/>
              <a:gd name="connsiteX103-26797" fmla="*/ 7027040 w 10693106"/>
              <a:gd name="connsiteY103-26798" fmla="*/ 4902556 h 5292022"/>
              <a:gd name="connsiteX104-26799" fmla="*/ 6883106 w 10693106"/>
              <a:gd name="connsiteY104-26800" fmla="*/ 4970289 h 5292022"/>
              <a:gd name="connsiteX105-26801" fmla="*/ 6815373 w 10693106"/>
              <a:gd name="connsiteY105-26802" fmla="*/ 5012622 h 5292022"/>
              <a:gd name="connsiteX106-26803" fmla="*/ 6646040 w 10693106"/>
              <a:gd name="connsiteY106-26804" fmla="*/ 5105756 h 5292022"/>
              <a:gd name="connsiteX107-26805" fmla="*/ 6527506 w 10693106"/>
              <a:gd name="connsiteY107-26806" fmla="*/ 5165022 h 5292022"/>
              <a:gd name="connsiteX108-26807" fmla="*/ 6298906 w 10693106"/>
              <a:gd name="connsiteY108-26808" fmla="*/ 5241222 h 5292022"/>
              <a:gd name="connsiteX109-26809" fmla="*/ 6197306 w 10693106"/>
              <a:gd name="connsiteY109-26810" fmla="*/ 5266622 h 5292022"/>
              <a:gd name="connsiteX110-26811" fmla="*/ 6061840 w 10693106"/>
              <a:gd name="connsiteY110-26812" fmla="*/ 5275089 h 5292022"/>
              <a:gd name="connsiteX111-26813" fmla="*/ 5917906 w 10693106"/>
              <a:gd name="connsiteY111-26814" fmla="*/ 5292022 h 5292022"/>
              <a:gd name="connsiteX112-26815" fmla="*/ 5748573 w 10693106"/>
              <a:gd name="connsiteY112-26816" fmla="*/ 5283556 h 5292022"/>
              <a:gd name="connsiteX113-26817" fmla="*/ 5282906 w 10693106"/>
              <a:gd name="connsiteY113-26818" fmla="*/ 5173489 h 5292022"/>
              <a:gd name="connsiteX114-26819" fmla="*/ 5138973 w 10693106"/>
              <a:gd name="connsiteY114-26820" fmla="*/ 5071889 h 5292022"/>
              <a:gd name="connsiteX115-26821" fmla="*/ 4959480 w 10693106"/>
              <a:gd name="connsiteY115-26822" fmla="*/ 4988069 h 5292022"/>
              <a:gd name="connsiteX116-26823" fmla="*/ 4842216 w 10693106"/>
              <a:gd name="connsiteY116-26824" fmla="*/ 4953779 h 5292022"/>
              <a:gd name="connsiteX117-26825" fmla="*/ 4797343 w 10693106"/>
              <a:gd name="connsiteY117-26826" fmla="*/ 4878426 h 5292022"/>
              <a:gd name="connsiteX118-26827" fmla="*/ 4686853 w 10693106"/>
              <a:gd name="connsiteY118-26828" fmla="*/ 4788256 h 5292022"/>
              <a:gd name="connsiteX119-26829" fmla="*/ 4536146 w 10693106"/>
              <a:gd name="connsiteY119-26830" fmla="*/ 4712902 h 5292022"/>
              <a:gd name="connsiteX120-26831" fmla="*/ 4365120 w 10693106"/>
              <a:gd name="connsiteY120-26832" fmla="*/ 4616382 h 5292022"/>
              <a:gd name="connsiteX121-26833" fmla="*/ 4187743 w 10693106"/>
              <a:gd name="connsiteY121-26834" fmla="*/ 4521556 h 5292022"/>
              <a:gd name="connsiteX122-26835" fmla="*/ 4125936 w 10693106"/>
              <a:gd name="connsiteY122-26836" fmla="*/ 4386724 h 5292022"/>
              <a:gd name="connsiteX123-26837" fmla="*/ 3995973 w 10693106"/>
              <a:gd name="connsiteY123-26838" fmla="*/ 4232419 h 5292022"/>
              <a:gd name="connsiteX124-26839" fmla="*/ 3962530 w 10693106"/>
              <a:gd name="connsiteY124-26840" fmla="*/ 4135052 h 5292022"/>
              <a:gd name="connsiteX125-26841" fmla="*/ 3895643 w 10693106"/>
              <a:gd name="connsiteY125-26842" fmla="*/ 4059699 h 5292022"/>
              <a:gd name="connsiteX126-26843" fmla="*/ 3919773 w 10693106"/>
              <a:gd name="connsiteY126-26844" fmla="*/ 3920422 h 5292022"/>
              <a:gd name="connsiteX127-26845" fmla="*/ 3877440 w 10693106"/>
              <a:gd name="connsiteY127-26846" fmla="*/ 3624089 h 5292022"/>
              <a:gd name="connsiteX128-26847" fmla="*/ 3852040 w 10693106"/>
              <a:gd name="connsiteY128-26848" fmla="*/ 3530956 h 5292022"/>
              <a:gd name="connsiteX129-26849" fmla="*/ 3801240 w 10693106"/>
              <a:gd name="connsiteY129-26850" fmla="*/ 3420889 h 5292022"/>
              <a:gd name="connsiteX130-26851" fmla="*/ 3733506 w 10693106"/>
              <a:gd name="connsiteY130-26852" fmla="*/ 3319289 h 5292022"/>
              <a:gd name="connsiteX131-26853" fmla="*/ 3242440 w 10693106"/>
              <a:gd name="connsiteY131-26854" fmla="*/ 3099156 h 5292022"/>
              <a:gd name="connsiteX132-26855" fmla="*/ 3123906 w 10693106"/>
              <a:gd name="connsiteY132-26856" fmla="*/ 2997556 h 5292022"/>
              <a:gd name="connsiteX133-26857" fmla="*/ 2988440 w 10693106"/>
              <a:gd name="connsiteY133-26858" fmla="*/ 2802822 h 5292022"/>
              <a:gd name="connsiteX134-26859" fmla="*/ 2971506 w 10693106"/>
              <a:gd name="connsiteY134-26860" fmla="*/ 2743556 h 5292022"/>
              <a:gd name="connsiteX135-26861" fmla="*/ 2996906 w 10693106"/>
              <a:gd name="connsiteY135-26862" fmla="*/ 2531889 h 5292022"/>
              <a:gd name="connsiteX136-26863" fmla="*/ 3013840 w 10693106"/>
              <a:gd name="connsiteY136-26864" fmla="*/ 2430289 h 5292022"/>
              <a:gd name="connsiteX137-26865" fmla="*/ 3005373 w 10693106"/>
              <a:gd name="connsiteY137-26866" fmla="*/ 2311756 h 5292022"/>
              <a:gd name="connsiteX138-26867" fmla="*/ 2988440 w 10693106"/>
              <a:gd name="connsiteY138-26868" fmla="*/ 2260956 h 5292022"/>
              <a:gd name="connsiteX139-26869" fmla="*/ 2802173 w 10693106"/>
              <a:gd name="connsiteY139-26870" fmla="*/ 2006956 h 5292022"/>
              <a:gd name="connsiteX140-26871" fmla="*/ 2641306 w 10693106"/>
              <a:gd name="connsiteY140-26872" fmla="*/ 1863022 h 5292022"/>
              <a:gd name="connsiteX141-26873" fmla="*/ 2590506 w 10693106"/>
              <a:gd name="connsiteY141-26874" fmla="*/ 1837622 h 5292022"/>
              <a:gd name="connsiteX142-26875" fmla="*/ 2531240 w 10693106"/>
              <a:gd name="connsiteY142-26876" fmla="*/ 1829156 h 5292022"/>
              <a:gd name="connsiteX143-26877" fmla="*/ 2446573 w 10693106"/>
              <a:gd name="connsiteY143-26878" fmla="*/ 1812222 h 5292022"/>
              <a:gd name="connsiteX144-26879" fmla="*/ 2251840 w 10693106"/>
              <a:gd name="connsiteY144-26880" fmla="*/ 1837622 h 5292022"/>
              <a:gd name="connsiteX145-26881" fmla="*/ 2167173 w 10693106"/>
              <a:gd name="connsiteY145-26882" fmla="*/ 1879956 h 5292022"/>
              <a:gd name="connsiteX146-26883" fmla="*/ 1980906 w 10693106"/>
              <a:gd name="connsiteY146-26884" fmla="*/ 1939222 h 5292022"/>
              <a:gd name="connsiteX147-26885" fmla="*/ 1904706 w 10693106"/>
              <a:gd name="connsiteY147-26886" fmla="*/ 1973089 h 5292022"/>
              <a:gd name="connsiteX148-26887" fmla="*/ 1828506 w 10693106"/>
              <a:gd name="connsiteY148-26888" fmla="*/ 1990022 h 5292022"/>
              <a:gd name="connsiteX149-26889" fmla="*/ 1726906 w 10693106"/>
              <a:gd name="connsiteY149-26890" fmla="*/ 2040822 h 5292022"/>
              <a:gd name="connsiteX150-26891" fmla="*/ 1659173 w 10693106"/>
              <a:gd name="connsiteY150-26892" fmla="*/ 2074689 h 5292022"/>
              <a:gd name="connsiteX151-26893" fmla="*/ 1498306 w 10693106"/>
              <a:gd name="connsiteY151-26894" fmla="*/ 2100089 h 5292022"/>
              <a:gd name="connsiteX152-26895" fmla="*/ 914106 w 10693106"/>
              <a:gd name="connsiteY152-26896" fmla="*/ 2032356 h 5292022"/>
              <a:gd name="connsiteX153-26897" fmla="*/ 617773 w 10693106"/>
              <a:gd name="connsiteY153-26898" fmla="*/ 1922289 h 5292022"/>
              <a:gd name="connsiteX154-26899" fmla="*/ 516173 w 10693106"/>
              <a:gd name="connsiteY154-26900" fmla="*/ 1837622 h 5292022"/>
              <a:gd name="connsiteX155-26901" fmla="*/ 355306 w 10693106"/>
              <a:gd name="connsiteY155-26902" fmla="*/ 1625956 h 5292022"/>
              <a:gd name="connsiteX156-26903" fmla="*/ 296040 w 10693106"/>
              <a:gd name="connsiteY156-26904" fmla="*/ 1524356 h 5292022"/>
              <a:gd name="connsiteX157-26905" fmla="*/ 253706 w 10693106"/>
              <a:gd name="connsiteY157-26906" fmla="*/ 1346556 h 5292022"/>
              <a:gd name="connsiteX158-26907" fmla="*/ 245240 w 10693106"/>
              <a:gd name="connsiteY158-26908" fmla="*/ 1219556 h 5292022"/>
              <a:gd name="connsiteX159-26909" fmla="*/ 236773 w 10693106"/>
              <a:gd name="connsiteY159-26910" fmla="*/ 1117956 h 5292022"/>
              <a:gd name="connsiteX160-26911" fmla="*/ 245240 w 10693106"/>
              <a:gd name="connsiteY160-26912" fmla="*/ 847022 h 5292022"/>
              <a:gd name="connsiteX161-26913" fmla="*/ 236773 w 10693106"/>
              <a:gd name="connsiteY161-26914" fmla="*/ 703089 h 5292022"/>
              <a:gd name="connsiteX162-26915" fmla="*/ 109773 w 10693106"/>
              <a:gd name="connsiteY162-26916" fmla="*/ 559156 h 5292022"/>
              <a:gd name="connsiteX163-26917" fmla="*/ 58973 w 10693106"/>
              <a:gd name="connsiteY163-26918" fmla="*/ 482956 h 5292022"/>
              <a:gd name="connsiteX164-26919" fmla="*/ 16640 w 10693106"/>
              <a:gd name="connsiteY164-26920" fmla="*/ 432156 h 5292022"/>
              <a:gd name="connsiteX165-26921" fmla="*/ 8173 w 10693106"/>
              <a:gd name="connsiteY165-26922" fmla="*/ 389822 h 5292022"/>
              <a:gd name="connsiteX166-26923" fmla="*/ 16640 w 10693106"/>
              <a:gd name="connsiteY166-26924" fmla="*/ 339022 h 5292022"/>
              <a:gd name="connsiteX0-26925" fmla="*/ 16640 w 10693106"/>
              <a:gd name="connsiteY0-26926" fmla="*/ 339022 h 5292022"/>
              <a:gd name="connsiteX1-26927" fmla="*/ 58973 w 10693106"/>
              <a:gd name="connsiteY1-26928" fmla="*/ 245889 h 5292022"/>
              <a:gd name="connsiteX2-26929" fmla="*/ 109773 w 10693106"/>
              <a:gd name="connsiteY2-26930" fmla="*/ 178156 h 5292022"/>
              <a:gd name="connsiteX3-26931" fmla="*/ 202906 w 10693106"/>
              <a:gd name="connsiteY3-26932" fmla="*/ 93489 h 5292022"/>
              <a:gd name="connsiteX4-26933" fmla="*/ 236773 w 10693106"/>
              <a:gd name="connsiteY4-26934" fmla="*/ 68089 h 5292022"/>
              <a:gd name="connsiteX5-26935" fmla="*/ 335410 w 10693106"/>
              <a:gd name="connsiteY5-26936" fmla="*/ 58352 h 5292022"/>
              <a:gd name="connsiteX6-26937" fmla="*/ 382400 w 10693106"/>
              <a:gd name="connsiteY6-26938" fmla="*/ 51156 h 5292022"/>
              <a:gd name="connsiteX7-26939" fmla="*/ 434912 w 10693106"/>
              <a:gd name="connsiteY7-26940" fmla="*/ 70071 h 5292022"/>
              <a:gd name="connsiteX8-26941" fmla="*/ 492697 w 10693106"/>
              <a:gd name="connsiteY8-26942" fmla="*/ 74247 h 5292022"/>
              <a:gd name="connsiteX9-26943" fmla="*/ 822897 w 10693106"/>
              <a:gd name="connsiteY9-26944" fmla="*/ 82713 h 5292022"/>
              <a:gd name="connsiteX10-26945" fmla="*/ 1091906 w 10693106"/>
              <a:gd name="connsiteY10-26946" fmla="*/ 356 h 5292022"/>
              <a:gd name="connsiteX11-26947" fmla="*/ 1235840 w 10693106"/>
              <a:gd name="connsiteY11-26948" fmla="*/ 59622 h 5292022"/>
              <a:gd name="connsiteX12-26949" fmla="*/ 1337440 w 10693106"/>
              <a:gd name="connsiteY12-26950" fmla="*/ 135822 h 5292022"/>
              <a:gd name="connsiteX13-26951" fmla="*/ 1422106 w 10693106"/>
              <a:gd name="connsiteY13-26952" fmla="*/ 245889 h 5292022"/>
              <a:gd name="connsiteX14-26953" fmla="*/ 1481373 w 10693106"/>
              <a:gd name="connsiteY14-26954" fmla="*/ 313622 h 5292022"/>
              <a:gd name="connsiteX15-26955" fmla="*/ 1532173 w 10693106"/>
              <a:gd name="connsiteY15-26956" fmla="*/ 347489 h 5292022"/>
              <a:gd name="connsiteX16-26957" fmla="*/ 1684573 w 10693106"/>
              <a:gd name="connsiteY16-26958" fmla="*/ 406756 h 5292022"/>
              <a:gd name="connsiteX17-26959" fmla="*/ 1760773 w 10693106"/>
              <a:gd name="connsiteY17-26960" fmla="*/ 423689 h 5292022"/>
              <a:gd name="connsiteX18-26961" fmla="*/ 1997840 w 10693106"/>
              <a:gd name="connsiteY18-26962" fmla="*/ 415222 h 5292022"/>
              <a:gd name="connsiteX19-26963" fmla="*/ 2116373 w 10693106"/>
              <a:gd name="connsiteY19-26964" fmla="*/ 398289 h 5292022"/>
              <a:gd name="connsiteX20-26965" fmla="*/ 2260306 w 10693106"/>
              <a:gd name="connsiteY20-26966" fmla="*/ 381356 h 5292022"/>
              <a:gd name="connsiteX21-26967" fmla="*/ 2404240 w 10693106"/>
              <a:gd name="connsiteY21-26968" fmla="*/ 355956 h 5292022"/>
              <a:gd name="connsiteX22-26969" fmla="*/ 2455040 w 10693106"/>
              <a:gd name="connsiteY22-26970" fmla="*/ 330556 h 5292022"/>
              <a:gd name="connsiteX23-26971" fmla="*/ 2531240 w 10693106"/>
              <a:gd name="connsiteY23-26972" fmla="*/ 305156 h 5292022"/>
              <a:gd name="connsiteX24-26973" fmla="*/ 2649350 w 10693106"/>
              <a:gd name="connsiteY24-26974" fmla="*/ 225781 h 5292022"/>
              <a:gd name="connsiteX25-26975" fmla="*/ 2742906 w 10693106"/>
              <a:gd name="connsiteY25-26976" fmla="*/ 186622 h 5292022"/>
              <a:gd name="connsiteX26-26977" fmla="*/ 2764920 w 10693106"/>
              <a:gd name="connsiteY26-26978" fmla="*/ 173076 h 5292022"/>
              <a:gd name="connsiteX27-26979" fmla="*/ 2832653 w 10693106"/>
              <a:gd name="connsiteY27-26980" fmla="*/ 167996 h 5292022"/>
              <a:gd name="connsiteX28-26981" fmla="*/ 3002294 w 10693106"/>
              <a:gd name="connsiteY28-26982" fmla="*/ 154680 h 5292022"/>
              <a:gd name="connsiteX29-26983" fmla="*/ 3142763 w 10693106"/>
              <a:gd name="connsiteY29-26984" fmla="*/ 110421 h 5292022"/>
              <a:gd name="connsiteX30-26985" fmla="*/ 3398918 w 10693106"/>
              <a:gd name="connsiteY30-26986" fmla="*/ 72322 h 5292022"/>
              <a:gd name="connsiteX31-26987" fmla="*/ 3606506 w 10693106"/>
              <a:gd name="connsiteY31-26988" fmla="*/ 60393 h 5292022"/>
              <a:gd name="connsiteX32-26989" fmla="*/ 3682706 w 10693106"/>
              <a:gd name="connsiteY32-26990" fmla="*/ 79942 h 5292022"/>
              <a:gd name="connsiteX33-26991" fmla="*/ 3741973 w 10693106"/>
              <a:gd name="connsiteY33-26992" fmla="*/ 86561 h 5292022"/>
              <a:gd name="connsiteX34-26993" fmla="*/ 3794678 w 10693106"/>
              <a:gd name="connsiteY34-26994" fmla="*/ 101321 h 5292022"/>
              <a:gd name="connsiteX35-26995" fmla="*/ 3833625 w 10693106"/>
              <a:gd name="connsiteY35-26996" fmla="*/ 110846 h 5292022"/>
              <a:gd name="connsiteX36-26997" fmla="*/ 3892487 w 10693106"/>
              <a:gd name="connsiteY36-26998" fmla="*/ 116984 h 5292022"/>
              <a:gd name="connsiteX37-26999" fmla="*/ 3933108 w 10693106"/>
              <a:gd name="connsiteY37-27000" fmla="*/ 128837 h 5292022"/>
              <a:gd name="connsiteX38-27001" fmla="*/ 3976923 w 10693106"/>
              <a:gd name="connsiteY38-27002" fmla="*/ 135187 h 5292022"/>
              <a:gd name="connsiteX39-27003" fmla="*/ 4021373 w 10693106"/>
              <a:gd name="connsiteY39-27004" fmla="*/ 144289 h 5292022"/>
              <a:gd name="connsiteX40-27005" fmla="*/ 4055240 w 10693106"/>
              <a:gd name="connsiteY40-27006" fmla="*/ 152756 h 5292022"/>
              <a:gd name="connsiteX41-27007" fmla="*/ 4275373 w 10693106"/>
              <a:gd name="connsiteY41-27008" fmla="*/ 195089 h 5292022"/>
              <a:gd name="connsiteX42-27009" fmla="*/ 4402373 w 10693106"/>
              <a:gd name="connsiteY42-27010" fmla="*/ 228956 h 5292022"/>
              <a:gd name="connsiteX43-27011" fmla="*/ 4529373 w 10693106"/>
              <a:gd name="connsiteY43-27012" fmla="*/ 271289 h 5292022"/>
              <a:gd name="connsiteX44-27013" fmla="*/ 4859573 w 10693106"/>
              <a:gd name="connsiteY44-27014" fmla="*/ 347489 h 5292022"/>
              <a:gd name="connsiteX45-27015" fmla="*/ 5045840 w 10693106"/>
              <a:gd name="connsiteY45-27016" fmla="*/ 423689 h 5292022"/>
              <a:gd name="connsiteX46-27017" fmla="*/ 5325240 w 10693106"/>
              <a:gd name="connsiteY46-27018" fmla="*/ 584556 h 5292022"/>
              <a:gd name="connsiteX47-27019" fmla="*/ 5494573 w 10693106"/>
              <a:gd name="connsiteY47-27020" fmla="*/ 736956 h 5292022"/>
              <a:gd name="connsiteX48-27021" fmla="*/ 5562306 w 10693106"/>
              <a:gd name="connsiteY48-27022" fmla="*/ 813156 h 5292022"/>
              <a:gd name="connsiteX49-27023" fmla="*/ 5672373 w 10693106"/>
              <a:gd name="connsiteY49-27024" fmla="*/ 931689 h 5292022"/>
              <a:gd name="connsiteX50-27025" fmla="*/ 6839926 w 10693106"/>
              <a:gd name="connsiteY50-27026" fmla="*/ 1252152 h 5292022"/>
              <a:gd name="connsiteX51-27027" fmla="*/ 7703950 w 10693106"/>
              <a:gd name="connsiteY51-27028" fmla="*/ 1069696 h 5292022"/>
              <a:gd name="connsiteX52-27029" fmla="*/ 8652640 w 10693106"/>
              <a:gd name="connsiteY52-27030" fmla="*/ 677689 h 5292022"/>
              <a:gd name="connsiteX53-27031" fmla="*/ 8982840 w 10693106"/>
              <a:gd name="connsiteY53-27032" fmla="*/ 398289 h 5292022"/>
              <a:gd name="connsiteX54-27033" fmla="*/ 9380773 w 10693106"/>
              <a:gd name="connsiteY54-27034" fmla="*/ 355956 h 5292022"/>
              <a:gd name="connsiteX55-27035" fmla="*/ 9744840 w 10693106"/>
              <a:gd name="connsiteY55-27036" fmla="*/ 466022 h 5292022"/>
              <a:gd name="connsiteX56-27037" fmla="*/ 9888773 w 10693106"/>
              <a:gd name="connsiteY56-27038" fmla="*/ 508356 h 5292022"/>
              <a:gd name="connsiteX57-27039" fmla="*/ 9998840 w 10693106"/>
              <a:gd name="connsiteY57-27040" fmla="*/ 559156 h 5292022"/>
              <a:gd name="connsiteX58-27041" fmla="*/ 10083506 w 10693106"/>
              <a:gd name="connsiteY58-27042" fmla="*/ 618422 h 5292022"/>
              <a:gd name="connsiteX59-27043" fmla="*/ 10286706 w 10693106"/>
              <a:gd name="connsiteY59-27044" fmla="*/ 686156 h 5292022"/>
              <a:gd name="connsiteX60-27045" fmla="*/ 10388306 w 10693106"/>
              <a:gd name="connsiteY60-27046" fmla="*/ 889356 h 5292022"/>
              <a:gd name="connsiteX61-27047" fmla="*/ 10540706 w 10693106"/>
              <a:gd name="connsiteY61-27048" fmla="*/ 1261889 h 5292022"/>
              <a:gd name="connsiteX62-27049" fmla="*/ 10557640 w 10693106"/>
              <a:gd name="connsiteY62-27050" fmla="*/ 1346556 h 5292022"/>
              <a:gd name="connsiteX63-27051" fmla="*/ 10583040 w 10693106"/>
              <a:gd name="connsiteY63-27052" fmla="*/ 1448156 h 5292022"/>
              <a:gd name="connsiteX64-27053" fmla="*/ 10616906 w 10693106"/>
              <a:gd name="connsiteY64-27054" fmla="*/ 1651356 h 5292022"/>
              <a:gd name="connsiteX65-27055" fmla="*/ 10633840 w 10693106"/>
              <a:gd name="connsiteY65-27056" fmla="*/ 1736022 h 5292022"/>
              <a:gd name="connsiteX66-27057" fmla="*/ 10650773 w 10693106"/>
              <a:gd name="connsiteY66-27058" fmla="*/ 1769889 h 5292022"/>
              <a:gd name="connsiteX67-27059" fmla="*/ 10676173 w 10693106"/>
              <a:gd name="connsiteY67-27060" fmla="*/ 1854556 h 5292022"/>
              <a:gd name="connsiteX68-27061" fmla="*/ 10693106 w 10693106"/>
              <a:gd name="connsiteY68-27062" fmla="*/ 2006956 h 5292022"/>
              <a:gd name="connsiteX69-27063" fmla="*/ 10625373 w 10693106"/>
              <a:gd name="connsiteY69-27064" fmla="*/ 2227089 h 5292022"/>
              <a:gd name="connsiteX70-27065" fmla="*/ 10608440 w 10693106"/>
              <a:gd name="connsiteY70-27066" fmla="*/ 2252489 h 5292022"/>
              <a:gd name="connsiteX71-27067" fmla="*/ 10540706 w 10693106"/>
              <a:gd name="connsiteY71-27068" fmla="*/ 2396422 h 5292022"/>
              <a:gd name="connsiteX72-27069" fmla="*/ 10498373 w 10693106"/>
              <a:gd name="connsiteY72-27070" fmla="*/ 2481089 h 5292022"/>
              <a:gd name="connsiteX73-27071" fmla="*/ 10439106 w 10693106"/>
              <a:gd name="connsiteY73-27072" fmla="*/ 2667356 h 5292022"/>
              <a:gd name="connsiteX74-27073" fmla="*/ 10430640 w 10693106"/>
              <a:gd name="connsiteY74-27074" fmla="*/ 2709689 h 5292022"/>
              <a:gd name="connsiteX75-27075" fmla="*/ 10405240 w 10693106"/>
              <a:gd name="connsiteY75-27076" fmla="*/ 2785889 h 5292022"/>
              <a:gd name="connsiteX76-27077" fmla="*/ 10396773 w 10693106"/>
              <a:gd name="connsiteY76-27078" fmla="*/ 2819756 h 5292022"/>
              <a:gd name="connsiteX77-27079" fmla="*/ 10362906 w 10693106"/>
              <a:gd name="connsiteY77-27080" fmla="*/ 2912889 h 5292022"/>
              <a:gd name="connsiteX78-27081" fmla="*/ 10329040 w 10693106"/>
              <a:gd name="connsiteY78-27082" fmla="*/ 2955222 h 5292022"/>
              <a:gd name="connsiteX79-27083" fmla="*/ 10227440 w 10693106"/>
              <a:gd name="connsiteY79-27084" fmla="*/ 3056822 h 5292022"/>
              <a:gd name="connsiteX80-27085" fmla="*/ 10168173 w 10693106"/>
              <a:gd name="connsiteY80-27086" fmla="*/ 3124556 h 5292022"/>
              <a:gd name="connsiteX81-27087" fmla="*/ 10117373 w 10693106"/>
              <a:gd name="connsiteY81-27088" fmla="*/ 3175356 h 5292022"/>
              <a:gd name="connsiteX82-27089" fmla="*/ 10032706 w 10693106"/>
              <a:gd name="connsiteY82-27090" fmla="*/ 3276956 h 5292022"/>
              <a:gd name="connsiteX83-27091" fmla="*/ 9948040 w 10693106"/>
              <a:gd name="connsiteY83-27092" fmla="*/ 3336222 h 5292022"/>
              <a:gd name="connsiteX84-27093" fmla="*/ 9905706 w 10693106"/>
              <a:gd name="connsiteY84-27094" fmla="*/ 3361622 h 5292022"/>
              <a:gd name="connsiteX85-27095" fmla="*/ 9829506 w 10693106"/>
              <a:gd name="connsiteY85-27096" fmla="*/ 3378556 h 5292022"/>
              <a:gd name="connsiteX86-27097" fmla="*/ 9727906 w 10693106"/>
              <a:gd name="connsiteY86-27098" fmla="*/ 3420889 h 5292022"/>
              <a:gd name="connsiteX87-27099" fmla="*/ 9634773 w 10693106"/>
              <a:gd name="connsiteY87-27100" fmla="*/ 3446289 h 5292022"/>
              <a:gd name="connsiteX88-27101" fmla="*/ 9456973 w 10693106"/>
              <a:gd name="connsiteY88-27102" fmla="*/ 3539422 h 5292022"/>
              <a:gd name="connsiteX89-27103" fmla="*/ 9313040 w 10693106"/>
              <a:gd name="connsiteY89-27104" fmla="*/ 3666422 h 5292022"/>
              <a:gd name="connsiteX90-27105" fmla="*/ 9279173 w 10693106"/>
              <a:gd name="connsiteY90-27106" fmla="*/ 3683356 h 5292022"/>
              <a:gd name="connsiteX91-27107" fmla="*/ 9067506 w 10693106"/>
              <a:gd name="connsiteY91-27108" fmla="*/ 3861156 h 5292022"/>
              <a:gd name="connsiteX92-27109" fmla="*/ 8999773 w 10693106"/>
              <a:gd name="connsiteY92-27110" fmla="*/ 3928889 h 5292022"/>
              <a:gd name="connsiteX93-27111" fmla="*/ 8813506 w 10693106"/>
              <a:gd name="connsiteY93-27112" fmla="*/ 4064356 h 5292022"/>
              <a:gd name="connsiteX94-27113" fmla="*/ 8728840 w 10693106"/>
              <a:gd name="connsiteY94-27114" fmla="*/ 4106689 h 5292022"/>
              <a:gd name="connsiteX95-27115" fmla="*/ 8373240 w 10693106"/>
              <a:gd name="connsiteY95-27116" fmla="*/ 4140556 h 5292022"/>
              <a:gd name="connsiteX96-27117" fmla="*/ 7966840 w 10693106"/>
              <a:gd name="connsiteY96-27118" fmla="*/ 4233689 h 5292022"/>
              <a:gd name="connsiteX97-27119" fmla="*/ 7687440 w 10693106"/>
              <a:gd name="connsiteY97-27120" fmla="*/ 4394556 h 5292022"/>
              <a:gd name="connsiteX98-27121" fmla="*/ 7551973 w 10693106"/>
              <a:gd name="connsiteY98-27122" fmla="*/ 4479222 h 5292022"/>
              <a:gd name="connsiteX99-27123" fmla="*/ 7374173 w 10693106"/>
              <a:gd name="connsiteY99-27124" fmla="*/ 4657022 h 5292022"/>
              <a:gd name="connsiteX100-27125" fmla="*/ 7374173 w 10693106"/>
              <a:gd name="connsiteY100-27126" fmla="*/ 4657022 h 5292022"/>
              <a:gd name="connsiteX101-27127" fmla="*/ 7221773 w 10693106"/>
              <a:gd name="connsiteY101-27128" fmla="*/ 4775556 h 5292022"/>
              <a:gd name="connsiteX102-27129" fmla="*/ 7027040 w 10693106"/>
              <a:gd name="connsiteY102-27130" fmla="*/ 4902556 h 5292022"/>
              <a:gd name="connsiteX103-27131" fmla="*/ 6883106 w 10693106"/>
              <a:gd name="connsiteY103-27132" fmla="*/ 4970289 h 5292022"/>
              <a:gd name="connsiteX104-27133" fmla="*/ 6815373 w 10693106"/>
              <a:gd name="connsiteY104-27134" fmla="*/ 5012622 h 5292022"/>
              <a:gd name="connsiteX105-27135" fmla="*/ 6646040 w 10693106"/>
              <a:gd name="connsiteY105-27136" fmla="*/ 5105756 h 5292022"/>
              <a:gd name="connsiteX106-27137" fmla="*/ 6527506 w 10693106"/>
              <a:gd name="connsiteY106-27138" fmla="*/ 5165022 h 5292022"/>
              <a:gd name="connsiteX107-27139" fmla="*/ 6298906 w 10693106"/>
              <a:gd name="connsiteY107-27140" fmla="*/ 5241222 h 5292022"/>
              <a:gd name="connsiteX108-27141" fmla="*/ 6197306 w 10693106"/>
              <a:gd name="connsiteY108-27142" fmla="*/ 5266622 h 5292022"/>
              <a:gd name="connsiteX109-27143" fmla="*/ 6061840 w 10693106"/>
              <a:gd name="connsiteY109-27144" fmla="*/ 5275089 h 5292022"/>
              <a:gd name="connsiteX110-27145" fmla="*/ 5917906 w 10693106"/>
              <a:gd name="connsiteY110-27146" fmla="*/ 5292022 h 5292022"/>
              <a:gd name="connsiteX111-27147" fmla="*/ 5748573 w 10693106"/>
              <a:gd name="connsiteY111-27148" fmla="*/ 5283556 h 5292022"/>
              <a:gd name="connsiteX112-27149" fmla="*/ 5282906 w 10693106"/>
              <a:gd name="connsiteY112-27150" fmla="*/ 5173489 h 5292022"/>
              <a:gd name="connsiteX113-27151" fmla="*/ 5138973 w 10693106"/>
              <a:gd name="connsiteY113-27152" fmla="*/ 5071889 h 5292022"/>
              <a:gd name="connsiteX114-27153" fmla="*/ 4959480 w 10693106"/>
              <a:gd name="connsiteY114-27154" fmla="*/ 4988069 h 5292022"/>
              <a:gd name="connsiteX115-27155" fmla="*/ 4842216 w 10693106"/>
              <a:gd name="connsiteY115-27156" fmla="*/ 4953779 h 5292022"/>
              <a:gd name="connsiteX116-27157" fmla="*/ 4797343 w 10693106"/>
              <a:gd name="connsiteY116-27158" fmla="*/ 4878426 h 5292022"/>
              <a:gd name="connsiteX117-27159" fmla="*/ 4686853 w 10693106"/>
              <a:gd name="connsiteY117-27160" fmla="*/ 4788256 h 5292022"/>
              <a:gd name="connsiteX118-27161" fmla="*/ 4536146 w 10693106"/>
              <a:gd name="connsiteY118-27162" fmla="*/ 4712902 h 5292022"/>
              <a:gd name="connsiteX119-27163" fmla="*/ 4365120 w 10693106"/>
              <a:gd name="connsiteY119-27164" fmla="*/ 4616382 h 5292022"/>
              <a:gd name="connsiteX120-27165" fmla="*/ 4187743 w 10693106"/>
              <a:gd name="connsiteY120-27166" fmla="*/ 4521556 h 5292022"/>
              <a:gd name="connsiteX121-27167" fmla="*/ 4125936 w 10693106"/>
              <a:gd name="connsiteY121-27168" fmla="*/ 4386724 h 5292022"/>
              <a:gd name="connsiteX122-27169" fmla="*/ 3995973 w 10693106"/>
              <a:gd name="connsiteY122-27170" fmla="*/ 4232419 h 5292022"/>
              <a:gd name="connsiteX123-27171" fmla="*/ 3962530 w 10693106"/>
              <a:gd name="connsiteY123-27172" fmla="*/ 4135052 h 5292022"/>
              <a:gd name="connsiteX124-27173" fmla="*/ 3895643 w 10693106"/>
              <a:gd name="connsiteY124-27174" fmla="*/ 4059699 h 5292022"/>
              <a:gd name="connsiteX125-27175" fmla="*/ 3919773 w 10693106"/>
              <a:gd name="connsiteY125-27176" fmla="*/ 3920422 h 5292022"/>
              <a:gd name="connsiteX126-27177" fmla="*/ 3877440 w 10693106"/>
              <a:gd name="connsiteY126-27178" fmla="*/ 3624089 h 5292022"/>
              <a:gd name="connsiteX127-27179" fmla="*/ 3852040 w 10693106"/>
              <a:gd name="connsiteY127-27180" fmla="*/ 3530956 h 5292022"/>
              <a:gd name="connsiteX128-27181" fmla="*/ 3801240 w 10693106"/>
              <a:gd name="connsiteY128-27182" fmla="*/ 3420889 h 5292022"/>
              <a:gd name="connsiteX129-27183" fmla="*/ 3733506 w 10693106"/>
              <a:gd name="connsiteY129-27184" fmla="*/ 3319289 h 5292022"/>
              <a:gd name="connsiteX130-27185" fmla="*/ 3242440 w 10693106"/>
              <a:gd name="connsiteY130-27186" fmla="*/ 3099156 h 5292022"/>
              <a:gd name="connsiteX131-27187" fmla="*/ 3123906 w 10693106"/>
              <a:gd name="connsiteY131-27188" fmla="*/ 2997556 h 5292022"/>
              <a:gd name="connsiteX132-27189" fmla="*/ 2988440 w 10693106"/>
              <a:gd name="connsiteY132-27190" fmla="*/ 2802822 h 5292022"/>
              <a:gd name="connsiteX133-27191" fmla="*/ 2971506 w 10693106"/>
              <a:gd name="connsiteY133-27192" fmla="*/ 2743556 h 5292022"/>
              <a:gd name="connsiteX134-27193" fmla="*/ 2996906 w 10693106"/>
              <a:gd name="connsiteY134-27194" fmla="*/ 2531889 h 5292022"/>
              <a:gd name="connsiteX135-27195" fmla="*/ 3013840 w 10693106"/>
              <a:gd name="connsiteY135-27196" fmla="*/ 2430289 h 5292022"/>
              <a:gd name="connsiteX136-27197" fmla="*/ 3005373 w 10693106"/>
              <a:gd name="connsiteY136-27198" fmla="*/ 2311756 h 5292022"/>
              <a:gd name="connsiteX137-27199" fmla="*/ 2988440 w 10693106"/>
              <a:gd name="connsiteY137-27200" fmla="*/ 2260956 h 5292022"/>
              <a:gd name="connsiteX138-27201" fmla="*/ 2802173 w 10693106"/>
              <a:gd name="connsiteY138-27202" fmla="*/ 2006956 h 5292022"/>
              <a:gd name="connsiteX139-27203" fmla="*/ 2641306 w 10693106"/>
              <a:gd name="connsiteY139-27204" fmla="*/ 1863022 h 5292022"/>
              <a:gd name="connsiteX140-27205" fmla="*/ 2590506 w 10693106"/>
              <a:gd name="connsiteY140-27206" fmla="*/ 1837622 h 5292022"/>
              <a:gd name="connsiteX141-27207" fmla="*/ 2531240 w 10693106"/>
              <a:gd name="connsiteY141-27208" fmla="*/ 1829156 h 5292022"/>
              <a:gd name="connsiteX142-27209" fmla="*/ 2446573 w 10693106"/>
              <a:gd name="connsiteY142-27210" fmla="*/ 1812222 h 5292022"/>
              <a:gd name="connsiteX143-27211" fmla="*/ 2251840 w 10693106"/>
              <a:gd name="connsiteY143-27212" fmla="*/ 1837622 h 5292022"/>
              <a:gd name="connsiteX144-27213" fmla="*/ 2167173 w 10693106"/>
              <a:gd name="connsiteY144-27214" fmla="*/ 1879956 h 5292022"/>
              <a:gd name="connsiteX145-27215" fmla="*/ 1980906 w 10693106"/>
              <a:gd name="connsiteY145-27216" fmla="*/ 1939222 h 5292022"/>
              <a:gd name="connsiteX146-27217" fmla="*/ 1904706 w 10693106"/>
              <a:gd name="connsiteY146-27218" fmla="*/ 1973089 h 5292022"/>
              <a:gd name="connsiteX147-27219" fmla="*/ 1828506 w 10693106"/>
              <a:gd name="connsiteY147-27220" fmla="*/ 1990022 h 5292022"/>
              <a:gd name="connsiteX148-27221" fmla="*/ 1726906 w 10693106"/>
              <a:gd name="connsiteY148-27222" fmla="*/ 2040822 h 5292022"/>
              <a:gd name="connsiteX149-27223" fmla="*/ 1659173 w 10693106"/>
              <a:gd name="connsiteY149-27224" fmla="*/ 2074689 h 5292022"/>
              <a:gd name="connsiteX150-27225" fmla="*/ 1498306 w 10693106"/>
              <a:gd name="connsiteY150-27226" fmla="*/ 2100089 h 5292022"/>
              <a:gd name="connsiteX151-27227" fmla="*/ 914106 w 10693106"/>
              <a:gd name="connsiteY151-27228" fmla="*/ 2032356 h 5292022"/>
              <a:gd name="connsiteX152-27229" fmla="*/ 617773 w 10693106"/>
              <a:gd name="connsiteY152-27230" fmla="*/ 1922289 h 5292022"/>
              <a:gd name="connsiteX153-27231" fmla="*/ 516173 w 10693106"/>
              <a:gd name="connsiteY153-27232" fmla="*/ 1837622 h 5292022"/>
              <a:gd name="connsiteX154-27233" fmla="*/ 355306 w 10693106"/>
              <a:gd name="connsiteY154-27234" fmla="*/ 1625956 h 5292022"/>
              <a:gd name="connsiteX155-27235" fmla="*/ 296040 w 10693106"/>
              <a:gd name="connsiteY155-27236" fmla="*/ 1524356 h 5292022"/>
              <a:gd name="connsiteX156-27237" fmla="*/ 253706 w 10693106"/>
              <a:gd name="connsiteY156-27238" fmla="*/ 1346556 h 5292022"/>
              <a:gd name="connsiteX157-27239" fmla="*/ 245240 w 10693106"/>
              <a:gd name="connsiteY157-27240" fmla="*/ 1219556 h 5292022"/>
              <a:gd name="connsiteX158-27241" fmla="*/ 236773 w 10693106"/>
              <a:gd name="connsiteY158-27242" fmla="*/ 1117956 h 5292022"/>
              <a:gd name="connsiteX159-27243" fmla="*/ 245240 w 10693106"/>
              <a:gd name="connsiteY159-27244" fmla="*/ 847022 h 5292022"/>
              <a:gd name="connsiteX160-27245" fmla="*/ 236773 w 10693106"/>
              <a:gd name="connsiteY160-27246" fmla="*/ 703089 h 5292022"/>
              <a:gd name="connsiteX161-27247" fmla="*/ 109773 w 10693106"/>
              <a:gd name="connsiteY161-27248" fmla="*/ 559156 h 5292022"/>
              <a:gd name="connsiteX162-27249" fmla="*/ 58973 w 10693106"/>
              <a:gd name="connsiteY162-27250" fmla="*/ 482956 h 5292022"/>
              <a:gd name="connsiteX163-27251" fmla="*/ 16640 w 10693106"/>
              <a:gd name="connsiteY163-27252" fmla="*/ 432156 h 5292022"/>
              <a:gd name="connsiteX164-27253" fmla="*/ 8173 w 10693106"/>
              <a:gd name="connsiteY164-27254" fmla="*/ 389822 h 5292022"/>
              <a:gd name="connsiteX165-27255" fmla="*/ 16640 w 10693106"/>
              <a:gd name="connsiteY165-27256" fmla="*/ 339022 h 5292022"/>
              <a:gd name="connsiteX0-27257" fmla="*/ 16640 w 10693106"/>
              <a:gd name="connsiteY0-27258" fmla="*/ 339022 h 5292022"/>
              <a:gd name="connsiteX1-27259" fmla="*/ 58973 w 10693106"/>
              <a:gd name="connsiteY1-27260" fmla="*/ 245889 h 5292022"/>
              <a:gd name="connsiteX2-27261" fmla="*/ 109773 w 10693106"/>
              <a:gd name="connsiteY2-27262" fmla="*/ 178156 h 5292022"/>
              <a:gd name="connsiteX3-27263" fmla="*/ 202906 w 10693106"/>
              <a:gd name="connsiteY3-27264" fmla="*/ 93489 h 5292022"/>
              <a:gd name="connsiteX4-27265" fmla="*/ 236773 w 10693106"/>
              <a:gd name="connsiteY4-27266" fmla="*/ 68089 h 5292022"/>
              <a:gd name="connsiteX5-27267" fmla="*/ 335410 w 10693106"/>
              <a:gd name="connsiteY5-27268" fmla="*/ 58352 h 5292022"/>
              <a:gd name="connsiteX6-27269" fmla="*/ 382400 w 10693106"/>
              <a:gd name="connsiteY6-27270" fmla="*/ 51156 h 5292022"/>
              <a:gd name="connsiteX7-27271" fmla="*/ 434912 w 10693106"/>
              <a:gd name="connsiteY7-27272" fmla="*/ 70071 h 5292022"/>
              <a:gd name="connsiteX8-27273" fmla="*/ 492697 w 10693106"/>
              <a:gd name="connsiteY8-27274" fmla="*/ 74247 h 5292022"/>
              <a:gd name="connsiteX9-27275" fmla="*/ 822897 w 10693106"/>
              <a:gd name="connsiteY9-27276" fmla="*/ 82713 h 5292022"/>
              <a:gd name="connsiteX10-27277" fmla="*/ 1091906 w 10693106"/>
              <a:gd name="connsiteY10-27278" fmla="*/ 356 h 5292022"/>
              <a:gd name="connsiteX11-27279" fmla="*/ 1235840 w 10693106"/>
              <a:gd name="connsiteY11-27280" fmla="*/ 59622 h 5292022"/>
              <a:gd name="connsiteX12-27281" fmla="*/ 1337440 w 10693106"/>
              <a:gd name="connsiteY12-27282" fmla="*/ 135822 h 5292022"/>
              <a:gd name="connsiteX13-27283" fmla="*/ 1422106 w 10693106"/>
              <a:gd name="connsiteY13-27284" fmla="*/ 245889 h 5292022"/>
              <a:gd name="connsiteX14-27285" fmla="*/ 1481373 w 10693106"/>
              <a:gd name="connsiteY14-27286" fmla="*/ 313622 h 5292022"/>
              <a:gd name="connsiteX15-27287" fmla="*/ 1532173 w 10693106"/>
              <a:gd name="connsiteY15-27288" fmla="*/ 347489 h 5292022"/>
              <a:gd name="connsiteX16-27289" fmla="*/ 1684573 w 10693106"/>
              <a:gd name="connsiteY16-27290" fmla="*/ 406756 h 5292022"/>
              <a:gd name="connsiteX17-27291" fmla="*/ 1760773 w 10693106"/>
              <a:gd name="connsiteY17-27292" fmla="*/ 423689 h 5292022"/>
              <a:gd name="connsiteX18-27293" fmla="*/ 1997840 w 10693106"/>
              <a:gd name="connsiteY18-27294" fmla="*/ 415222 h 5292022"/>
              <a:gd name="connsiteX19-27295" fmla="*/ 2116373 w 10693106"/>
              <a:gd name="connsiteY19-27296" fmla="*/ 398289 h 5292022"/>
              <a:gd name="connsiteX20-27297" fmla="*/ 2260306 w 10693106"/>
              <a:gd name="connsiteY20-27298" fmla="*/ 381356 h 5292022"/>
              <a:gd name="connsiteX21-27299" fmla="*/ 2404240 w 10693106"/>
              <a:gd name="connsiteY21-27300" fmla="*/ 355956 h 5292022"/>
              <a:gd name="connsiteX22-27301" fmla="*/ 2455040 w 10693106"/>
              <a:gd name="connsiteY22-27302" fmla="*/ 330556 h 5292022"/>
              <a:gd name="connsiteX23-27303" fmla="*/ 2531240 w 10693106"/>
              <a:gd name="connsiteY23-27304" fmla="*/ 305156 h 5292022"/>
              <a:gd name="connsiteX24-27305" fmla="*/ 2649350 w 10693106"/>
              <a:gd name="connsiteY24-27306" fmla="*/ 225781 h 5292022"/>
              <a:gd name="connsiteX25-27307" fmla="*/ 2742906 w 10693106"/>
              <a:gd name="connsiteY25-27308" fmla="*/ 186622 h 5292022"/>
              <a:gd name="connsiteX26-27309" fmla="*/ 2764920 w 10693106"/>
              <a:gd name="connsiteY26-27310" fmla="*/ 173076 h 5292022"/>
              <a:gd name="connsiteX27-27311" fmla="*/ 2832653 w 10693106"/>
              <a:gd name="connsiteY27-27312" fmla="*/ 167996 h 5292022"/>
              <a:gd name="connsiteX28-27313" fmla="*/ 3002294 w 10693106"/>
              <a:gd name="connsiteY28-27314" fmla="*/ 154680 h 5292022"/>
              <a:gd name="connsiteX29-27315" fmla="*/ 3142763 w 10693106"/>
              <a:gd name="connsiteY29-27316" fmla="*/ 110421 h 5292022"/>
              <a:gd name="connsiteX30-27317" fmla="*/ 3398918 w 10693106"/>
              <a:gd name="connsiteY30-27318" fmla="*/ 72322 h 5292022"/>
              <a:gd name="connsiteX31-27319" fmla="*/ 3606506 w 10693106"/>
              <a:gd name="connsiteY31-27320" fmla="*/ 60393 h 5292022"/>
              <a:gd name="connsiteX32-27321" fmla="*/ 3682706 w 10693106"/>
              <a:gd name="connsiteY32-27322" fmla="*/ 79942 h 5292022"/>
              <a:gd name="connsiteX33-27323" fmla="*/ 3741973 w 10693106"/>
              <a:gd name="connsiteY33-27324" fmla="*/ 86561 h 5292022"/>
              <a:gd name="connsiteX34-27325" fmla="*/ 3794678 w 10693106"/>
              <a:gd name="connsiteY34-27326" fmla="*/ 101321 h 5292022"/>
              <a:gd name="connsiteX35-27327" fmla="*/ 3833625 w 10693106"/>
              <a:gd name="connsiteY35-27328" fmla="*/ 110846 h 5292022"/>
              <a:gd name="connsiteX36-27329" fmla="*/ 3892487 w 10693106"/>
              <a:gd name="connsiteY36-27330" fmla="*/ 116984 h 5292022"/>
              <a:gd name="connsiteX37-27331" fmla="*/ 3933108 w 10693106"/>
              <a:gd name="connsiteY37-27332" fmla="*/ 128837 h 5292022"/>
              <a:gd name="connsiteX38-27333" fmla="*/ 3976923 w 10693106"/>
              <a:gd name="connsiteY38-27334" fmla="*/ 135187 h 5292022"/>
              <a:gd name="connsiteX39-27335" fmla="*/ 4021373 w 10693106"/>
              <a:gd name="connsiteY39-27336" fmla="*/ 144289 h 5292022"/>
              <a:gd name="connsiteX40-27337" fmla="*/ 4055240 w 10693106"/>
              <a:gd name="connsiteY40-27338" fmla="*/ 152756 h 5292022"/>
              <a:gd name="connsiteX41-27339" fmla="*/ 4275373 w 10693106"/>
              <a:gd name="connsiteY41-27340" fmla="*/ 195089 h 5292022"/>
              <a:gd name="connsiteX42-27341" fmla="*/ 4402373 w 10693106"/>
              <a:gd name="connsiteY42-27342" fmla="*/ 228956 h 5292022"/>
              <a:gd name="connsiteX43-27343" fmla="*/ 4529373 w 10693106"/>
              <a:gd name="connsiteY43-27344" fmla="*/ 271289 h 5292022"/>
              <a:gd name="connsiteX44-27345" fmla="*/ 4859573 w 10693106"/>
              <a:gd name="connsiteY44-27346" fmla="*/ 347489 h 5292022"/>
              <a:gd name="connsiteX45-27347" fmla="*/ 5045840 w 10693106"/>
              <a:gd name="connsiteY45-27348" fmla="*/ 423689 h 5292022"/>
              <a:gd name="connsiteX46-27349" fmla="*/ 5325240 w 10693106"/>
              <a:gd name="connsiteY46-27350" fmla="*/ 584556 h 5292022"/>
              <a:gd name="connsiteX47-27351" fmla="*/ 5494573 w 10693106"/>
              <a:gd name="connsiteY47-27352" fmla="*/ 736956 h 5292022"/>
              <a:gd name="connsiteX48-27353" fmla="*/ 5672373 w 10693106"/>
              <a:gd name="connsiteY48-27354" fmla="*/ 931689 h 5292022"/>
              <a:gd name="connsiteX49-27355" fmla="*/ 6839926 w 10693106"/>
              <a:gd name="connsiteY49-27356" fmla="*/ 1252152 h 5292022"/>
              <a:gd name="connsiteX50-27357" fmla="*/ 7703950 w 10693106"/>
              <a:gd name="connsiteY50-27358" fmla="*/ 1069696 h 5292022"/>
              <a:gd name="connsiteX51-27359" fmla="*/ 8652640 w 10693106"/>
              <a:gd name="connsiteY51-27360" fmla="*/ 677689 h 5292022"/>
              <a:gd name="connsiteX52-27361" fmla="*/ 8982840 w 10693106"/>
              <a:gd name="connsiteY52-27362" fmla="*/ 398289 h 5292022"/>
              <a:gd name="connsiteX53-27363" fmla="*/ 9380773 w 10693106"/>
              <a:gd name="connsiteY53-27364" fmla="*/ 355956 h 5292022"/>
              <a:gd name="connsiteX54-27365" fmla="*/ 9744840 w 10693106"/>
              <a:gd name="connsiteY54-27366" fmla="*/ 466022 h 5292022"/>
              <a:gd name="connsiteX55-27367" fmla="*/ 9888773 w 10693106"/>
              <a:gd name="connsiteY55-27368" fmla="*/ 508356 h 5292022"/>
              <a:gd name="connsiteX56-27369" fmla="*/ 9998840 w 10693106"/>
              <a:gd name="connsiteY56-27370" fmla="*/ 559156 h 5292022"/>
              <a:gd name="connsiteX57-27371" fmla="*/ 10083506 w 10693106"/>
              <a:gd name="connsiteY57-27372" fmla="*/ 618422 h 5292022"/>
              <a:gd name="connsiteX58-27373" fmla="*/ 10286706 w 10693106"/>
              <a:gd name="connsiteY58-27374" fmla="*/ 686156 h 5292022"/>
              <a:gd name="connsiteX59-27375" fmla="*/ 10388306 w 10693106"/>
              <a:gd name="connsiteY59-27376" fmla="*/ 889356 h 5292022"/>
              <a:gd name="connsiteX60-27377" fmla="*/ 10540706 w 10693106"/>
              <a:gd name="connsiteY60-27378" fmla="*/ 1261889 h 5292022"/>
              <a:gd name="connsiteX61-27379" fmla="*/ 10557640 w 10693106"/>
              <a:gd name="connsiteY61-27380" fmla="*/ 1346556 h 5292022"/>
              <a:gd name="connsiteX62-27381" fmla="*/ 10583040 w 10693106"/>
              <a:gd name="connsiteY62-27382" fmla="*/ 1448156 h 5292022"/>
              <a:gd name="connsiteX63-27383" fmla="*/ 10616906 w 10693106"/>
              <a:gd name="connsiteY63-27384" fmla="*/ 1651356 h 5292022"/>
              <a:gd name="connsiteX64-27385" fmla="*/ 10633840 w 10693106"/>
              <a:gd name="connsiteY64-27386" fmla="*/ 1736022 h 5292022"/>
              <a:gd name="connsiteX65-27387" fmla="*/ 10650773 w 10693106"/>
              <a:gd name="connsiteY65-27388" fmla="*/ 1769889 h 5292022"/>
              <a:gd name="connsiteX66-27389" fmla="*/ 10676173 w 10693106"/>
              <a:gd name="connsiteY66-27390" fmla="*/ 1854556 h 5292022"/>
              <a:gd name="connsiteX67-27391" fmla="*/ 10693106 w 10693106"/>
              <a:gd name="connsiteY67-27392" fmla="*/ 2006956 h 5292022"/>
              <a:gd name="connsiteX68-27393" fmla="*/ 10625373 w 10693106"/>
              <a:gd name="connsiteY68-27394" fmla="*/ 2227089 h 5292022"/>
              <a:gd name="connsiteX69-27395" fmla="*/ 10608440 w 10693106"/>
              <a:gd name="connsiteY69-27396" fmla="*/ 2252489 h 5292022"/>
              <a:gd name="connsiteX70-27397" fmla="*/ 10540706 w 10693106"/>
              <a:gd name="connsiteY70-27398" fmla="*/ 2396422 h 5292022"/>
              <a:gd name="connsiteX71-27399" fmla="*/ 10498373 w 10693106"/>
              <a:gd name="connsiteY71-27400" fmla="*/ 2481089 h 5292022"/>
              <a:gd name="connsiteX72-27401" fmla="*/ 10439106 w 10693106"/>
              <a:gd name="connsiteY72-27402" fmla="*/ 2667356 h 5292022"/>
              <a:gd name="connsiteX73-27403" fmla="*/ 10430640 w 10693106"/>
              <a:gd name="connsiteY73-27404" fmla="*/ 2709689 h 5292022"/>
              <a:gd name="connsiteX74-27405" fmla="*/ 10405240 w 10693106"/>
              <a:gd name="connsiteY74-27406" fmla="*/ 2785889 h 5292022"/>
              <a:gd name="connsiteX75-27407" fmla="*/ 10396773 w 10693106"/>
              <a:gd name="connsiteY75-27408" fmla="*/ 2819756 h 5292022"/>
              <a:gd name="connsiteX76-27409" fmla="*/ 10362906 w 10693106"/>
              <a:gd name="connsiteY76-27410" fmla="*/ 2912889 h 5292022"/>
              <a:gd name="connsiteX77-27411" fmla="*/ 10329040 w 10693106"/>
              <a:gd name="connsiteY77-27412" fmla="*/ 2955222 h 5292022"/>
              <a:gd name="connsiteX78-27413" fmla="*/ 10227440 w 10693106"/>
              <a:gd name="connsiteY78-27414" fmla="*/ 3056822 h 5292022"/>
              <a:gd name="connsiteX79-27415" fmla="*/ 10168173 w 10693106"/>
              <a:gd name="connsiteY79-27416" fmla="*/ 3124556 h 5292022"/>
              <a:gd name="connsiteX80-27417" fmla="*/ 10117373 w 10693106"/>
              <a:gd name="connsiteY80-27418" fmla="*/ 3175356 h 5292022"/>
              <a:gd name="connsiteX81-27419" fmla="*/ 10032706 w 10693106"/>
              <a:gd name="connsiteY81-27420" fmla="*/ 3276956 h 5292022"/>
              <a:gd name="connsiteX82-27421" fmla="*/ 9948040 w 10693106"/>
              <a:gd name="connsiteY82-27422" fmla="*/ 3336222 h 5292022"/>
              <a:gd name="connsiteX83-27423" fmla="*/ 9905706 w 10693106"/>
              <a:gd name="connsiteY83-27424" fmla="*/ 3361622 h 5292022"/>
              <a:gd name="connsiteX84-27425" fmla="*/ 9829506 w 10693106"/>
              <a:gd name="connsiteY84-27426" fmla="*/ 3378556 h 5292022"/>
              <a:gd name="connsiteX85-27427" fmla="*/ 9727906 w 10693106"/>
              <a:gd name="connsiteY85-27428" fmla="*/ 3420889 h 5292022"/>
              <a:gd name="connsiteX86-27429" fmla="*/ 9634773 w 10693106"/>
              <a:gd name="connsiteY86-27430" fmla="*/ 3446289 h 5292022"/>
              <a:gd name="connsiteX87-27431" fmla="*/ 9456973 w 10693106"/>
              <a:gd name="connsiteY87-27432" fmla="*/ 3539422 h 5292022"/>
              <a:gd name="connsiteX88-27433" fmla="*/ 9313040 w 10693106"/>
              <a:gd name="connsiteY88-27434" fmla="*/ 3666422 h 5292022"/>
              <a:gd name="connsiteX89-27435" fmla="*/ 9279173 w 10693106"/>
              <a:gd name="connsiteY89-27436" fmla="*/ 3683356 h 5292022"/>
              <a:gd name="connsiteX90-27437" fmla="*/ 9067506 w 10693106"/>
              <a:gd name="connsiteY90-27438" fmla="*/ 3861156 h 5292022"/>
              <a:gd name="connsiteX91-27439" fmla="*/ 8999773 w 10693106"/>
              <a:gd name="connsiteY91-27440" fmla="*/ 3928889 h 5292022"/>
              <a:gd name="connsiteX92-27441" fmla="*/ 8813506 w 10693106"/>
              <a:gd name="connsiteY92-27442" fmla="*/ 4064356 h 5292022"/>
              <a:gd name="connsiteX93-27443" fmla="*/ 8728840 w 10693106"/>
              <a:gd name="connsiteY93-27444" fmla="*/ 4106689 h 5292022"/>
              <a:gd name="connsiteX94-27445" fmla="*/ 8373240 w 10693106"/>
              <a:gd name="connsiteY94-27446" fmla="*/ 4140556 h 5292022"/>
              <a:gd name="connsiteX95-27447" fmla="*/ 7966840 w 10693106"/>
              <a:gd name="connsiteY95-27448" fmla="*/ 4233689 h 5292022"/>
              <a:gd name="connsiteX96-27449" fmla="*/ 7687440 w 10693106"/>
              <a:gd name="connsiteY96-27450" fmla="*/ 4394556 h 5292022"/>
              <a:gd name="connsiteX97-27451" fmla="*/ 7551973 w 10693106"/>
              <a:gd name="connsiteY97-27452" fmla="*/ 4479222 h 5292022"/>
              <a:gd name="connsiteX98-27453" fmla="*/ 7374173 w 10693106"/>
              <a:gd name="connsiteY98-27454" fmla="*/ 4657022 h 5292022"/>
              <a:gd name="connsiteX99-27455" fmla="*/ 7374173 w 10693106"/>
              <a:gd name="connsiteY99-27456" fmla="*/ 4657022 h 5292022"/>
              <a:gd name="connsiteX100-27457" fmla="*/ 7221773 w 10693106"/>
              <a:gd name="connsiteY100-27458" fmla="*/ 4775556 h 5292022"/>
              <a:gd name="connsiteX101-27459" fmla="*/ 7027040 w 10693106"/>
              <a:gd name="connsiteY101-27460" fmla="*/ 4902556 h 5292022"/>
              <a:gd name="connsiteX102-27461" fmla="*/ 6883106 w 10693106"/>
              <a:gd name="connsiteY102-27462" fmla="*/ 4970289 h 5292022"/>
              <a:gd name="connsiteX103-27463" fmla="*/ 6815373 w 10693106"/>
              <a:gd name="connsiteY103-27464" fmla="*/ 5012622 h 5292022"/>
              <a:gd name="connsiteX104-27465" fmla="*/ 6646040 w 10693106"/>
              <a:gd name="connsiteY104-27466" fmla="*/ 5105756 h 5292022"/>
              <a:gd name="connsiteX105-27467" fmla="*/ 6527506 w 10693106"/>
              <a:gd name="connsiteY105-27468" fmla="*/ 5165022 h 5292022"/>
              <a:gd name="connsiteX106-27469" fmla="*/ 6298906 w 10693106"/>
              <a:gd name="connsiteY106-27470" fmla="*/ 5241222 h 5292022"/>
              <a:gd name="connsiteX107-27471" fmla="*/ 6197306 w 10693106"/>
              <a:gd name="connsiteY107-27472" fmla="*/ 5266622 h 5292022"/>
              <a:gd name="connsiteX108-27473" fmla="*/ 6061840 w 10693106"/>
              <a:gd name="connsiteY108-27474" fmla="*/ 5275089 h 5292022"/>
              <a:gd name="connsiteX109-27475" fmla="*/ 5917906 w 10693106"/>
              <a:gd name="connsiteY109-27476" fmla="*/ 5292022 h 5292022"/>
              <a:gd name="connsiteX110-27477" fmla="*/ 5748573 w 10693106"/>
              <a:gd name="connsiteY110-27478" fmla="*/ 5283556 h 5292022"/>
              <a:gd name="connsiteX111-27479" fmla="*/ 5282906 w 10693106"/>
              <a:gd name="connsiteY111-27480" fmla="*/ 5173489 h 5292022"/>
              <a:gd name="connsiteX112-27481" fmla="*/ 5138973 w 10693106"/>
              <a:gd name="connsiteY112-27482" fmla="*/ 5071889 h 5292022"/>
              <a:gd name="connsiteX113-27483" fmla="*/ 4959480 w 10693106"/>
              <a:gd name="connsiteY113-27484" fmla="*/ 4988069 h 5292022"/>
              <a:gd name="connsiteX114-27485" fmla="*/ 4842216 w 10693106"/>
              <a:gd name="connsiteY114-27486" fmla="*/ 4953779 h 5292022"/>
              <a:gd name="connsiteX115-27487" fmla="*/ 4797343 w 10693106"/>
              <a:gd name="connsiteY115-27488" fmla="*/ 4878426 h 5292022"/>
              <a:gd name="connsiteX116-27489" fmla="*/ 4686853 w 10693106"/>
              <a:gd name="connsiteY116-27490" fmla="*/ 4788256 h 5292022"/>
              <a:gd name="connsiteX117-27491" fmla="*/ 4536146 w 10693106"/>
              <a:gd name="connsiteY117-27492" fmla="*/ 4712902 h 5292022"/>
              <a:gd name="connsiteX118-27493" fmla="*/ 4365120 w 10693106"/>
              <a:gd name="connsiteY118-27494" fmla="*/ 4616382 h 5292022"/>
              <a:gd name="connsiteX119-27495" fmla="*/ 4187743 w 10693106"/>
              <a:gd name="connsiteY119-27496" fmla="*/ 4521556 h 5292022"/>
              <a:gd name="connsiteX120-27497" fmla="*/ 4125936 w 10693106"/>
              <a:gd name="connsiteY120-27498" fmla="*/ 4386724 h 5292022"/>
              <a:gd name="connsiteX121-27499" fmla="*/ 3995973 w 10693106"/>
              <a:gd name="connsiteY121-27500" fmla="*/ 4232419 h 5292022"/>
              <a:gd name="connsiteX122-27501" fmla="*/ 3962530 w 10693106"/>
              <a:gd name="connsiteY122-27502" fmla="*/ 4135052 h 5292022"/>
              <a:gd name="connsiteX123-27503" fmla="*/ 3895643 w 10693106"/>
              <a:gd name="connsiteY123-27504" fmla="*/ 4059699 h 5292022"/>
              <a:gd name="connsiteX124-27505" fmla="*/ 3919773 w 10693106"/>
              <a:gd name="connsiteY124-27506" fmla="*/ 3920422 h 5292022"/>
              <a:gd name="connsiteX125-27507" fmla="*/ 3877440 w 10693106"/>
              <a:gd name="connsiteY125-27508" fmla="*/ 3624089 h 5292022"/>
              <a:gd name="connsiteX126-27509" fmla="*/ 3852040 w 10693106"/>
              <a:gd name="connsiteY126-27510" fmla="*/ 3530956 h 5292022"/>
              <a:gd name="connsiteX127-27511" fmla="*/ 3801240 w 10693106"/>
              <a:gd name="connsiteY127-27512" fmla="*/ 3420889 h 5292022"/>
              <a:gd name="connsiteX128-27513" fmla="*/ 3733506 w 10693106"/>
              <a:gd name="connsiteY128-27514" fmla="*/ 3319289 h 5292022"/>
              <a:gd name="connsiteX129-27515" fmla="*/ 3242440 w 10693106"/>
              <a:gd name="connsiteY129-27516" fmla="*/ 3099156 h 5292022"/>
              <a:gd name="connsiteX130-27517" fmla="*/ 3123906 w 10693106"/>
              <a:gd name="connsiteY130-27518" fmla="*/ 2997556 h 5292022"/>
              <a:gd name="connsiteX131-27519" fmla="*/ 2988440 w 10693106"/>
              <a:gd name="connsiteY131-27520" fmla="*/ 2802822 h 5292022"/>
              <a:gd name="connsiteX132-27521" fmla="*/ 2971506 w 10693106"/>
              <a:gd name="connsiteY132-27522" fmla="*/ 2743556 h 5292022"/>
              <a:gd name="connsiteX133-27523" fmla="*/ 2996906 w 10693106"/>
              <a:gd name="connsiteY133-27524" fmla="*/ 2531889 h 5292022"/>
              <a:gd name="connsiteX134-27525" fmla="*/ 3013840 w 10693106"/>
              <a:gd name="connsiteY134-27526" fmla="*/ 2430289 h 5292022"/>
              <a:gd name="connsiteX135-27527" fmla="*/ 3005373 w 10693106"/>
              <a:gd name="connsiteY135-27528" fmla="*/ 2311756 h 5292022"/>
              <a:gd name="connsiteX136-27529" fmla="*/ 2988440 w 10693106"/>
              <a:gd name="connsiteY136-27530" fmla="*/ 2260956 h 5292022"/>
              <a:gd name="connsiteX137-27531" fmla="*/ 2802173 w 10693106"/>
              <a:gd name="connsiteY137-27532" fmla="*/ 2006956 h 5292022"/>
              <a:gd name="connsiteX138-27533" fmla="*/ 2641306 w 10693106"/>
              <a:gd name="connsiteY138-27534" fmla="*/ 1863022 h 5292022"/>
              <a:gd name="connsiteX139-27535" fmla="*/ 2590506 w 10693106"/>
              <a:gd name="connsiteY139-27536" fmla="*/ 1837622 h 5292022"/>
              <a:gd name="connsiteX140-27537" fmla="*/ 2531240 w 10693106"/>
              <a:gd name="connsiteY140-27538" fmla="*/ 1829156 h 5292022"/>
              <a:gd name="connsiteX141-27539" fmla="*/ 2446573 w 10693106"/>
              <a:gd name="connsiteY141-27540" fmla="*/ 1812222 h 5292022"/>
              <a:gd name="connsiteX142-27541" fmla="*/ 2251840 w 10693106"/>
              <a:gd name="connsiteY142-27542" fmla="*/ 1837622 h 5292022"/>
              <a:gd name="connsiteX143-27543" fmla="*/ 2167173 w 10693106"/>
              <a:gd name="connsiteY143-27544" fmla="*/ 1879956 h 5292022"/>
              <a:gd name="connsiteX144-27545" fmla="*/ 1980906 w 10693106"/>
              <a:gd name="connsiteY144-27546" fmla="*/ 1939222 h 5292022"/>
              <a:gd name="connsiteX145-27547" fmla="*/ 1904706 w 10693106"/>
              <a:gd name="connsiteY145-27548" fmla="*/ 1973089 h 5292022"/>
              <a:gd name="connsiteX146-27549" fmla="*/ 1828506 w 10693106"/>
              <a:gd name="connsiteY146-27550" fmla="*/ 1990022 h 5292022"/>
              <a:gd name="connsiteX147-27551" fmla="*/ 1726906 w 10693106"/>
              <a:gd name="connsiteY147-27552" fmla="*/ 2040822 h 5292022"/>
              <a:gd name="connsiteX148-27553" fmla="*/ 1659173 w 10693106"/>
              <a:gd name="connsiteY148-27554" fmla="*/ 2074689 h 5292022"/>
              <a:gd name="connsiteX149-27555" fmla="*/ 1498306 w 10693106"/>
              <a:gd name="connsiteY149-27556" fmla="*/ 2100089 h 5292022"/>
              <a:gd name="connsiteX150-27557" fmla="*/ 914106 w 10693106"/>
              <a:gd name="connsiteY150-27558" fmla="*/ 2032356 h 5292022"/>
              <a:gd name="connsiteX151-27559" fmla="*/ 617773 w 10693106"/>
              <a:gd name="connsiteY151-27560" fmla="*/ 1922289 h 5292022"/>
              <a:gd name="connsiteX152-27561" fmla="*/ 516173 w 10693106"/>
              <a:gd name="connsiteY152-27562" fmla="*/ 1837622 h 5292022"/>
              <a:gd name="connsiteX153-27563" fmla="*/ 355306 w 10693106"/>
              <a:gd name="connsiteY153-27564" fmla="*/ 1625956 h 5292022"/>
              <a:gd name="connsiteX154-27565" fmla="*/ 296040 w 10693106"/>
              <a:gd name="connsiteY154-27566" fmla="*/ 1524356 h 5292022"/>
              <a:gd name="connsiteX155-27567" fmla="*/ 253706 w 10693106"/>
              <a:gd name="connsiteY155-27568" fmla="*/ 1346556 h 5292022"/>
              <a:gd name="connsiteX156-27569" fmla="*/ 245240 w 10693106"/>
              <a:gd name="connsiteY156-27570" fmla="*/ 1219556 h 5292022"/>
              <a:gd name="connsiteX157-27571" fmla="*/ 236773 w 10693106"/>
              <a:gd name="connsiteY157-27572" fmla="*/ 1117956 h 5292022"/>
              <a:gd name="connsiteX158-27573" fmla="*/ 245240 w 10693106"/>
              <a:gd name="connsiteY158-27574" fmla="*/ 847022 h 5292022"/>
              <a:gd name="connsiteX159-27575" fmla="*/ 236773 w 10693106"/>
              <a:gd name="connsiteY159-27576" fmla="*/ 703089 h 5292022"/>
              <a:gd name="connsiteX160-27577" fmla="*/ 109773 w 10693106"/>
              <a:gd name="connsiteY160-27578" fmla="*/ 559156 h 5292022"/>
              <a:gd name="connsiteX161-27579" fmla="*/ 58973 w 10693106"/>
              <a:gd name="connsiteY161-27580" fmla="*/ 482956 h 5292022"/>
              <a:gd name="connsiteX162-27581" fmla="*/ 16640 w 10693106"/>
              <a:gd name="connsiteY162-27582" fmla="*/ 432156 h 5292022"/>
              <a:gd name="connsiteX163-27583" fmla="*/ 8173 w 10693106"/>
              <a:gd name="connsiteY163-27584" fmla="*/ 389822 h 5292022"/>
              <a:gd name="connsiteX164-27585" fmla="*/ 16640 w 10693106"/>
              <a:gd name="connsiteY164-27586" fmla="*/ 339022 h 5292022"/>
              <a:gd name="connsiteX0-27587" fmla="*/ 16640 w 10693106"/>
              <a:gd name="connsiteY0-27588" fmla="*/ 339022 h 5292022"/>
              <a:gd name="connsiteX1-27589" fmla="*/ 58973 w 10693106"/>
              <a:gd name="connsiteY1-27590" fmla="*/ 245889 h 5292022"/>
              <a:gd name="connsiteX2-27591" fmla="*/ 109773 w 10693106"/>
              <a:gd name="connsiteY2-27592" fmla="*/ 178156 h 5292022"/>
              <a:gd name="connsiteX3-27593" fmla="*/ 202906 w 10693106"/>
              <a:gd name="connsiteY3-27594" fmla="*/ 93489 h 5292022"/>
              <a:gd name="connsiteX4-27595" fmla="*/ 236773 w 10693106"/>
              <a:gd name="connsiteY4-27596" fmla="*/ 68089 h 5292022"/>
              <a:gd name="connsiteX5-27597" fmla="*/ 335410 w 10693106"/>
              <a:gd name="connsiteY5-27598" fmla="*/ 58352 h 5292022"/>
              <a:gd name="connsiteX6-27599" fmla="*/ 382400 w 10693106"/>
              <a:gd name="connsiteY6-27600" fmla="*/ 51156 h 5292022"/>
              <a:gd name="connsiteX7-27601" fmla="*/ 434912 w 10693106"/>
              <a:gd name="connsiteY7-27602" fmla="*/ 70071 h 5292022"/>
              <a:gd name="connsiteX8-27603" fmla="*/ 492697 w 10693106"/>
              <a:gd name="connsiteY8-27604" fmla="*/ 74247 h 5292022"/>
              <a:gd name="connsiteX9-27605" fmla="*/ 822897 w 10693106"/>
              <a:gd name="connsiteY9-27606" fmla="*/ 82713 h 5292022"/>
              <a:gd name="connsiteX10-27607" fmla="*/ 1091906 w 10693106"/>
              <a:gd name="connsiteY10-27608" fmla="*/ 356 h 5292022"/>
              <a:gd name="connsiteX11-27609" fmla="*/ 1235840 w 10693106"/>
              <a:gd name="connsiteY11-27610" fmla="*/ 59622 h 5292022"/>
              <a:gd name="connsiteX12-27611" fmla="*/ 1337440 w 10693106"/>
              <a:gd name="connsiteY12-27612" fmla="*/ 135822 h 5292022"/>
              <a:gd name="connsiteX13-27613" fmla="*/ 1422106 w 10693106"/>
              <a:gd name="connsiteY13-27614" fmla="*/ 245889 h 5292022"/>
              <a:gd name="connsiteX14-27615" fmla="*/ 1481373 w 10693106"/>
              <a:gd name="connsiteY14-27616" fmla="*/ 313622 h 5292022"/>
              <a:gd name="connsiteX15-27617" fmla="*/ 1532173 w 10693106"/>
              <a:gd name="connsiteY15-27618" fmla="*/ 347489 h 5292022"/>
              <a:gd name="connsiteX16-27619" fmla="*/ 1684573 w 10693106"/>
              <a:gd name="connsiteY16-27620" fmla="*/ 406756 h 5292022"/>
              <a:gd name="connsiteX17-27621" fmla="*/ 1760773 w 10693106"/>
              <a:gd name="connsiteY17-27622" fmla="*/ 423689 h 5292022"/>
              <a:gd name="connsiteX18-27623" fmla="*/ 1997840 w 10693106"/>
              <a:gd name="connsiteY18-27624" fmla="*/ 415222 h 5292022"/>
              <a:gd name="connsiteX19-27625" fmla="*/ 2116373 w 10693106"/>
              <a:gd name="connsiteY19-27626" fmla="*/ 398289 h 5292022"/>
              <a:gd name="connsiteX20-27627" fmla="*/ 2260306 w 10693106"/>
              <a:gd name="connsiteY20-27628" fmla="*/ 381356 h 5292022"/>
              <a:gd name="connsiteX21-27629" fmla="*/ 2404240 w 10693106"/>
              <a:gd name="connsiteY21-27630" fmla="*/ 355956 h 5292022"/>
              <a:gd name="connsiteX22-27631" fmla="*/ 2455040 w 10693106"/>
              <a:gd name="connsiteY22-27632" fmla="*/ 330556 h 5292022"/>
              <a:gd name="connsiteX23-27633" fmla="*/ 2531240 w 10693106"/>
              <a:gd name="connsiteY23-27634" fmla="*/ 305156 h 5292022"/>
              <a:gd name="connsiteX24-27635" fmla="*/ 2649350 w 10693106"/>
              <a:gd name="connsiteY24-27636" fmla="*/ 225781 h 5292022"/>
              <a:gd name="connsiteX25-27637" fmla="*/ 2742906 w 10693106"/>
              <a:gd name="connsiteY25-27638" fmla="*/ 186622 h 5292022"/>
              <a:gd name="connsiteX26-27639" fmla="*/ 2764920 w 10693106"/>
              <a:gd name="connsiteY26-27640" fmla="*/ 173076 h 5292022"/>
              <a:gd name="connsiteX27-27641" fmla="*/ 2832653 w 10693106"/>
              <a:gd name="connsiteY27-27642" fmla="*/ 167996 h 5292022"/>
              <a:gd name="connsiteX28-27643" fmla="*/ 3002294 w 10693106"/>
              <a:gd name="connsiteY28-27644" fmla="*/ 154680 h 5292022"/>
              <a:gd name="connsiteX29-27645" fmla="*/ 3142763 w 10693106"/>
              <a:gd name="connsiteY29-27646" fmla="*/ 110421 h 5292022"/>
              <a:gd name="connsiteX30-27647" fmla="*/ 3398918 w 10693106"/>
              <a:gd name="connsiteY30-27648" fmla="*/ 72322 h 5292022"/>
              <a:gd name="connsiteX31-27649" fmla="*/ 3606506 w 10693106"/>
              <a:gd name="connsiteY31-27650" fmla="*/ 60393 h 5292022"/>
              <a:gd name="connsiteX32-27651" fmla="*/ 3682706 w 10693106"/>
              <a:gd name="connsiteY32-27652" fmla="*/ 79942 h 5292022"/>
              <a:gd name="connsiteX33-27653" fmla="*/ 3741973 w 10693106"/>
              <a:gd name="connsiteY33-27654" fmla="*/ 86561 h 5292022"/>
              <a:gd name="connsiteX34-27655" fmla="*/ 3794678 w 10693106"/>
              <a:gd name="connsiteY34-27656" fmla="*/ 101321 h 5292022"/>
              <a:gd name="connsiteX35-27657" fmla="*/ 3833625 w 10693106"/>
              <a:gd name="connsiteY35-27658" fmla="*/ 110846 h 5292022"/>
              <a:gd name="connsiteX36-27659" fmla="*/ 3892487 w 10693106"/>
              <a:gd name="connsiteY36-27660" fmla="*/ 116984 h 5292022"/>
              <a:gd name="connsiteX37-27661" fmla="*/ 3933108 w 10693106"/>
              <a:gd name="connsiteY37-27662" fmla="*/ 128837 h 5292022"/>
              <a:gd name="connsiteX38-27663" fmla="*/ 3976923 w 10693106"/>
              <a:gd name="connsiteY38-27664" fmla="*/ 135187 h 5292022"/>
              <a:gd name="connsiteX39-27665" fmla="*/ 4021373 w 10693106"/>
              <a:gd name="connsiteY39-27666" fmla="*/ 144289 h 5292022"/>
              <a:gd name="connsiteX40-27667" fmla="*/ 4055240 w 10693106"/>
              <a:gd name="connsiteY40-27668" fmla="*/ 152756 h 5292022"/>
              <a:gd name="connsiteX41-27669" fmla="*/ 4275373 w 10693106"/>
              <a:gd name="connsiteY41-27670" fmla="*/ 195089 h 5292022"/>
              <a:gd name="connsiteX42-27671" fmla="*/ 4402373 w 10693106"/>
              <a:gd name="connsiteY42-27672" fmla="*/ 228956 h 5292022"/>
              <a:gd name="connsiteX43-27673" fmla="*/ 4529373 w 10693106"/>
              <a:gd name="connsiteY43-27674" fmla="*/ 271289 h 5292022"/>
              <a:gd name="connsiteX44-27675" fmla="*/ 4859573 w 10693106"/>
              <a:gd name="connsiteY44-27676" fmla="*/ 347489 h 5292022"/>
              <a:gd name="connsiteX45-27677" fmla="*/ 5045840 w 10693106"/>
              <a:gd name="connsiteY45-27678" fmla="*/ 423689 h 5292022"/>
              <a:gd name="connsiteX46-27679" fmla="*/ 5325240 w 10693106"/>
              <a:gd name="connsiteY46-27680" fmla="*/ 584556 h 5292022"/>
              <a:gd name="connsiteX47-27681" fmla="*/ 5672373 w 10693106"/>
              <a:gd name="connsiteY47-27682" fmla="*/ 931689 h 5292022"/>
              <a:gd name="connsiteX48-27683" fmla="*/ 6839926 w 10693106"/>
              <a:gd name="connsiteY48-27684" fmla="*/ 1252152 h 5292022"/>
              <a:gd name="connsiteX49-27685" fmla="*/ 7703950 w 10693106"/>
              <a:gd name="connsiteY49-27686" fmla="*/ 1069696 h 5292022"/>
              <a:gd name="connsiteX50-27687" fmla="*/ 8652640 w 10693106"/>
              <a:gd name="connsiteY50-27688" fmla="*/ 677689 h 5292022"/>
              <a:gd name="connsiteX51-27689" fmla="*/ 8982840 w 10693106"/>
              <a:gd name="connsiteY51-27690" fmla="*/ 398289 h 5292022"/>
              <a:gd name="connsiteX52-27691" fmla="*/ 9380773 w 10693106"/>
              <a:gd name="connsiteY52-27692" fmla="*/ 355956 h 5292022"/>
              <a:gd name="connsiteX53-27693" fmla="*/ 9744840 w 10693106"/>
              <a:gd name="connsiteY53-27694" fmla="*/ 466022 h 5292022"/>
              <a:gd name="connsiteX54-27695" fmla="*/ 9888773 w 10693106"/>
              <a:gd name="connsiteY54-27696" fmla="*/ 508356 h 5292022"/>
              <a:gd name="connsiteX55-27697" fmla="*/ 9998840 w 10693106"/>
              <a:gd name="connsiteY55-27698" fmla="*/ 559156 h 5292022"/>
              <a:gd name="connsiteX56-27699" fmla="*/ 10083506 w 10693106"/>
              <a:gd name="connsiteY56-27700" fmla="*/ 618422 h 5292022"/>
              <a:gd name="connsiteX57-27701" fmla="*/ 10286706 w 10693106"/>
              <a:gd name="connsiteY57-27702" fmla="*/ 686156 h 5292022"/>
              <a:gd name="connsiteX58-27703" fmla="*/ 10388306 w 10693106"/>
              <a:gd name="connsiteY58-27704" fmla="*/ 889356 h 5292022"/>
              <a:gd name="connsiteX59-27705" fmla="*/ 10540706 w 10693106"/>
              <a:gd name="connsiteY59-27706" fmla="*/ 1261889 h 5292022"/>
              <a:gd name="connsiteX60-27707" fmla="*/ 10557640 w 10693106"/>
              <a:gd name="connsiteY60-27708" fmla="*/ 1346556 h 5292022"/>
              <a:gd name="connsiteX61-27709" fmla="*/ 10583040 w 10693106"/>
              <a:gd name="connsiteY61-27710" fmla="*/ 1448156 h 5292022"/>
              <a:gd name="connsiteX62-27711" fmla="*/ 10616906 w 10693106"/>
              <a:gd name="connsiteY62-27712" fmla="*/ 1651356 h 5292022"/>
              <a:gd name="connsiteX63-27713" fmla="*/ 10633840 w 10693106"/>
              <a:gd name="connsiteY63-27714" fmla="*/ 1736022 h 5292022"/>
              <a:gd name="connsiteX64-27715" fmla="*/ 10650773 w 10693106"/>
              <a:gd name="connsiteY64-27716" fmla="*/ 1769889 h 5292022"/>
              <a:gd name="connsiteX65-27717" fmla="*/ 10676173 w 10693106"/>
              <a:gd name="connsiteY65-27718" fmla="*/ 1854556 h 5292022"/>
              <a:gd name="connsiteX66-27719" fmla="*/ 10693106 w 10693106"/>
              <a:gd name="connsiteY66-27720" fmla="*/ 2006956 h 5292022"/>
              <a:gd name="connsiteX67-27721" fmla="*/ 10625373 w 10693106"/>
              <a:gd name="connsiteY67-27722" fmla="*/ 2227089 h 5292022"/>
              <a:gd name="connsiteX68-27723" fmla="*/ 10608440 w 10693106"/>
              <a:gd name="connsiteY68-27724" fmla="*/ 2252489 h 5292022"/>
              <a:gd name="connsiteX69-27725" fmla="*/ 10540706 w 10693106"/>
              <a:gd name="connsiteY69-27726" fmla="*/ 2396422 h 5292022"/>
              <a:gd name="connsiteX70-27727" fmla="*/ 10498373 w 10693106"/>
              <a:gd name="connsiteY70-27728" fmla="*/ 2481089 h 5292022"/>
              <a:gd name="connsiteX71-27729" fmla="*/ 10439106 w 10693106"/>
              <a:gd name="connsiteY71-27730" fmla="*/ 2667356 h 5292022"/>
              <a:gd name="connsiteX72-27731" fmla="*/ 10430640 w 10693106"/>
              <a:gd name="connsiteY72-27732" fmla="*/ 2709689 h 5292022"/>
              <a:gd name="connsiteX73-27733" fmla="*/ 10405240 w 10693106"/>
              <a:gd name="connsiteY73-27734" fmla="*/ 2785889 h 5292022"/>
              <a:gd name="connsiteX74-27735" fmla="*/ 10396773 w 10693106"/>
              <a:gd name="connsiteY74-27736" fmla="*/ 2819756 h 5292022"/>
              <a:gd name="connsiteX75-27737" fmla="*/ 10362906 w 10693106"/>
              <a:gd name="connsiteY75-27738" fmla="*/ 2912889 h 5292022"/>
              <a:gd name="connsiteX76-27739" fmla="*/ 10329040 w 10693106"/>
              <a:gd name="connsiteY76-27740" fmla="*/ 2955222 h 5292022"/>
              <a:gd name="connsiteX77-27741" fmla="*/ 10227440 w 10693106"/>
              <a:gd name="connsiteY77-27742" fmla="*/ 3056822 h 5292022"/>
              <a:gd name="connsiteX78-27743" fmla="*/ 10168173 w 10693106"/>
              <a:gd name="connsiteY78-27744" fmla="*/ 3124556 h 5292022"/>
              <a:gd name="connsiteX79-27745" fmla="*/ 10117373 w 10693106"/>
              <a:gd name="connsiteY79-27746" fmla="*/ 3175356 h 5292022"/>
              <a:gd name="connsiteX80-27747" fmla="*/ 10032706 w 10693106"/>
              <a:gd name="connsiteY80-27748" fmla="*/ 3276956 h 5292022"/>
              <a:gd name="connsiteX81-27749" fmla="*/ 9948040 w 10693106"/>
              <a:gd name="connsiteY81-27750" fmla="*/ 3336222 h 5292022"/>
              <a:gd name="connsiteX82-27751" fmla="*/ 9905706 w 10693106"/>
              <a:gd name="connsiteY82-27752" fmla="*/ 3361622 h 5292022"/>
              <a:gd name="connsiteX83-27753" fmla="*/ 9829506 w 10693106"/>
              <a:gd name="connsiteY83-27754" fmla="*/ 3378556 h 5292022"/>
              <a:gd name="connsiteX84-27755" fmla="*/ 9727906 w 10693106"/>
              <a:gd name="connsiteY84-27756" fmla="*/ 3420889 h 5292022"/>
              <a:gd name="connsiteX85-27757" fmla="*/ 9634773 w 10693106"/>
              <a:gd name="connsiteY85-27758" fmla="*/ 3446289 h 5292022"/>
              <a:gd name="connsiteX86-27759" fmla="*/ 9456973 w 10693106"/>
              <a:gd name="connsiteY86-27760" fmla="*/ 3539422 h 5292022"/>
              <a:gd name="connsiteX87-27761" fmla="*/ 9313040 w 10693106"/>
              <a:gd name="connsiteY87-27762" fmla="*/ 3666422 h 5292022"/>
              <a:gd name="connsiteX88-27763" fmla="*/ 9279173 w 10693106"/>
              <a:gd name="connsiteY88-27764" fmla="*/ 3683356 h 5292022"/>
              <a:gd name="connsiteX89-27765" fmla="*/ 9067506 w 10693106"/>
              <a:gd name="connsiteY89-27766" fmla="*/ 3861156 h 5292022"/>
              <a:gd name="connsiteX90-27767" fmla="*/ 8999773 w 10693106"/>
              <a:gd name="connsiteY90-27768" fmla="*/ 3928889 h 5292022"/>
              <a:gd name="connsiteX91-27769" fmla="*/ 8813506 w 10693106"/>
              <a:gd name="connsiteY91-27770" fmla="*/ 4064356 h 5292022"/>
              <a:gd name="connsiteX92-27771" fmla="*/ 8728840 w 10693106"/>
              <a:gd name="connsiteY92-27772" fmla="*/ 4106689 h 5292022"/>
              <a:gd name="connsiteX93-27773" fmla="*/ 8373240 w 10693106"/>
              <a:gd name="connsiteY93-27774" fmla="*/ 4140556 h 5292022"/>
              <a:gd name="connsiteX94-27775" fmla="*/ 7966840 w 10693106"/>
              <a:gd name="connsiteY94-27776" fmla="*/ 4233689 h 5292022"/>
              <a:gd name="connsiteX95-27777" fmla="*/ 7687440 w 10693106"/>
              <a:gd name="connsiteY95-27778" fmla="*/ 4394556 h 5292022"/>
              <a:gd name="connsiteX96-27779" fmla="*/ 7551973 w 10693106"/>
              <a:gd name="connsiteY96-27780" fmla="*/ 4479222 h 5292022"/>
              <a:gd name="connsiteX97-27781" fmla="*/ 7374173 w 10693106"/>
              <a:gd name="connsiteY97-27782" fmla="*/ 4657022 h 5292022"/>
              <a:gd name="connsiteX98-27783" fmla="*/ 7374173 w 10693106"/>
              <a:gd name="connsiteY98-27784" fmla="*/ 4657022 h 5292022"/>
              <a:gd name="connsiteX99-27785" fmla="*/ 7221773 w 10693106"/>
              <a:gd name="connsiteY99-27786" fmla="*/ 4775556 h 5292022"/>
              <a:gd name="connsiteX100-27787" fmla="*/ 7027040 w 10693106"/>
              <a:gd name="connsiteY100-27788" fmla="*/ 4902556 h 5292022"/>
              <a:gd name="connsiteX101-27789" fmla="*/ 6883106 w 10693106"/>
              <a:gd name="connsiteY101-27790" fmla="*/ 4970289 h 5292022"/>
              <a:gd name="connsiteX102-27791" fmla="*/ 6815373 w 10693106"/>
              <a:gd name="connsiteY102-27792" fmla="*/ 5012622 h 5292022"/>
              <a:gd name="connsiteX103-27793" fmla="*/ 6646040 w 10693106"/>
              <a:gd name="connsiteY103-27794" fmla="*/ 5105756 h 5292022"/>
              <a:gd name="connsiteX104-27795" fmla="*/ 6527506 w 10693106"/>
              <a:gd name="connsiteY104-27796" fmla="*/ 5165022 h 5292022"/>
              <a:gd name="connsiteX105-27797" fmla="*/ 6298906 w 10693106"/>
              <a:gd name="connsiteY105-27798" fmla="*/ 5241222 h 5292022"/>
              <a:gd name="connsiteX106-27799" fmla="*/ 6197306 w 10693106"/>
              <a:gd name="connsiteY106-27800" fmla="*/ 5266622 h 5292022"/>
              <a:gd name="connsiteX107-27801" fmla="*/ 6061840 w 10693106"/>
              <a:gd name="connsiteY107-27802" fmla="*/ 5275089 h 5292022"/>
              <a:gd name="connsiteX108-27803" fmla="*/ 5917906 w 10693106"/>
              <a:gd name="connsiteY108-27804" fmla="*/ 5292022 h 5292022"/>
              <a:gd name="connsiteX109-27805" fmla="*/ 5748573 w 10693106"/>
              <a:gd name="connsiteY109-27806" fmla="*/ 5283556 h 5292022"/>
              <a:gd name="connsiteX110-27807" fmla="*/ 5282906 w 10693106"/>
              <a:gd name="connsiteY110-27808" fmla="*/ 5173489 h 5292022"/>
              <a:gd name="connsiteX111-27809" fmla="*/ 5138973 w 10693106"/>
              <a:gd name="connsiteY111-27810" fmla="*/ 5071889 h 5292022"/>
              <a:gd name="connsiteX112-27811" fmla="*/ 4959480 w 10693106"/>
              <a:gd name="connsiteY112-27812" fmla="*/ 4988069 h 5292022"/>
              <a:gd name="connsiteX113-27813" fmla="*/ 4842216 w 10693106"/>
              <a:gd name="connsiteY113-27814" fmla="*/ 4953779 h 5292022"/>
              <a:gd name="connsiteX114-27815" fmla="*/ 4797343 w 10693106"/>
              <a:gd name="connsiteY114-27816" fmla="*/ 4878426 h 5292022"/>
              <a:gd name="connsiteX115-27817" fmla="*/ 4686853 w 10693106"/>
              <a:gd name="connsiteY115-27818" fmla="*/ 4788256 h 5292022"/>
              <a:gd name="connsiteX116-27819" fmla="*/ 4536146 w 10693106"/>
              <a:gd name="connsiteY116-27820" fmla="*/ 4712902 h 5292022"/>
              <a:gd name="connsiteX117-27821" fmla="*/ 4365120 w 10693106"/>
              <a:gd name="connsiteY117-27822" fmla="*/ 4616382 h 5292022"/>
              <a:gd name="connsiteX118-27823" fmla="*/ 4187743 w 10693106"/>
              <a:gd name="connsiteY118-27824" fmla="*/ 4521556 h 5292022"/>
              <a:gd name="connsiteX119-27825" fmla="*/ 4125936 w 10693106"/>
              <a:gd name="connsiteY119-27826" fmla="*/ 4386724 h 5292022"/>
              <a:gd name="connsiteX120-27827" fmla="*/ 3995973 w 10693106"/>
              <a:gd name="connsiteY120-27828" fmla="*/ 4232419 h 5292022"/>
              <a:gd name="connsiteX121-27829" fmla="*/ 3962530 w 10693106"/>
              <a:gd name="connsiteY121-27830" fmla="*/ 4135052 h 5292022"/>
              <a:gd name="connsiteX122-27831" fmla="*/ 3895643 w 10693106"/>
              <a:gd name="connsiteY122-27832" fmla="*/ 4059699 h 5292022"/>
              <a:gd name="connsiteX123-27833" fmla="*/ 3919773 w 10693106"/>
              <a:gd name="connsiteY123-27834" fmla="*/ 3920422 h 5292022"/>
              <a:gd name="connsiteX124-27835" fmla="*/ 3877440 w 10693106"/>
              <a:gd name="connsiteY124-27836" fmla="*/ 3624089 h 5292022"/>
              <a:gd name="connsiteX125-27837" fmla="*/ 3852040 w 10693106"/>
              <a:gd name="connsiteY125-27838" fmla="*/ 3530956 h 5292022"/>
              <a:gd name="connsiteX126-27839" fmla="*/ 3801240 w 10693106"/>
              <a:gd name="connsiteY126-27840" fmla="*/ 3420889 h 5292022"/>
              <a:gd name="connsiteX127-27841" fmla="*/ 3733506 w 10693106"/>
              <a:gd name="connsiteY127-27842" fmla="*/ 3319289 h 5292022"/>
              <a:gd name="connsiteX128-27843" fmla="*/ 3242440 w 10693106"/>
              <a:gd name="connsiteY128-27844" fmla="*/ 3099156 h 5292022"/>
              <a:gd name="connsiteX129-27845" fmla="*/ 3123906 w 10693106"/>
              <a:gd name="connsiteY129-27846" fmla="*/ 2997556 h 5292022"/>
              <a:gd name="connsiteX130-27847" fmla="*/ 2988440 w 10693106"/>
              <a:gd name="connsiteY130-27848" fmla="*/ 2802822 h 5292022"/>
              <a:gd name="connsiteX131-27849" fmla="*/ 2971506 w 10693106"/>
              <a:gd name="connsiteY131-27850" fmla="*/ 2743556 h 5292022"/>
              <a:gd name="connsiteX132-27851" fmla="*/ 2996906 w 10693106"/>
              <a:gd name="connsiteY132-27852" fmla="*/ 2531889 h 5292022"/>
              <a:gd name="connsiteX133-27853" fmla="*/ 3013840 w 10693106"/>
              <a:gd name="connsiteY133-27854" fmla="*/ 2430289 h 5292022"/>
              <a:gd name="connsiteX134-27855" fmla="*/ 3005373 w 10693106"/>
              <a:gd name="connsiteY134-27856" fmla="*/ 2311756 h 5292022"/>
              <a:gd name="connsiteX135-27857" fmla="*/ 2988440 w 10693106"/>
              <a:gd name="connsiteY135-27858" fmla="*/ 2260956 h 5292022"/>
              <a:gd name="connsiteX136-27859" fmla="*/ 2802173 w 10693106"/>
              <a:gd name="connsiteY136-27860" fmla="*/ 2006956 h 5292022"/>
              <a:gd name="connsiteX137-27861" fmla="*/ 2641306 w 10693106"/>
              <a:gd name="connsiteY137-27862" fmla="*/ 1863022 h 5292022"/>
              <a:gd name="connsiteX138-27863" fmla="*/ 2590506 w 10693106"/>
              <a:gd name="connsiteY138-27864" fmla="*/ 1837622 h 5292022"/>
              <a:gd name="connsiteX139-27865" fmla="*/ 2531240 w 10693106"/>
              <a:gd name="connsiteY139-27866" fmla="*/ 1829156 h 5292022"/>
              <a:gd name="connsiteX140-27867" fmla="*/ 2446573 w 10693106"/>
              <a:gd name="connsiteY140-27868" fmla="*/ 1812222 h 5292022"/>
              <a:gd name="connsiteX141-27869" fmla="*/ 2251840 w 10693106"/>
              <a:gd name="connsiteY141-27870" fmla="*/ 1837622 h 5292022"/>
              <a:gd name="connsiteX142-27871" fmla="*/ 2167173 w 10693106"/>
              <a:gd name="connsiteY142-27872" fmla="*/ 1879956 h 5292022"/>
              <a:gd name="connsiteX143-27873" fmla="*/ 1980906 w 10693106"/>
              <a:gd name="connsiteY143-27874" fmla="*/ 1939222 h 5292022"/>
              <a:gd name="connsiteX144-27875" fmla="*/ 1904706 w 10693106"/>
              <a:gd name="connsiteY144-27876" fmla="*/ 1973089 h 5292022"/>
              <a:gd name="connsiteX145-27877" fmla="*/ 1828506 w 10693106"/>
              <a:gd name="connsiteY145-27878" fmla="*/ 1990022 h 5292022"/>
              <a:gd name="connsiteX146-27879" fmla="*/ 1726906 w 10693106"/>
              <a:gd name="connsiteY146-27880" fmla="*/ 2040822 h 5292022"/>
              <a:gd name="connsiteX147-27881" fmla="*/ 1659173 w 10693106"/>
              <a:gd name="connsiteY147-27882" fmla="*/ 2074689 h 5292022"/>
              <a:gd name="connsiteX148-27883" fmla="*/ 1498306 w 10693106"/>
              <a:gd name="connsiteY148-27884" fmla="*/ 2100089 h 5292022"/>
              <a:gd name="connsiteX149-27885" fmla="*/ 914106 w 10693106"/>
              <a:gd name="connsiteY149-27886" fmla="*/ 2032356 h 5292022"/>
              <a:gd name="connsiteX150-27887" fmla="*/ 617773 w 10693106"/>
              <a:gd name="connsiteY150-27888" fmla="*/ 1922289 h 5292022"/>
              <a:gd name="connsiteX151-27889" fmla="*/ 516173 w 10693106"/>
              <a:gd name="connsiteY151-27890" fmla="*/ 1837622 h 5292022"/>
              <a:gd name="connsiteX152-27891" fmla="*/ 355306 w 10693106"/>
              <a:gd name="connsiteY152-27892" fmla="*/ 1625956 h 5292022"/>
              <a:gd name="connsiteX153-27893" fmla="*/ 296040 w 10693106"/>
              <a:gd name="connsiteY153-27894" fmla="*/ 1524356 h 5292022"/>
              <a:gd name="connsiteX154-27895" fmla="*/ 253706 w 10693106"/>
              <a:gd name="connsiteY154-27896" fmla="*/ 1346556 h 5292022"/>
              <a:gd name="connsiteX155-27897" fmla="*/ 245240 w 10693106"/>
              <a:gd name="connsiteY155-27898" fmla="*/ 1219556 h 5292022"/>
              <a:gd name="connsiteX156-27899" fmla="*/ 236773 w 10693106"/>
              <a:gd name="connsiteY156-27900" fmla="*/ 1117956 h 5292022"/>
              <a:gd name="connsiteX157-27901" fmla="*/ 245240 w 10693106"/>
              <a:gd name="connsiteY157-27902" fmla="*/ 847022 h 5292022"/>
              <a:gd name="connsiteX158-27903" fmla="*/ 236773 w 10693106"/>
              <a:gd name="connsiteY158-27904" fmla="*/ 703089 h 5292022"/>
              <a:gd name="connsiteX159-27905" fmla="*/ 109773 w 10693106"/>
              <a:gd name="connsiteY159-27906" fmla="*/ 559156 h 5292022"/>
              <a:gd name="connsiteX160-27907" fmla="*/ 58973 w 10693106"/>
              <a:gd name="connsiteY160-27908" fmla="*/ 482956 h 5292022"/>
              <a:gd name="connsiteX161-27909" fmla="*/ 16640 w 10693106"/>
              <a:gd name="connsiteY161-27910" fmla="*/ 432156 h 5292022"/>
              <a:gd name="connsiteX162-27911" fmla="*/ 8173 w 10693106"/>
              <a:gd name="connsiteY162-27912" fmla="*/ 389822 h 5292022"/>
              <a:gd name="connsiteX163-27913" fmla="*/ 16640 w 10693106"/>
              <a:gd name="connsiteY163-27914" fmla="*/ 339022 h 5292022"/>
              <a:gd name="connsiteX0-27915" fmla="*/ 16640 w 10693106"/>
              <a:gd name="connsiteY0-27916" fmla="*/ 339022 h 5292022"/>
              <a:gd name="connsiteX1-27917" fmla="*/ 58973 w 10693106"/>
              <a:gd name="connsiteY1-27918" fmla="*/ 245889 h 5292022"/>
              <a:gd name="connsiteX2-27919" fmla="*/ 109773 w 10693106"/>
              <a:gd name="connsiteY2-27920" fmla="*/ 178156 h 5292022"/>
              <a:gd name="connsiteX3-27921" fmla="*/ 202906 w 10693106"/>
              <a:gd name="connsiteY3-27922" fmla="*/ 93489 h 5292022"/>
              <a:gd name="connsiteX4-27923" fmla="*/ 236773 w 10693106"/>
              <a:gd name="connsiteY4-27924" fmla="*/ 68089 h 5292022"/>
              <a:gd name="connsiteX5-27925" fmla="*/ 335410 w 10693106"/>
              <a:gd name="connsiteY5-27926" fmla="*/ 58352 h 5292022"/>
              <a:gd name="connsiteX6-27927" fmla="*/ 382400 w 10693106"/>
              <a:gd name="connsiteY6-27928" fmla="*/ 51156 h 5292022"/>
              <a:gd name="connsiteX7-27929" fmla="*/ 434912 w 10693106"/>
              <a:gd name="connsiteY7-27930" fmla="*/ 70071 h 5292022"/>
              <a:gd name="connsiteX8-27931" fmla="*/ 492697 w 10693106"/>
              <a:gd name="connsiteY8-27932" fmla="*/ 74247 h 5292022"/>
              <a:gd name="connsiteX9-27933" fmla="*/ 822897 w 10693106"/>
              <a:gd name="connsiteY9-27934" fmla="*/ 82713 h 5292022"/>
              <a:gd name="connsiteX10-27935" fmla="*/ 1091906 w 10693106"/>
              <a:gd name="connsiteY10-27936" fmla="*/ 356 h 5292022"/>
              <a:gd name="connsiteX11-27937" fmla="*/ 1235840 w 10693106"/>
              <a:gd name="connsiteY11-27938" fmla="*/ 59622 h 5292022"/>
              <a:gd name="connsiteX12-27939" fmla="*/ 1337440 w 10693106"/>
              <a:gd name="connsiteY12-27940" fmla="*/ 135822 h 5292022"/>
              <a:gd name="connsiteX13-27941" fmla="*/ 1422106 w 10693106"/>
              <a:gd name="connsiteY13-27942" fmla="*/ 245889 h 5292022"/>
              <a:gd name="connsiteX14-27943" fmla="*/ 1481373 w 10693106"/>
              <a:gd name="connsiteY14-27944" fmla="*/ 313622 h 5292022"/>
              <a:gd name="connsiteX15-27945" fmla="*/ 1532173 w 10693106"/>
              <a:gd name="connsiteY15-27946" fmla="*/ 347489 h 5292022"/>
              <a:gd name="connsiteX16-27947" fmla="*/ 1684573 w 10693106"/>
              <a:gd name="connsiteY16-27948" fmla="*/ 406756 h 5292022"/>
              <a:gd name="connsiteX17-27949" fmla="*/ 1760773 w 10693106"/>
              <a:gd name="connsiteY17-27950" fmla="*/ 423689 h 5292022"/>
              <a:gd name="connsiteX18-27951" fmla="*/ 1997840 w 10693106"/>
              <a:gd name="connsiteY18-27952" fmla="*/ 415222 h 5292022"/>
              <a:gd name="connsiteX19-27953" fmla="*/ 2116373 w 10693106"/>
              <a:gd name="connsiteY19-27954" fmla="*/ 398289 h 5292022"/>
              <a:gd name="connsiteX20-27955" fmla="*/ 2260306 w 10693106"/>
              <a:gd name="connsiteY20-27956" fmla="*/ 381356 h 5292022"/>
              <a:gd name="connsiteX21-27957" fmla="*/ 2404240 w 10693106"/>
              <a:gd name="connsiteY21-27958" fmla="*/ 355956 h 5292022"/>
              <a:gd name="connsiteX22-27959" fmla="*/ 2455040 w 10693106"/>
              <a:gd name="connsiteY22-27960" fmla="*/ 330556 h 5292022"/>
              <a:gd name="connsiteX23-27961" fmla="*/ 2531240 w 10693106"/>
              <a:gd name="connsiteY23-27962" fmla="*/ 305156 h 5292022"/>
              <a:gd name="connsiteX24-27963" fmla="*/ 2649350 w 10693106"/>
              <a:gd name="connsiteY24-27964" fmla="*/ 225781 h 5292022"/>
              <a:gd name="connsiteX25-27965" fmla="*/ 2742906 w 10693106"/>
              <a:gd name="connsiteY25-27966" fmla="*/ 186622 h 5292022"/>
              <a:gd name="connsiteX26-27967" fmla="*/ 2764920 w 10693106"/>
              <a:gd name="connsiteY26-27968" fmla="*/ 173076 h 5292022"/>
              <a:gd name="connsiteX27-27969" fmla="*/ 2832653 w 10693106"/>
              <a:gd name="connsiteY27-27970" fmla="*/ 167996 h 5292022"/>
              <a:gd name="connsiteX28-27971" fmla="*/ 3002294 w 10693106"/>
              <a:gd name="connsiteY28-27972" fmla="*/ 154680 h 5292022"/>
              <a:gd name="connsiteX29-27973" fmla="*/ 3142763 w 10693106"/>
              <a:gd name="connsiteY29-27974" fmla="*/ 110421 h 5292022"/>
              <a:gd name="connsiteX30-27975" fmla="*/ 3398918 w 10693106"/>
              <a:gd name="connsiteY30-27976" fmla="*/ 72322 h 5292022"/>
              <a:gd name="connsiteX31-27977" fmla="*/ 3606506 w 10693106"/>
              <a:gd name="connsiteY31-27978" fmla="*/ 60393 h 5292022"/>
              <a:gd name="connsiteX32-27979" fmla="*/ 3682706 w 10693106"/>
              <a:gd name="connsiteY32-27980" fmla="*/ 79942 h 5292022"/>
              <a:gd name="connsiteX33-27981" fmla="*/ 3741973 w 10693106"/>
              <a:gd name="connsiteY33-27982" fmla="*/ 86561 h 5292022"/>
              <a:gd name="connsiteX34-27983" fmla="*/ 3794678 w 10693106"/>
              <a:gd name="connsiteY34-27984" fmla="*/ 101321 h 5292022"/>
              <a:gd name="connsiteX35-27985" fmla="*/ 3833625 w 10693106"/>
              <a:gd name="connsiteY35-27986" fmla="*/ 110846 h 5292022"/>
              <a:gd name="connsiteX36-27987" fmla="*/ 3892487 w 10693106"/>
              <a:gd name="connsiteY36-27988" fmla="*/ 116984 h 5292022"/>
              <a:gd name="connsiteX37-27989" fmla="*/ 3933108 w 10693106"/>
              <a:gd name="connsiteY37-27990" fmla="*/ 128837 h 5292022"/>
              <a:gd name="connsiteX38-27991" fmla="*/ 3976923 w 10693106"/>
              <a:gd name="connsiteY38-27992" fmla="*/ 135187 h 5292022"/>
              <a:gd name="connsiteX39-27993" fmla="*/ 4021373 w 10693106"/>
              <a:gd name="connsiteY39-27994" fmla="*/ 144289 h 5292022"/>
              <a:gd name="connsiteX40-27995" fmla="*/ 4055240 w 10693106"/>
              <a:gd name="connsiteY40-27996" fmla="*/ 152756 h 5292022"/>
              <a:gd name="connsiteX41-27997" fmla="*/ 4275373 w 10693106"/>
              <a:gd name="connsiteY41-27998" fmla="*/ 195089 h 5292022"/>
              <a:gd name="connsiteX42-27999" fmla="*/ 4402373 w 10693106"/>
              <a:gd name="connsiteY42-28000" fmla="*/ 228956 h 5292022"/>
              <a:gd name="connsiteX43-28001" fmla="*/ 4529373 w 10693106"/>
              <a:gd name="connsiteY43-28002" fmla="*/ 271289 h 5292022"/>
              <a:gd name="connsiteX44-28003" fmla="*/ 4859573 w 10693106"/>
              <a:gd name="connsiteY44-28004" fmla="*/ 347489 h 5292022"/>
              <a:gd name="connsiteX45-28005" fmla="*/ 5045840 w 10693106"/>
              <a:gd name="connsiteY45-28006" fmla="*/ 423689 h 5292022"/>
              <a:gd name="connsiteX46-28007" fmla="*/ 5672373 w 10693106"/>
              <a:gd name="connsiteY46-28008" fmla="*/ 931689 h 5292022"/>
              <a:gd name="connsiteX47-28009" fmla="*/ 6839926 w 10693106"/>
              <a:gd name="connsiteY47-28010" fmla="*/ 1252152 h 5292022"/>
              <a:gd name="connsiteX48-28011" fmla="*/ 7703950 w 10693106"/>
              <a:gd name="connsiteY48-28012" fmla="*/ 1069696 h 5292022"/>
              <a:gd name="connsiteX49-28013" fmla="*/ 8652640 w 10693106"/>
              <a:gd name="connsiteY49-28014" fmla="*/ 677689 h 5292022"/>
              <a:gd name="connsiteX50-28015" fmla="*/ 8982840 w 10693106"/>
              <a:gd name="connsiteY50-28016" fmla="*/ 398289 h 5292022"/>
              <a:gd name="connsiteX51-28017" fmla="*/ 9380773 w 10693106"/>
              <a:gd name="connsiteY51-28018" fmla="*/ 355956 h 5292022"/>
              <a:gd name="connsiteX52-28019" fmla="*/ 9744840 w 10693106"/>
              <a:gd name="connsiteY52-28020" fmla="*/ 466022 h 5292022"/>
              <a:gd name="connsiteX53-28021" fmla="*/ 9888773 w 10693106"/>
              <a:gd name="connsiteY53-28022" fmla="*/ 508356 h 5292022"/>
              <a:gd name="connsiteX54-28023" fmla="*/ 9998840 w 10693106"/>
              <a:gd name="connsiteY54-28024" fmla="*/ 559156 h 5292022"/>
              <a:gd name="connsiteX55-28025" fmla="*/ 10083506 w 10693106"/>
              <a:gd name="connsiteY55-28026" fmla="*/ 618422 h 5292022"/>
              <a:gd name="connsiteX56-28027" fmla="*/ 10286706 w 10693106"/>
              <a:gd name="connsiteY56-28028" fmla="*/ 686156 h 5292022"/>
              <a:gd name="connsiteX57-28029" fmla="*/ 10388306 w 10693106"/>
              <a:gd name="connsiteY57-28030" fmla="*/ 889356 h 5292022"/>
              <a:gd name="connsiteX58-28031" fmla="*/ 10540706 w 10693106"/>
              <a:gd name="connsiteY58-28032" fmla="*/ 1261889 h 5292022"/>
              <a:gd name="connsiteX59-28033" fmla="*/ 10557640 w 10693106"/>
              <a:gd name="connsiteY59-28034" fmla="*/ 1346556 h 5292022"/>
              <a:gd name="connsiteX60-28035" fmla="*/ 10583040 w 10693106"/>
              <a:gd name="connsiteY60-28036" fmla="*/ 1448156 h 5292022"/>
              <a:gd name="connsiteX61-28037" fmla="*/ 10616906 w 10693106"/>
              <a:gd name="connsiteY61-28038" fmla="*/ 1651356 h 5292022"/>
              <a:gd name="connsiteX62-28039" fmla="*/ 10633840 w 10693106"/>
              <a:gd name="connsiteY62-28040" fmla="*/ 1736022 h 5292022"/>
              <a:gd name="connsiteX63-28041" fmla="*/ 10650773 w 10693106"/>
              <a:gd name="connsiteY63-28042" fmla="*/ 1769889 h 5292022"/>
              <a:gd name="connsiteX64-28043" fmla="*/ 10676173 w 10693106"/>
              <a:gd name="connsiteY64-28044" fmla="*/ 1854556 h 5292022"/>
              <a:gd name="connsiteX65-28045" fmla="*/ 10693106 w 10693106"/>
              <a:gd name="connsiteY65-28046" fmla="*/ 2006956 h 5292022"/>
              <a:gd name="connsiteX66-28047" fmla="*/ 10625373 w 10693106"/>
              <a:gd name="connsiteY66-28048" fmla="*/ 2227089 h 5292022"/>
              <a:gd name="connsiteX67-28049" fmla="*/ 10608440 w 10693106"/>
              <a:gd name="connsiteY67-28050" fmla="*/ 2252489 h 5292022"/>
              <a:gd name="connsiteX68-28051" fmla="*/ 10540706 w 10693106"/>
              <a:gd name="connsiteY68-28052" fmla="*/ 2396422 h 5292022"/>
              <a:gd name="connsiteX69-28053" fmla="*/ 10498373 w 10693106"/>
              <a:gd name="connsiteY69-28054" fmla="*/ 2481089 h 5292022"/>
              <a:gd name="connsiteX70-28055" fmla="*/ 10439106 w 10693106"/>
              <a:gd name="connsiteY70-28056" fmla="*/ 2667356 h 5292022"/>
              <a:gd name="connsiteX71-28057" fmla="*/ 10430640 w 10693106"/>
              <a:gd name="connsiteY71-28058" fmla="*/ 2709689 h 5292022"/>
              <a:gd name="connsiteX72-28059" fmla="*/ 10405240 w 10693106"/>
              <a:gd name="connsiteY72-28060" fmla="*/ 2785889 h 5292022"/>
              <a:gd name="connsiteX73-28061" fmla="*/ 10396773 w 10693106"/>
              <a:gd name="connsiteY73-28062" fmla="*/ 2819756 h 5292022"/>
              <a:gd name="connsiteX74-28063" fmla="*/ 10362906 w 10693106"/>
              <a:gd name="connsiteY74-28064" fmla="*/ 2912889 h 5292022"/>
              <a:gd name="connsiteX75-28065" fmla="*/ 10329040 w 10693106"/>
              <a:gd name="connsiteY75-28066" fmla="*/ 2955222 h 5292022"/>
              <a:gd name="connsiteX76-28067" fmla="*/ 10227440 w 10693106"/>
              <a:gd name="connsiteY76-28068" fmla="*/ 3056822 h 5292022"/>
              <a:gd name="connsiteX77-28069" fmla="*/ 10168173 w 10693106"/>
              <a:gd name="connsiteY77-28070" fmla="*/ 3124556 h 5292022"/>
              <a:gd name="connsiteX78-28071" fmla="*/ 10117373 w 10693106"/>
              <a:gd name="connsiteY78-28072" fmla="*/ 3175356 h 5292022"/>
              <a:gd name="connsiteX79-28073" fmla="*/ 10032706 w 10693106"/>
              <a:gd name="connsiteY79-28074" fmla="*/ 3276956 h 5292022"/>
              <a:gd name="connsiteX80-28075" fmla="*/ 9948040 w 10693106"/>
              <a:gd name="connsiteY80-28076" fmla="*/ 3336222 h 5292022"/>
              <a:gd name="connsiteX81-28077" fmla="*/ 9905706 w 10693106"/>
              <a:gd name="connsiteY81-28078" fmla="*/ 3361622 h 5292022"/>
              <a:gd name="connsiteX82-28079" fmla="*/ 9829506 w 10693106"/>
              <a:gd name="connsiteY82-28080" fmla="*/ 3378556 h 5292022"/>
              <a:gd name="connsiteX83-28081" fmla="*/ 9727906 w 10693106"/>
              <a:gd name="connsiteY83-28082" fmla="*/ 3420889 h 5292022"/>
              <a:gd name="connsiteX84-28083" fmla="*/ 9634773 w 10693106"/>
              <a:gd name="connsiteY84-28084" fmla="*/ 3446289 h 5292022"/>
              <a:gd name="connsiteX85-28085" fmla="*/ 9456973 w 10693106"/>
              <a:gd name="connsiteY85-28086" fmla="*/ 3539422 h 5292022"/>
              <a:gd name="connsiteX86-28087" fmla="*/ 9313040 w 10693106"/>
              <a:gd name="connsiteY86-28088" fmla="*/ 3666422 h 5292022"/>
              <a:gd name="connsiteX87-28089" fmla="*/ 9279173 w 10693106"/>
              <a:gd name="connsiteY87-28090" fmla="*/ 3683356 h 5292022"/>
              <a:gd name="connsiteX88-28091" fmla="*/ 9067506 w 10693106"/>
              <a:gd name="connsiteY88-28092" fmla="*/ 3861156 h 5292022"/>
              <a:gd name="connsiteX89-28093" fmla="*/ 8999773 w 10693106"/>
              <a:gd name="connsiteY89-28094" fmla="*/ 3928889 h 5292022"/>
              <a:gd name="connsiteX90-28095" fmla="*/ 8813506 w 10693106"/>
              <a:gd name="connsiteY90-28096" fmla="*/ 4064356 h 5292022"/>
              <a:gd name="connsiteX91-28097" fmla="*/ 8728840 w 10693106"/>
              <a:gd name="connsiteY91-28098" fmla="*/ 4106689 h 5292022"/>
              <a:gd name="connsiteX92-28099" fmla="*/ 8373240 w 10693106"/>
              <a:gd name="connsiteY92-28100" fmla="*/ 4140556 h 5292022"/>
              <a:gd name="connsiteX93-28101" fmla="*/ 7966840 w 10693106"/>
              <a:gd name="connsiteY93-28102" fmla="*/ 4233689 h 5292022"/>
              <a:gd name="connsiteX94-28103" fmla="*/ 7687440 w 10693106"/>
              <a:gd name="connsiteY94-28104" fmla="*/ 4394556 h 5292022"/>
              <a:gd name="connsiteX95-28105" fmla="*/ 7551973 w 10693106"/>
              <a:gd name="connsiteY95-28106" fmla="*/ 4479222 h 5292022"/>
              <a:gd name="connsiteX96-28107" fmla="*/ 7374173 w 10693106"/>
              <a:gd name="connsiteY96-28108" fmla="*/ 4657022 h 5292022"/>
              <a:gd name="connsiteX97-28109" fmla="*/ 7374173 w 10693106"/>
              <a:gd name="connsiteY97-28110" fmla="*/ 4657022 h 5292022"/>
              <a:gd name="connsiteX98-28111" fmla="*/ 7221773 w 10693106"/>
              <a:gd name="connsiteY98-28112" fmla="*/ 4775556 h 5292022"/>
              <a:gd name="connsiteX99-28113" fmla="*/ 7027040 w 10693106"/>
              <a:gd name="connsiteY99-28114" fmla="*/ 4902556 h 5292022"/>
              <a:gd name="connsiteX100-28115" fmla="*/ 6883106 w 10693106"/>
              <a:gd name="connsiteY100-28116" fmla="*/ 4970289 h 5292022"/>
              <a:gd name="connsiteX101-28117" fmla="*/ 6815373 w 10693106"/>
              <a:gd name="connsiteY101-28118" fmla="*/ 5012622 h 5292022"/>
              <a:gd name="connsiteX102-28119" fmla="*/ 6646040 w 10693106"/>
              <a:gd name="connsiteY102-28120" fmla="*/ 5105756 h 5292022"/>
              <a:gd name="connsiteX103-28121" fmla="*/ 6527506 w 10693106"/>
              <a:gd name="connsiteY103-28122" fmla="*/ 5165022 h 5292022"/>
              <a:gd name="connsiteX104-28123" fmla="*/ 6298906 w 10693106"/>
              <a:gd name="connsiteY104-28124" fmla="*/ 5241222 h 5292022"/>
              <a:gd name="connsiteX105-28125" fmla="*/ 6197306 w 10693106"/>
              <a:gd name="connsiteY105-28126" fmla="*/ 5266622 h 5292022"/>
              <a:gd name="connsiteX106-28127" fmla="*/ 6061840 w 10693106"/>
              <a:gd name="connsiteY106-28128" fmla="*/ 5275089 h 5292022"/>
              <a:gd name="connsiteX107-28129" fmla="*/ 5917906 w 10693106"/>
              <a:gd name="connsiteY107-28130" fmla="*/ 5292022 h 5292022"/>
              <a:gd name="connsiteX108-28131" fmla="*/ 5748573 w 10693106"/>
              <a:gd name="connsiteY108-28132" fmla="*/ 5283556 h 5292022"/>
              <a:gd name="connsiteX109-28133" fmla="*/ 5282906 w 10693106"/>
              <a:gd name="connsiteY109-28134" fmla="*/ 5173489 h 5292022"/>
              <a:gd name="connsiteX110-28135" fmla="*/ 5138973 w 10693106"/>
              <a:gd name="connsiteY110-28136" fmla="*/ 5071889 h 5292022"/>
              <a:gd name="connsiteX111-28137" fmla="*/ 4959480 w 10693106"/>
              <a:gd name="connsiteY111-28138" fmla="*/ 4988069 h 5292022"/>
              <a:gd name="connsiteX112-28139" fmla="*/ 4842216 w 10693106"/>
              <a:gd name="connsiteY112-28140" fmla="*/ 4953779 h 5292022"/>
              <a:gd name="connsiteX113-28141" fmla="*/ 4797343 w 10693106"/>
              <a:gd name="connsiteY113-28142" fmla="*/ 4878426 h 5292022"/>
              <a:gd name="connsiteX114-28143" fmla="*/ 4686853 w 10693106"/>
              <a:gd name="connsiteY114-28144" fmla="*/ 4788256 h 5292022"/>
              <a:gd name="connsiteX115-28145" fmla="*/ 4536146 w 10693106"/>
              <a:gd name="connsiteY115-28146" fmla="*/ 4712902 h 5292022"/>
              <a:gd name="connsiteX116-28147" fmla="*/ 4365120 w 10693106"/>
              <a:gd name="connsiteY116-28148" fmla="*/ 4616382 h 5292022"/>
              <a:gd name="connsiteX117-28149" fmla="*/ 4187743 w 10693106"/>
              <a:gd name="connsiteY117-28150" fmla="*/ 4521556 h 5292022"/>
              <a:gd name="connsiteX118-28151" fmla="*/ 4125936 w 10693106"/>
              <a:gd name="connsiteY118-28152" fmla="*/ 4386724 h 5292022"/>
              <a:gd name="connsiteX119-28153" fmla="*/ 3995973 w 10693106"/>
              <a:gd name="connsiteY119-28154" fmla="*/ 4232419 h 5292022"/>
              <a:gd name="connsiteX120-28155" fmla="*/ 3962530 w 10693106"/>
              <a:gd name="connsiteY120-28156" fmla="*/ 4135052 h 5292022"/>
              <a:gd name="connsiteX121-28157" fmla="*/ 3895643 w 10693106"/>
              <a:gd name="connsiteY121-28158" fmla="*/ 4059699 h 5292022"/>
              <a:gd name="connsiteX122-28159" fmla="*/ 3919773 w 10693106"/>
              <a:gd name="connsiteY122-28160" fmla="*/ 3920422 h 5292022"/>
              <a:gd name="connsiteX123-28161" fmla="*/ 3877440 w 10693106"/>
              <a:gd name="connsiteY123-28162" fmla="*/ 3624089 h 5292022"/>
              <a:gd name="connsiteX124-28163" fmla="*/ 3852040 w 10693106"/>
              <a:gd name="connsiteY124-28164" fmla="*/ 3530956 h 5292022"/>
              <a:gd name="connsiteX125-28165" fmla="*/ 3801240 w 10693106"/>
              <a:gd name="connsiteY125-28166" fmla="*/ 3420889 h 5292022"/>
              <a:gd name="connsiteX126-28167" fmla="*/ 3733506 w 10693106"/>
              <a:gd name="connsiteY126-28168" fmla="*/ 3319289 h 5292022"/>
              <a:gd name="connsiteX127-28169" fmla="*/ 3242440 w 10693106"/>
              <a:gd name="connsiteY127-28170" fmla="*/ 3099156 h 5292022"/>
              <a:gd name="connsiteX128-28171" fmla="*/ 3123906 w 10693106"/>
              <a:gd name="connsiteY128-28172" fmla="*/ 2997556 h 5292022"/>
              <a:gd name="connsiteX129-28173" fmla="*/ 2988440 w 10693106"/>
              <a:gd name="connsiteY129-28174" fmla="*/ 2802822 h 5292022"/>
              <a:gd name="connsiteX130-28175" fmla="*/ 2971506 w 10693106"/>
              <a:gd name="connsiteY130-28176" fmla="*/ 2743556 h 5292022"/>
              <a:gd name="connsiteX131-28177" fmla="*/ 2996906 w 10693106"/>
              <a:gd name="connsiteY131-28178" fmla="*/ 2531889 h 5292022"/>
              <a:gd name="connsiteX132-28179" fmla="*/ 3013840 w 10693106"/>
              <a:gd name="connsiteY132-28180" fmla="*/ 2430289 h 5292022"/>
              <a:gd name="connsiteX133-28181" fmla="*/ 3005373 w 10693106"/>
              <a:gd name="connsiteY133-28182" fmla="*/ 2311756 h 5292022"/>
              <a:gd name="connsiteX134-28183" fmla="*/ 2988440 w 10693106"/>
              <a:gd name="connsiteY134-28184" fmla="*/ 2260956 h 5292022"/>
              <a:gd name="connsiteX135-28185" fmla="*/ 2802173 w 10693106"/>
              <a:gd name="connsiteY135-28186" fmla="*/ 2006956 h 5292022"/>
              <a:gd name="connsiteX136-28187" fmla="*/ 2641306 w 10693106"/>
              <a:gd name="connsiteY136-28188" fmla="*/ 1863022 h 5292022"/>
              <a:gd name="connsiteX137-28189" fmla="*/ 2590506 w 10693106"/>
              <a:gd name="connsiteY137-28190" fmla="*/ 1837622 h 5292022"/>
              <a:gd name="connsiteX138-28191" fmla="*/ 2531240 w 10693106"/>
              <a:gd name="connsiteY138-28192" fmla="*/ 1829156 h 5292022"/>
              <a:gd name="connsiteX139-28193" fmla="*/ 2446573 w 10693106"/>
              <a:gd name="connsiteY139-28194" fmla="*/ 1812222 h 5292022"/>
              <a:gd name="connsiteX140-28195" fmla="*/ 2251840 w 10693106"/>
              <a:gd name="connsiteY140-28196" fmla="*/ 1837622 h 5292022"/>
              <a:gd name="connsiteX141-28197" fmla="*/ 2167173 w 10693106"/>
              <a:gd name="connsiteY141-28198" fmla="*/ 1879956 h 5292022"/>
              <a:gd name="connsiteX142-28199" fmla="*/ 1980906 w 10693106"/>
              <a:gd name="connsiteY142-28200" fmla="*/ 1939222 h 5292022"/>
              <a:gd name="connsiteX143-28201" fmla="*/ 1904706 w 10693106"/>
              <a:gd name="connsiteY143-28202" fmla="*/ 1973089 h 5292022"/>
              <a:gd name="connsiteX144-28203" fmla="*/ 1828506 w 10693106"/>
              <a:gd name="connsiteY144-28204" fmla="*/ 1990022 h 5292022"/>
              <a:gd name="connsiteX145-28205" fmla="*/ 1726906 w 10693106"/>
              <a:gd name="connsiteY145-28206" fmla="*/ 2040822 h 5292022"/>
              <a:gd name="connsiteX146-28207" fmla="*/ 1659173 w 10693106"/>
              <a:gd name="connsiteY146-28208" fmla="*/ 2074689 h 5292022"/>
              <a:gd name="connsiteX147-28209" fmla="*/ 1498306 w 10693106"/>
              <a:gd name="connsiteY147-28210" fmla="*/ 2100089 h 5292022"/>
              <a:gd name="connsiteX148-28211" fmla="*/ 914106 w 10693106"/>
              <a:gd name="connsiteY148-28212" fmla="*/ 2032356 h 5292022"/>
              <a:gd name="connsiteX149-28213" fmla="*/ 617773 w 10693106"/>
              <a:gd name="connsiteY149-28214" fmla="*/ 1922289 h 5292022"/>
              <a:gd name="connsiteX150-28215" fmla="*/ 516173 w 10693106"/>
              <a:gd name="connsiteY150-28216" fmla="*/ 1837622 h 5292022"/>
              <a:gd name="connsiteX151-28217" fmla="*/ 355306 w 10693106"/>
              <a:gd name="connsiteY151-28218" fmla="*/ 1625956 h 5292022"/>
              <a:gd name="connsiteX152-28219" fmla="*/ 296040 w 10693106"/>
              <a:gd name="connsiteY152-28220" fmla="*/ 1524356 h 5292022"/>
              <a:gd name="connsiteX153-28221" fmla="*/ 253706 w 10693106"/>
              <a:gd name="connsiteY153-28222" fmla="*/ 1346556 h 5292022"/>
              <a:gd name="connsiteX154-28223" fmla="*/ 245240 w 10693106"/>
              <a:gd name="connsiteY154-28224" fmla="*/ 1219556 h 5292022"/>
              <a:gd name="connsiteX155-28225" fmla="*/ 236773 w 10693106"/>
              <a:gd name="connsiteY155-28226" fmla="*/ 1117956 h 5292022"/>
              <a:gd name="connsiteX156-28227" fmla="*/ 245240 w 10693106"/>
              <a:gd name="connsiteY156-28228" fmla="*/ 847022 h 5292022"/>
              <a:gd name="connsiteX157-28229" fmla="*/ 236773 w 10693106"/>
              <a:gd name="connsiteY157-28230" fmla="*/ 703089 h 5292022"/>
              <a:gd name="connsiteX158-28231" fmla="*/ 109773 w 10693106"/>
              <a:gd name="connsiteY158-28232" fmla="*/ 559156 h 5292022"/>
              <a:gd name="connsiteX159-28233" fmla="*/ 58973 w 10693106"/>
              <a:gd name="connsiteY159-28234" fmla="*/ 482956 h 5292022"/>
              <a:gd name="connsiteX160-28235" fmla="*/ 16640 w 10693106"/>
              <a:gd name="connsiteY160-28236" fmla="*/ 432156 h 5292022"/>
              <a:gd name="connsiteX161-28237" fmla="*/ 8173 w 10693106"/>
              <a:gd name="connsiteY161-28238" fmla="*/ 389822 h 5292022"/>
              <a:gd name="connsiteX162-28239" fmla="*/ 16640 w 10693106"/>
              <a:gd name="connsiteY162-28240" fmla="*/ 339022 h 5292022"/>
              <a:gd name="connsiteX0-28241" fmla="*/ 16640 w 10693106"/>
              <a:gd name="connsiteY0-28242" fmla="*/ 339022 h 5292022"/>
              <a:gd name="connsiteX1-28243" fmla="*/ 58973 w 10693106"/>
              <a:gd name="connsiteY1-28244" fmla="*/ 245889 h 5292022"/>
              <a:gd name="connsiteX2-28245" fmla="*/ 109773 w 10693106"/>
              <a:gd name="connsiteY2-28246" fmla="*/ 178156 h 5292022"/>
              <a:gd name="connsiteX3-28247" fmla="*/ 202906 w 10693106"/>
              <a:gd name="connsiteY3-28248" fmla="*/ 93489 h 5292022"/>
              <a:gd name="connsiteX4-28249" fmla="*/ 236773 w 10693106"/>
              <a:gd name="connsiteY4-28250" fmla="*/ 68089 h 5292022"/>
              <a:gd name="connsiteX5-28251" fmla="*/ 335410 w 10693106"/>
              <a:gd name="connsiteY5-28252" fmla="*/ 58352 h 5292022"/>
              <a:gd name="connsiteX6-28253" fmla="*/ 382400 w 10693106"/>
              <a:gd name="connsiteY6-28254" fmla="*/ 51156 h 5292022"/>
              <a:gd name="connsiteX7-28255" fmla="*/ 434912 w 10693106"/>
              <a:gd name="connsiteY7-28256" fmla="*/ 70071 h 5292022"/>
              <a:gd name="connsiteX8-28257" fmla="*/ 492697 w 10693106"/>
              <a:gd name="connsiteY8-28258" fmla="*/ 74247 h 5292022"/>
              <a:gd name="connsiteX9-28259" fmla="*/ 822897 w 10693106"/>
              <a:gd name="connsiteY9-28260" fmla="*/ 82713 h 5292022"/>
              <a:gd name="connsiteX10-28261" fmla="*/ 1091906 w 10693106"/>
              <a:gd name="connsiteY10-28262" fmla="*/ 356 h 5292022"/>
              <a:gd name="connsiteX11-28263" fmla="*/ 1235840 w 10693106"/>
              <a:gd name="connsiteY11-28264" fmla="*/ 59622 h 5292022"/>
              <a:gd name="connsiteX12-28265" fmla="*/ 1337440 w 10693106"/>
              <a:gd name="connsiteY12-28266" fmla="*/ 135822 h 5292022"/>
              <a:gd name="connsiteX13-28267" fmla="*/ 1422106 w 10693106"/>
              <a:gd name="connsiteY13-28268" fmla="*/ 245889 h 5292022"/>
              <a:gd name="connsiteX14-28269" fmla="*/ 1481373 w 10693106"/>
              <a:gd name="connsiteY14-28270" fmla="*/ 313622 h 5292022"/>
              <a:gd name="connsiteX15-28271" fmla="*/ 1532173 w 10693106"/>
              <a:gd name="connsiteY15-28272" fmla="*/ 347489 h 5292022"/>
              <a:gd name="connsiteX16-28273" fmla="*/ 1684573 w 10693106"/>
              <a:gd name="connsiteY16-28274" fmla="*/ 406756 h 5292022"/>
              <a:gd name="connsiteX17-28275" fmla="*/ 1760773 w 10693106"/>
              <a:gd name="connsiteY17-28276" fmla="*/ 423689 h 5292022"/>
              <a:gd name="connsiteX18-28277" fmla="*/ 1997840 w 10693106"/>
              <a:gd name="connsiteY18-28278" fmla="*/ 415222 h 5292022"/>
              <a:gd name="connsiteX19-28279" fmla="*/ 2116373 w 10693106"/>
              <a:gd name="connsiteY19-28280" fmla="*/ 398289 h 5292022"/>
              <a:gd name="connsiteX20-28281" fmla="*/ 2260306 w 10693106"/>
              <a:gd name="connsiteY20-28282" fmla="*/ 381356 h 5292022"/>
              <a:gd name="connsiteX21-28283" fmla="*/ 2404240 w 10693106"/>
              <a:gd name="connsiteY21-28284" fmla="*/ 355956 h 5292022"/>
              <a:gd name="connsiteX22-28285" fmla="*/ 2455040 w 10693106"/>
              <a:gd name="connsiteY22-28286" fmla="*/ 330556 h 5292022"/>
              <a:gd name="connsiteX23-28287" fmla="*/ 2531240 w 10693106"/>
              <a:gd name="connsiteY23-28288" fmla="*/ 305156 h 5292022"/>
              <a:gd name="connsiteX24-28289" fmla="*/ 2649350 w 10693106"/>
              <a:gd name="connsiteY24-28290" fmla="*/ 225781 h 5292022"/>
              <a:gd name="connsiteX25-28291" fmla="*/ 2742906 w 10693106"/>
              <a:gd name="connsiteY25-28292" fmla="*/ 186622 h 5292022"/>
              <a:gd name="connsiteX26-28293" fmla="*/ 2764920 w 10693106"/>
              <a:gd name="connsiteY26-28294" fmla="*/ 173076 h 5292022"/>
              <a:gd name="connsiteX27-28295" fmla="*/ 2832653 w 10693106"/>
              <a:gd name="connsiteY27-28296" fmla="*/ 167996 h 5292022"/>
              <a:gd name="connsiteX28-28297" fmla="*/ 3002294 w 10693106"/>
              <a:gd name="connsiteY28-28298" fmla="*/ 154680 h 5292022"/>
              <a:gd name="connsiteX29-28299" fmla="*/ 3142763 w 10693106"/>
              <a:gd name="connsiteY29-28300" fmla="*/ 110421 h 5292022"/>
              <a:gd name="connsiteX30-28301" fmla="*/ 3398918 w 10693106"/>
              <a:gd name="connsiteY30-28302" fmla="*/ 72322 h 5292022"/>
              <a:gd name="connsiteX31-28303" fmla="*/ 3606506 w 10693106"/>
              <a:gd name="connsiteY31-28304" fmla="*/ 60393 h 5292022"/>
              <a:gd name="connsiteX32-28305" fmla="*/ 3682706 w 10693106"/>
              <a:gd name="connsiteY32-28306" fmla="*/ 79942 h 5292022"/>
              <a:gd name="connsiteX33-28307" fmla="*/ 3741973 w 10693106"/>
              <a:gd name="connsiteY33-28308" fmla="*/ 86561 h 5292022"/>
              <a:gd name="connsiteX34-28309" fmla="*/ 3794678 w 10693106"/>
              <a:gd name="connsiteY34-28310" fmla="*/ 101321 h 5292022"/>
              <a:gd name="connsiteX35-28311" fmla="*/ 3833625 w 10693106"/>
              <a:gd name="connsiteY35-28312" fmla="*/ 110846 h 5292022"/>
              <a:gd name="connsiteX36-28313" fmla="*/ 3892487 w 10693106"/>
              <a:gd name="connsiteY36-28314" fmla="*/ 116984 h 5292022"/>
              <a:gd name="connsiteX37-28315" fmla="*/ 3933108 w 10693106"/>
              <a:gd name="connsiteY37-28316" fmla="*/ 128837 h 5292022"/>
              <a:gd name="connsiteX38-28317" fmla="*/ 3976923 w 10693106"/>
              <a:gd name="connsiteY38-28318" fmla="*/ 135187 h 5292022"/>
              <a:gd name="connsiteX39-28319" fmla="*/ 4021373 w 10693106"/>
              <a:gd name="connsiteY39-28320" fmla="*/ 144289 h 5292022"/>
              <a:gd name="connsiteX40-28321" fmla="*/ 4055240 w 10693106"/>
              <a:gd name="connsiteY40-28322" fmla="*/ 152756 h 5292022"/>
              <a:gd name="connsiteX41-28323" fmla="*/ 4275373 w 10693106"/>
              <a:gd name="connsiteY41-28324" fmla="*/ 195089 h 5292022"/>
              <a:gd name="connsiteX42-28325" fmla="*/ 4402373 w 10693106"/>
              <a:gd name="connsiteY42-28326" fmla="*/ 228956 h 5292022"/>
              <a:gd name="connsiteX43-28327" fmla="*/ 4529373 w 10693106"/>
              <a:gd name="connsiteY43-28328" fmla="*/ 271289 h 5292022"/>
              <a:gd name="connsiteX44-28329" fmla="*/ 5045840 w 10693106"/>
              <a:gd name="connsiteY44-28330" fmla="*/ 423689 h 5292022"/>
              <a:gd name="connsiteX45-28331" fmla="*/ 5672373 w 10693106"/>
              <a:gd name="connsiteY45-28332" fmla="*/ 931689 h 5292022"/>
              <a:gd name="connsiteX46-28333" fmla="*/ 6839926 w 10693106"/>
              <a:gd name="connsiteY46-28334" fmla="*/ 1252152 h 5292022"/>
              <a:gd name="connsiteX47-28335" fmla="*/ 7703950 w 10693106"/>
              <a:gd name="connsiteY47-28336" fmla="*/ 1069696 h 5292022"/>
              <a:gd name="connsiteX48-28337" fmla="*/ 8652640 w 10693106"/>
              <a:gd name="connsiteY48-28338" fmla="*/ 677689 h 5292022"/>
              <a:gd name="connsiteX49-28339" fmla="*/ 8982840 w 10693106"/>
              <a:gd name="connsiteY49-28340" fmla="*/ 398289 h 5292022"/>
              <a:gd name="connsiteX50-28341" fmla="*/ 9380773 w 10693106"/>
              <a:gd name="connsiteY50-28342" fmla="*/ 355956 h 5292022"/>
              <a:gd name="connsiteX51-28343" fmla="*/ 9744840 w 10693106"/>
              <a:gd name="connsiteY51-28344" fmla="*/ 466022 h 5292022"/>
              <a:gd name="connsiteX52-28345" fmla="*/ 9888773 w 10693106"/>
              <a:gd name="connsiteY52-28346" fmla="*/ 508356 h 5292022"/>
              <a:gd name="connsiteX53-28347" fmla="*/ 9998840 w 10693106"/>
              <a:gd name="connsiteY53-28348" fmla="*/ 559156 h 5292022"/>
              <a:gd name="connsiteX54-28349" fmla="*/ 10083506 w 10693106"/>
              <a:gd name="connsiteY54-28350" fmla="*/ 618422 h 5292022"/>
              <a:gd name="connsiteX55-28351" fmla="*/ 10286706 w 10693106"/>
              <a:gd name="connsiteY55-28352" fmla="*/ 686156 h 5292022"/>
              <a:gd name="connsiteX56-28353" fmla="*/ 10388306 w 10693106"/>
              <a:gd name="connsiteY56-28354" fmla="*/ 889356 h 5292022"/>
              <a:gd name="connsiteX57-28355" fmla="*/ 10540706 w 10693106"/>
              <a:gd name="connsiteY57-28356" fmla="*/ 1261889 h 5292022"/>
              <a:gd name="connsiteX58-28357" fmla="*/ 10557640 w 10693106"/>
              <a:gd name="connsiteY58-28358" fmla="*/ 1346556 h 5292022"/>
              <a:gd name="connsiteX59-28359" fmla="*/ 10583040 w 10693106"/>
              <a:gd name="connsiteY59-28360" fmla="*/ 1448156 h 5292022"/>
              <a:gd name="connsiteX60-28361" fmla="*/ 10616906 w 10693106"/>
              <a:gd name="connsiteY60-28362" fmla="*/ 1651356 h 5292022"/>
              <a:gd name="connsiteX61-28363" fmla="*/ 10633840 w 10693106"/>
              <a:gd name="connsiteY61-28364" fmla="*/ 1736022 h 5292022"/>
              <a:gd name="connsiteX62-28365" fmla="*/ 10650773 w 10693106"/>
              <a:gd name="connsiteY62-28366" fmla="*/ 1769889 h 5292022"/>
              <a:gd name="connsiteX63-28367" fmla="*/ 10676173 w 10693106"/>
              <a:gd name="connsiteY63-28368" fmla="*/ 1854556 h 5292022"/>
              <a:gd name="connsiteX64-28369" fmla="*/ 10693106 w 10693106"/>
              <a:gd name="connsiteY64-28370" fmla="*/ 2006956 h 5292022"/>
              <a:gd name="connsiteX65-28371" fmla="*/ 10625373 w 10693106"/>
              <a:gd name="connsiteY65-28372" fmla="*/ 2227089 h 5292022"/>
              <a:gd name="connsiteX66-28373" fmla="*/ 10608440 w 10693106"/>
              <a:gd name="connsiteY66-28374" fmla="*/ 2252489 h 5292022"/>
              <a:gd name="connsiteX67-28375" fmla="*/ 10540706 w 10693106"/>
              <a:gd name="connsiteY67-28376" fmla="*/ 2396422 h 5292022"/>
              <a:gd name="connsiteX68-28377" fmla="*/ 10498373 w 10693106"/>
              <a:gd name="connsiteY68-28378" fmla="*/ 2481089 h 5292022"/>
              <a:gd name="connsiteX69-28379" fmla="*/ 10439106 w 10693106"/>
              <a:gd name="connsiteY69-28380" fmla="*/ 2667356 h 5292022"/>
              <a:gd name="connsiteX70-28381" fmla="*/ 10430640 w 10693106"/>
              <a:gd name="connsiteY70-28382" fmla="*/ 2709689 h 5292022"/>
              <a:gd name="connsiteX71-28383" fmla="*/ 10405240 w 10693106"/>
              <a:gd name="connsiteY71-28384" fmla="*/ 2785889 h 5292022"/>
              <a:gd name="connsiteX72-28385" fmla="*/ 10396773 w 10693106"/>
              <a:gd name="connsiteY72-28386" fmla="*/ 2819756 h 5292022"/>
              <a:gd name="connsiteX73-28387" fmla="*/ 10362906 w 10693106"/>
              <a:gd name="connsiteY73-28388" fmla="*/ 2912889 h 5292022"/>
              <a:gd name="connsiteX74-28389" fmla="*/ 10329040 w 10693106"/>
              <a:gd name="connsiteY74-28390" fmla="*/ 2955222 h 5292022"/>
              <a:gd name="connsiteX75-28391" fmla="*/ 10227440 w 10693106"/>
              <a:gd name="connsiteY75-28392" fmla="*/ 3056822 h 5292022"/>
              <a:gd name="connsiteX76-28393" fmla="*/ 10168173 w 10693106"/>
              <a:gd name="connsiteY76-28394" fmla="*/ 3124556 h 5292022"/>
              <a:gd name="connsiteX77-28395" fmla="*/ 10117373 w 10693106"/>
              <a:gd name="connsiteY77-28396" fmla="*/ 3175356 h 5292022"/>
              <a:gd name="connsiteX78-28397" fmla="*/ 10032706 w 10693106"/>
              <a:gd name="connsiteY78-28398" fmla="*/ 3276956 h 5292022"/>
              <a:gd name="connsiteX79-28399" fmla="*/ 9948040 w 10693106"/>
              <a:gd name="connsiteY79-28400" fmla="*/ 3336222 h 5292022"/>
              <a:gd name="connsiteX80-28401" fmla="*/ 9905706 w 10693106"/>
              <a:gd name="connsiteY80-28402" fmla="*/ 3361622 h 5292022"/>
              <a:gd name="connsiteX81-28403" fmla="*/ 9829506 w 10693106"/>
              <a:gd name="connsiteY81-28404" fmla="*/ 3378556 h 5292022"/>
              <a:gd name="connsiteX82-28405" fmla="*/ 9727906 w 10693106"/>
              <a:gd name="connsiteY82-28406" fmla="*/ 3420889 h 5292022"/>
              <a:gd name="connsiteX83-28407" fmla="*/ 9634773 w 10693106"/>
              <a:gd name="connsiteY83-28408" fmla="*/ 3446289 h 5292022"/>
              <a:gd name="connsiteX84-28409" fmla="*/ 9456973 w 10693106"/>
              <a:gd name="connsiteY84-28410" fmla="*/ 3539422 h 5292022"/>
              <a:gd name="connsiteX85-28411" fmla="*/ 9313040 w 10693106"/>
              <a:gd name="connsiteY85-28412" fmla="*/ 3666422 h 5292022"/>
              <a:gd name="connsiteX86-28413" fmla="*/ 9279173 w 10693106"/>
              <a:gd name="connsiteY86-28414" fmla="*/ 3683356 h 5292022"/>
              <a:gd name="connsiteX87-28415" fmla="*/ 9067506 w 10693106"/>
              <a:gd name="connsiteY87-28416" fmla="*/ 3861156 h 5292022"/>
              <a:gd name="connsiteX88-28417" fmla="*/ 8999773 w 10693106"/>
              <a:gd name="connsiteY88-28418" fmla="*/ 3928889 h 5292022"/>
              <a:gd name="connsiteX89-28419" fmla="*/ 8813506 w 10693106"/>
              <a:gd name="connsiteY89-28420" fmla="*/ 4064356 h 5292022"/>
              <a:gd name="connsiteX90-28421" fmla="*/ 8728840 w 10693106"/>
              <a:gd name="connsiteY90-28422" fmla="*/ 4106689 h 5292022"/>
              <a:gd name="connsiteX91-28423" fmla="*/ 8373240 w 10693106"/>
              <a:gd name="connsiteY91-28424" fmla="*/ 4140556 h 5292022"/>
              <a:gd name="connsiteX92-28425" fmla="*/ 7966840 w 10693106"/>
              <a:gd name="connsiteY92-28426" fmla="*/ 4233689 h 5292022"/>
              <a:gd name="connsiteX93-28427" fmla="*/ 7687440 w 10693106"/>
              <a:gd name="connsiteY93-28428" fmla="*/ 4394556 h 5292022"/>
              <a:gd name="connsiteX94-28429" fmla="*/ 7551973 w 10693106"/>
              <a:gd name="connsiteY94-28430" fmla="*/ 4479222 h 5292022"/>
              <a:gd name="connsiteX95-28431" fmla="*/ 7374173 w 10693106"/>
              <a:gd name="connsiteY95-28432" fmla="*/ 4657022 h 5292022"/>
              <a:gd name="connsiteX96-28433" fmla="*/ 7374173 w 10693106"/>
              <a:gd name="connsiteY96-28434" fmla="*/ 4657022 h 5292022"/>
              <a:gd name="connsiteX97-28435" fmla="*/ 7221773 w 10693106"/>
              <a:gd name="connsiteY97-28436" fmla="*/ 4775556 h 5292022"/>
              <a:gd name="connsiteX98-28437" fmla="*/ 7027040 w 10693106"/>
              <a:gd name="connsiteY98-28438" fmla="*/ 4902556 h 5292022"/>
              <a:gd name="connsiteX99-28439" fmla="*/ 6883106 w 10693106"/>
              <a:gd name="connsiteY99-28440" fmla="*/ 4970289 h 5292022"/>
              <a:gd name="connsiteX100-28441" fmla="*/ 6815373 w 10693106"/>
              <a:gd name="connsiteY100-28442" fmla="*/ 5012622 h 5292022"/>
              <a:gd name="connsiteX101-28443" fmla="*/ 6646040 w 10693106"/>
              <a:gd name="connsiteY101-28444" fmla="*/ 5105756 h 5292022"/>
              <a:gd name="connsiteX102-28445" fmla="*/ 6527506 w 10693106"/>
              <a:gd name="connsiteY102-28446" fmla="*/ 5165022 h 5292022"/>
              <a:gd name="connsiteX103-28447" fmla="*/ 6298906 w 10693106"/>
              <a:gd name="connsiteY103-28448" fmla="*/ 5241222 h 5292022"/>
              <a:gd name="connsiteX104-28449" fmla="*/ 6197306 w 10693106"/>
              <a:gd name="connsiteY104-28450" fmla="*/ 5266622 h 5292022"/>
              <a:gd name="connsiteX105-28451" fmla="*/ 6061840 w 10693106"/>
              <a:gd name="connsiteY105-28452" fmla="*/ 5275089 h 5292022"/>
              <a:gd name="connsiteX106-28453" fmla="*/ 5917906 w 10693106"/>
              <a:gd name="connsiteY106-28454" fmla="*/ 5292022 h 5292022"/>
              <a:gd name="connsiteX107-28455" fmla="*/ 5748573 w 10693106"/>
              <a:gd name="connsiteY107-28456" fmla="*/ 5283556 h 5292022"/>
              <a:gd name="connsiteX108-28457" fmla="*/ 5282906 w 10693106"/>
              <a:gd name="connsiteY108-28458" fmla="*/ 5173489 h 5292022"/>
              <a:gd name="connsiteX109-28459" fmla="*/ 5138973 w 10693106"/>
              <a:gd name="connsiteY109-28460" fmla="*/ 5071889 h 5292022"/>
              <a:gd name="connsiteX110-28461" fmla="*/ 4959480 w 10693106"/>
              <a:gd name="connsiteY110-28462" fmla="*/ 4988069 h 5292022"/>
              <a:gd name="connsiteX111-28463" fmla="*/ 4842216 w 10693106"/>
              <a:gd name="connsiteY111-28464" fmla="*/ 4953779 h 5292022"/>
              <a:gd name="connsiteX112-28465" fmla="*/ 4797343 w 10693106"/>
              <a:gd name="connsiteY112-28466" fmla="*/ 4878426 h 5292022"/>
              <a:gd name="connsiteX113-28467" fmla="*/ 4686853 w 10693106"/>
              <a:gd name="connsiteY113-28468" fmla="*/ 4788256 h 5292022"/>
              <a:gd name="connsiteX114-28469" fmla="*/ 4536146 w 10693106"/>
              <a:gd name="connsiteY114-28470" fmla="*/ 4712902 h 5292022"/>
              <a:gd name="connsiteX115-28471" fmla="*/ 4365120 w 10693106"/>
              <a:gd name="connsiteY115-28472" fmla="*/ 4616382 h 5292022"/>
              <a:gd name="connsiteX116-28473" fmla="*/ 4187743 w 10693106"/>
              <a:gd name="connsiteY116-28474" fmla="*/ 4521556 h 5292022"/>
              <a:gd name="connsiteX117-28475" fmla="*/ 4125936 w 10693106"/>
              <a:gd name="connsiteY117-28476" fmla="*/ 4386724 h 5292022"/>
              <a:gd name="connsiteX118-28477" fmla="*/ 3995973 w 10693106"/>
              <a:gd name="connsiteY118-28478" fmla="*/ 4232419 h 5292022"/>
              <a:gd name="connsiteX119-28479" fmla="*/ 3962530 w 10693106"/>
              <a:gd name="connsiteY119-28480" fmla="*/ 4135052 h 5292022"/>
              <a:gd name="connsiteX120-28481" fmla="*/ 3895643 w 10693106"/>
              <a:gd name="connsiteY120-28482" fmla="*/ 4059699 h 5292022"/>
              <a:gd name="connsiteX121-28483" fmla="*/ 3919773 w 10693106"/>
              <a:gd name="connsiteY121-28484" fmla="*/ 3920422 h 5292022"/>
              <a:gd name="connsiteX122-28485" fmla="*/ 3877440 w 10693106"/>
              <a:gd name="connsiteY122-28486" fmla="*/ 3624089 h 5292022"/>
              <a:gd name="connsiteX123-28487" fmla="*/ 3852040 w 10693106"/>
              <a:gd name="connsiteY123-28488" fmla="*/ 3530956 h 5292022"/>
              <a:gd name="connsiteX124-28489" fmla="*/ 3801240 w 10693106"/>
              <a:gd name="connsiteY124-28490" fmla="*/ 3420889 h 5292022"/>
              <a:gd name="connsiteX125-28491" fmla="*/ 3733506 w 10693106"/>
              <a:gd name="connsiteY125-28492" fmla="*/ 3319289 h 5292022"/>
              <a:gd name="connsiteX126-28493" fmla="*/ 3242440 w 10693106"/>
              <a:gd name="connsiteY126-28494" fmla="*/ 3099156 h 5292022"/>
              <a:gd name="connsiteX127-28495" fmla="*/ 3123906 w 10693106"/>
              <a:gd name="connsiteY127-28496" fmla="*/ 2997556 h 5292022"/>
              <a:gd name="connsiteX128-28497" fmla="*/ 2988440 w 10693106"/>
              <a:gd name="connsiteY128-28498" fmla="*/ 2802822 h 5292022"/>
              <a:gd name="connsiteX129-28499" fmla="*/ 2971506 w 10693106"/>
              <a:gd name="connsiteY129-28500" fmla="*/ 2743556 h 5292022"/>
              <a:gd name="connsiteX130-28501" fmla="*/ 2996906 w 10693106"/>
              <a:gd name="connsiteY130-28502" fmla="*/ 2531889 h 5292022"/>
              <a:gd name="connsiteX131-28503" fmla="*/ 3013840 w 10693106"/>
              <a:gd name="connsiteY131-28504" fmla="*/ 2430289 h 5292022"/>
              <a:gd name="connsiteX132-28505" fmla="*/ 3005373 w 10693106"/>
              <a:gd name="connsiteY132-28506" fmla="*/ 2311756 h 5292022"/>
              <a:gd name="connsiteX133-28507" fmla="*/ 2988440 w 10693106"/>
              <a:gd name="connsiteY133-28508" fmla="*/ 2260956 h 5292022"/>
              <a:gd name="connsiteX134-28509" fmla="*/ 2802173 w 10693106"/>
              <a:gd name="connsiteY134-28510" fmla="*/ 2006956 h 5292022"/>
              <a:gd name="connsiteX135-28511" fmla="*/ 2641306 w 10693106"/>
              <a:gd name="connsiteY135-28512" fmla="*/ 1863022 h 5292022"/>
              <a:gd name="connsiteX136-28513" fmla="*/ 2590506 w 10693106"/>
              <a:gd name="connsiteY136-28514" fmla="*/ 1837622 h 5292022"/>
              <a:gd name="connsiteX137-28515" fmla="*/ 2531240 w 10693106"/>
              <a:gd name="connsiteY137-28516" fmla="*/ 1829156 h 5292022"/>
              <a:gd name="connsiteX138-28517" fmla="*/ 2446573 w 10693106"/>
              <a:gd name="connsiteY138-28518" fmla="*/ 1812222 h 5292022"/>
              <a:gd name="connsiteX139-28519" fmla="*/ 2251840 w 10693106"/>
              <a:gd name="connsiteY139-28520" fmla="*/ 1837622 h 5292022"/>
              <a:gd name="connsiteX140-28521" fmla="*/ 2167173 w 10693106"/>
              <a:gd name="connsiteY140-28522" fmla="*/ 1879956 h 5292022"/>
              <a:gd name="connsiteX141-28523" fmla="*/ 1980906 w 10693106"/>
              <a:gd name="connsiteY141-28524" fmla="*/ 1939222 h 5292022"/>
              <a:gd name="connsiteX142-28525" fmla="*/ 1904706 w 10693106"/>
              <a:gd name="connsiteY142-28526" fmla="*/ 1973089 h 5292022"/>
              <a:gd name="connsiteX143-28527" fmla="*/ 1828506 w 10693106"/>
              <a:gd name="connsiteY143-28528" fmla="*/ 1990022 h 5292022"/>
              <a:gd name="connsiteX144-28529" fmla="*/ 1726906 w 10693106"/>
              <a:gd name="connsiteY144-28530" fmla="*/ 2040822 h 5292022"/>
              <a:gd name="connsiteX145-28531" fmla="*/ 1659173 w 10693106"/>
              <a:gd name="connsiteY145-28532" fmla="*/ 2074689 h 5292022"/>
              <a:gd name="connsiteX146-28533" fmla="*/ 1498306 w 10693106"/>
              <a:gd name="connsiteY146-28534" fmla="*/ 2100089 h 5292022"/>
              <a:gd name="connsiteX147-28535" fmla="*/ 914106 w 10693106"/>
              <a:gd name="connsiteY147-28536" fmla="*/ 2032356 h 5292022"/>
              <a:gd name="connsiteX148-28537" fmla="*/ 617773 w 10693106"/>
              <a:gd name="connsiteY148-28538" fmla="*/ 1922289 h 5292022"/>
              <a:gd name="connsiteX149-28539" fmla="*/ 516173 w 10693106"/>
              <a:gd name="connsiteY149-28540" fmla="*/ 1837622 h 5292022"/>
              <a:gd name="connsiteX150-28541" fmla="*/ 355306 w 10693106"/>
              <a:gd name="connsiteY150-28542" fmla="*/ 1625956 h 5292022"/>
              <a:gd name="connsiteX151-28543" fmla="*/ 296040 w 10693106"/>
              <a:gd name="connsiteY151-28544" fmla="*/ 1524356 h 5292022"/>
              <a:gd name="connsiteX152-28545" fmla="*/ 253706 w 10693106"/>
              <a:gd name="connsiteY152-28546" fmla="*/ 1346556 h 5292022"/>
              <a:gd name="connsiteX153-28547" fmla="*/ 245240 w 10693106"/>
              <a:gd name="connsiteY153-28548" fmla="*/ 1219556 h 5292022"/>
              <a:gd name="connsiteX154-28549" fmla="*/ 236773 w 10693106"/>
              <a:gd name="connsiteY154-28550" fmla="*/ 1117956 h 5292022"/>
              <a:gd name="connsiteX155-28551" fmla="*/ 245240 w 10693106"/>
              <a:gd name="connsiteY155-28552" fmla="*/ 847022 h 5292022"/>
              <a:gd name="connsiteX156-28553" fmla="*/ 236773 w 10693106"/>
              <a:gd name="connsiteY156-28554" fmla="*/ 703089 h 5292022"/>
              <a:gd name="connsiteX157-28555" fmla="*/ 109773 w 10693106"/>
              <a:gd name="connsiteY157-28556" fmla="*/ 559156 h 5292022"/>
              <a:gd name="connsiteX158-28557" fmla="*/ 58973 w 10693106"/>
              <a:gd name="connsiteY158-28558" fmla="*/ 482956 h 5292022"/>
              <a:gd name="connsiteX159-28559" fmla="*/ 16640 w 10693106"/>
              <a:gd name="connsiteY159-28560" fmla="*/ 432156 h 5292022"/>
              <a:gd name="connsiteX160-28561" fmla="*/ 8173 w 10693106"/>
              <a:gd name="connsiteY160-28562" fmla="*/ 389822 h 5292022"/>
              <a:gd name="connsiteX161-28563" fmla="*/ 16640 w 10693106"/>
              <a:gd name="connsiteY161-28564" fmla="*/ 339022 h 5292022"/>
              <a:gd name="connsiteX0-28565" fmla="*/ 16640 w 10693106"/>
              <a:gd name="connsiteY0-28566" fmla="*/ 339022 h 5292022"/>
              <a:gd name="connsiteX1-28567" fmla="*/ 58973 w 10693106"/>
              <a:gd name="connsiteY1-28568" fmla="*/ 245889 h 5292022"/>
              <a:gd name="connsiteX2-28569" fmla="*/ 109773 w 10693106"/>
              <a:gd name="connsiteY2-28570" fmla="*/ 178156 h 5292022"/>
              <a:gd name="connsiteX3-28571" fmla="*/ 202906 w 10693106"/>
              <a:gd name="connsiteY3-28572" fmla="*/ 93489 h 5292022"/>
              <a:gd name="connsiteX4-28573" fmla="*/ 236773 w 10693106"/>
              <a:gd name="connsiteY4-28574" fmla="*/ 68089 h 5292022"/>
              <a:gd name="connsiteX5-28575" fmla="*/ 335410 w 10693106"/>
              <a:gd name="connsiteY5-28576" fmla="*/ 58352 h 5292022"/>
              <a:gd name="connsiteX6-28577" fmla="*/ 382400 w 10693106"/>
              <a:gd name="connsiteY6-28578" fmla="*/ 51156 h 5292022"/>
              <a:gd name="connsiteX7-28579" fmla="*/ 434912 w 10693106"/>
              <a:gd name="connsiteY7-28580" fmla="*/ 70071 h 5292022"/>
              <a:gd name="connsiteX8-28581" fmla="*/ 492697 w 10693106"/>
              <a:gd name="connsiteY8-28582" fmla="*/ 74247 h 5292022"/>
              <a:gd name="connsiteX9-28583" fmla="*/ 822897 w 10693106"/>
              <a:gd name="connsiteY9-28584" fmla="*/ 82713 h 5292022"/>
              <a:gd name="connsiteX10-28585" fmla="*/ 1091906 w 10693106"/>
              <a:gd name="connsiteY10-28586" fmla="*/ 356 h 5292022"/>
              <a:gd name="connsiteX11-28587" fmla="*/ 1235840 w 10693106"/>
              <a:gd name="connsiteY11-28588" fmla="*/ 59622 h 5292022"/>
              <a:gd name="connsiteX12-28589" fmla="*/ 1337440 w 10693106"/>
              <a:gd name="connsiteY12-28590" fmla="*/ 135822 h 5292022"/>
              <a:gd name="connsiteX13-28591" fmla="*/ 1422106 w 10693106"/>
              <a:gd name="connsiteY13-28592" fmla="*/ 245889 h 5292022"/>
              <a:gd name="connsiteX14-28593" fmla="*/ 1481373 w 10693106"/>
              <a:gd name="connsiteY14-28594" fmla="*/ 313622 h 5292022"/>
              <a:gd name="connsiteX15-28595" fmla="*/ 1532173 w 10693106"/>
              <a:gd name="connsiteY15-28596" fmla="*/ 347489 h 5292022"/>
              <a:gd name="connsiteX16-28597" fmla="*/ 1684573 w 10693106"/>
              <a:gd name="connsiteY16-28598" fmla="*/ 406756 h 5292022"/>
              <a:gd name="connsiteX17-28599" fmla="*/ 1760773 w 10693106"/>
              <a:gd name="connsiteY17-28600" fmla="*/ 423689 h 5292022"/>
              <a:gd name="connsiteX18-28601" fmla="*/ 1997840 w 10693106"/>
              <a:gd name="connsiteY18-28602" fmla="*/ 415222 h 5292022"/>
              <a:gd name="connsiteX19-28603" fmla="*/ 2116373 w 10693106"/>
              <a:gd name="connsiteY19-28604" fmla="*/ 398289 h 5292022"/>
              <a:gd name="connsiteX20-28605" fmla="*/ 2260306 w 10693106"/>
              <a:gd name="connsiteY20-28606" fmla="*/ 381356 h 5292022"/>
              <a:gd name="connsiteX21-28607" fmla="*/ 2404240 w 10693106"/>
              <a:gd name="connsiteY21-28608" fmla="*/ 355956 h 5292022"/>
              <a:gd name="connsiteX22-28609" fmla="*/ 2455040 w 10693106"/>
              <a:gd name="connsiteY22-28610" fmla="*/ 330556 h 5292022"/>
              <a:gd name="connsiteX23-28611" fmla="*/ 2531240 w 10693106"/>
              <a:gd name="connsiteY23-28612" fmla="*/ 305156 h 5292022"/>
              <a:gd name="connsiteX24-28613" fmla="*/ 2649350 w 10693106"/>
              <a:gd name="connsiteY24-28614" fmla="*/ 225781 h 5292022"/>
              <a:gd name="connsiteX25-28615" fmla="*/ 2742906 w 10693106"/>
              <a:gd name="connsiteY25-28616" fmla="*/ 186622 h 5292022"/>
              <a:gd name="connsiteX26-28617" fmla="*/ 2764920 w 10693106"/>
              <a:gd name="connsiteY26-28618" fmla="*/ 173076 h 5292022"/>
              <a:gd name="connsiteX27-28619" fmla="*/ 2832653 w 10693106"/>
              <a:gd name="connsiteY27-28620" fmla="*/ 167996 h 5292022"/>
              <a:gd name="connsiteX28-28621" fmla="*/ 3002294 w 10693106"/>
              <a:gd name="connsiteY28-28622" fmla="*/ 154680 h 5292022"/>
              <a:gd name="connsiteX29-28623" fmla="*/ 3142763 w 10693106"/>
              <a:gd name="connsiteY29-28624" fmla="*/ 110421 h 5292022"/>
              <a:gd name="connsiteX30-28625" fmla="*/ 3398918 w 10693106"/>
              <a:gd name="connsiteY30-28626" fmla="*/ 72322 h 5292022"/>
              <a:gd name="connsiteX31-28627" fmla="*/ 3606506 w 10693106"/>
              <a:gd name="connsiteY31-28628" fmla="*/ 60393 h 5292022"/>
              <a:gd name="connsiteX32-28629" fmla="*/ 3682706 w 10693106"/>
              <a:gd name="connsiteY32-28630" fmla="*/ 79942 h 5292022"/>
              <a:gd name="connsiteX33-28631" fmla="*/ 3741973 w 10693106"/>
              <a:gd name="connsiteY33-28632" fmla="*/ 86561 h 5292022"/>
              <a:gd name="connsiteX34-28633" fmla="*/ 3794678 w 10693106"/>
              <a:gd name="connsiteY34-28634" fmla="*/ 101321 h 5292022"/>
              <a:gd name="connsiteX35-28635" fmla="*/ 3833625 w 10693106"/>
              <a:gd name="connsiteY35-28636" fmla="*/ 110846 h 5292022"/>
              <a:gd name="connsiteX36-28637" fmla="*/ 3892487 w 10693106"/>
              <a:gd name="connsiteY36-28638" fmla="*/ 116984 h 5292022"/>
              <a:gd name="connsiteX37-28639" fmla="*/ 3933108 w 10693106"/>
              <a:gd name="connsiteY37-28640" fmla="*/ 128837 h 5292022"/>
              <a:gd name="connsiteX38-28641" fmla="*/ 3976923 w 10693106"/>
              <a:gd name="connsiteY38-28642" fmla="*/ 135187 h 5292022"/>
              <a:gd name="connsiteX39-28643" fmla="*/ 4021373 w 10693106"/>
              <a:gd name="connsiteY39-28644" fmla="*/ 144289 h 5292022"/>
              <a:gd name="connsiteX40-28645" fmla="*/ 4055240 w 10693106"/>
              <a:gd name="connsiteY40-28646" fmla="*/ 152756 h 5292022"/>
              <a:gd name="connsiteX41-28647" fmla="*/ 4275373 w 10693106"/>
              <a:gd name="connsiteY41-28648" fmla="*/ 195089 h 5292022"/>
              <a:gd name="connsiteX42-28649" fmla="*/ 4402373 w 10693106"/>
              <a:gd name="connsiteY42-28650" fmla="*/ 228956 h 5292022"/>
              <a:gd name="connsiteX43-28651" fmla="*/ 4529373 w 10693106"/>
              <a:gd name="connsiteY43-28652" fmla="*/ 271289 h 5292022"/>
              <a:gd name="connsiteX44-28653" fmla="*/ 5045840 w 10693106"/>
              <a:gd name="connsiteY44-28654" fmla="*/ 423689 h 5292022"/>
              <a:gd name="connsiteX45-28655" fmla="*/ 5672373 w 10693106"/>
              <a:gd name="connsiteY45-28656" fmla="*/ 931689 h 5292022"/>
              <a:gd name="connsiteX46-28657" fmla="*/ 6839926 w 10693106"/>
              <a:gd name="connsiteY46-28658" fmla="*/ 1252152 h 5292022"/>
              <a:gd name="connsiteX47-28659" fmla="*/ 7703950 w 10693106"/>
              <a:gd name="connsiteY47-28660" fmla="*/ 1069696 h 5292022"/>
              <a:gd name="connsiteX48-28661" fmla="*/ 8652640 w 10693106"/>
              <a:gd name="connsiteY48-28662" fmla="*/ 677689 h 5292022"/>
              <a:gd name="connsiteX49-28663" fmla="*/ 8982840 w 10693106"/>
              <a:gd name="connsiteY49-28664" fmla="*/ 398289 h 5292022"/>
              <a:gd name="connsiteX50-28665" fmla="*/ 9380773 w 10693106"/>
              <a:gd name="connsiteY50-28666" fmla="*/ 355956 h 5292022"/>
              <a:gd name="connsiteX51-28667" fmla="*/ 9744840 w 10693106"/>
              <a:gd name="connsiteY51-28668" fmla="*/ 466022 h 5292022"/>
              <a:gd name="connsiteX52-28669" fmla="*/ 9888773 w 10693106"/>
              <a:gd name="connsiteY52-28670" fmla="*/ 508356 h 5292022"/>
              <a:gd name="connsiteX53-28671" fmla="*/ 9998840 w 10693106"/>
              <a:gd name="connsiteY53-28672" fmla="*/ 559156 h 5292022"/>
              <a:gd name="connsiteX54-28673" fmla="*/ 10083506 w 10693106"/>
              <a:gd name="connsiteY54-28674" fmla="*/ 618422 h 5292022"/>
              <a:gd name="connsiteX55-28675" fmla="*/ 10286706 w 10693106"/>
              <a:gd name="connsiteY55-28676" fmla="*/ 686156 h 5292022"/>
              <a:gd name="connsiteX56-28677" fmla="*/ 10388306 w 10693106"/>
              <a:gd name="connsiteY56-28678" fmla="*/ 889356 h 5292022"/>
              <a:gd name="connsiteX57-28679" fmla="*/ 10540706 w 10693106"/>
              <a:gd name="connsiteY57-28680" fmla="*/ 1261889 h 5292022"/>
              <a:gd name="connsiteX58-28681" fmla="*/ 10557640 w 10693106"/>
              <a:gd name="connsiteY58-28682" fmla="*/ 1346556 h 5292022"/>
              <a:gd name="connsiteX59-28683" fmla="*/ 10583040 w 10693106"/>
              <a:gd name="connsiteY59-28684" fmla="*/ 1448156 h 5292022"/>
              <a:gd name="connsiteX60-28685" fmla="*/ 10616906 w 10693106"/>
              <a:gd name="connsiteY60-28686" fmla="*/ 1651356 h 5292022"/>
              <a:gd name="connsiteX61-28687" fmla="*/ 10633840 w 10693106"/>
              <a:gd name="connsiteY61-28688" fmla="*/ 1736022 h 5292022"/>
              <a:gd name="connsiteX62-28689" fmla="*/ 10650773 w 10693106"/>
              <a:gd name="connsiteY62-28690" fmla="*/ 1769889 h 5292022"/>
              <a:gd name="connsiteX63-28691" fmla="*/ 10676173 w 10693106"/>
              <a:gd name="connsiteY63-28692" fmla="*/ 1854556 h 5292022"/>
              <a:gd name="connsiteX64-28693" fmla="*/ 10693106 w 10693106"/>
              <a:gd name="connsiteY64-28694" fmla="*/ 2006956 h 5292022"/>
              <a:gd name="connsiteX65-28695" fmla="*/ 10625373 w 10693106"/>
              <a:gd name="connsiteY65-28696" fmla="*/ 2227089 h 5292022"/>
              <a:gd name="connsiteX66-28697" fmla="*/ 10608440 w 10693106"/>
              <a:gd name="connsiteY66-28698" fmla="*/ 2252489 h 5292022"/>
              <a:gd name="connsiteX67-28699" fmla="*/ 10540706 w 10693106"/>
              <a:gd name="connsiteY67-28700" fmla="*/ 2396422 h 5292022"/>
              <a:gd name="connsiteX68-28701" fmla="*/ 10498373 w 10693106"/>
              <a:gd name="connsiteY68-28702" fmla="*/ 2481089 h 5292022"/>
              <a:gd name="connsiteX69-28703" fmla="*/ 10439106 w 10693106"/>
              <a:gd name="connsiteY69-28704" fmla="*/ 2667356 h 5292022"/>
              <a:gd name="connsiteX70-28705" fmla="*/ 10430640 w 10693106"/>
              <a:gd name="connsiteY70-28706" fmla="*/ 2709689 h 5292022"/>
              <a:gd name="connsiteX71-28707" fmla="*/ 10405240 w 10693106"/>
              <a:gd name="connsiteY71-28708" fmla="*/ 2785889 h 5292022"/>
              <a:gd name="connsiteX72-28709" fmla="*/ 10396773 w 10693106"/>
              <a:gd name="connsiteY72-28710" fmla="*/ 2819756 h 5292022"/>
              <a:gd name="connsiteX73-28711" fmla="*/ 10362906 w 10693106"/>
              <a:gd name="connsiteY73-28712" fmla="*/ 2912889 h 5292022"/>
              <a:gd name="connsiteX74-28713" fmla="*/ 10329040 w 10693106"/>
              <a:gd name="connsiteY74-28714" fmla="*/ 2955222 h 5292022"/>
              <a:gd name="connsiteX75-28715" fmla="*/ 10227440 w 10693106"/>
              <a:gd name="connsiteY75-28716" fmla="*/ 3056822 h 5292022"/>
              <a:gd name="connsiteX76-28717" fmla="*/ 10168173 w 10693106"/>
              <a:gd name="connsiteY76-28718" fmla="*/ 3124556 h 5292022"/>
              <a:gd name="connsiteX77-28719" fmla="*/ 10117373 w 10693106"/>
              <a:gd name="connsiteY77-28720" fmla="*/ 3175356 h 5292022"/>
              <a:gd name="connsiteX78-28721" fmla="*/ 10032706 w 10693106"/>
              <a:gd name="connsiteY78-28722" fmla="*/ 3276956 h 5292022"/>
              <a:gd name="connsiteX79-28723" fmla="*/ 9948040 w 10693106"/>
              <a:gd name="connsiteY79-28724" fmla="*/ 3336222 h 5292022"/>
              <a:gd name="connsiteX80-28725" fmla="*/ 9905706 w 10693106"/>
              <a:gd name="connsiteY80-28726" fmla="*/ 3361622 h 5292022"/>
              <a:gd name="connsiteX81-28727" fmla="*/ 9829506 w 10693106"/>
              <a:gd name="connsiteY81-28728" fmla="*/ 3378556 h 5292022"/>
              <a:gd name="connsiteX82-28729" fmla="*/ 9727906 w 10693106"/>
              <a:gd name="connsiteY82-28730" fmla="*/ 3420889 h 5292022"/>
              <a:gd name="connsiteX83-28731" fmla="*/ 9634773 w 10693106"/>
              <a:gd name="connsiteY83-28732" fmla="*/ 3446289 h 5292022"/>
              <a:gd name="connsiteX84-28733" fmla="*/ 9456973 w 10693106"/>
              <a:gd name="connsiteY84-28734" fmla="*/ 3539422 h 5292022"/>
              <a:gd name="connsiteX85-28735" fmla="*/ 9313040 w 10693106"/>
              <a:gd name="connsiteY85-28736" fmla="*/ 3666422 h 5292022"/>
              <a:gd name="connsiteX86-28737" fmla="*/ 9279173 w 10693106"/>
              <a:gd name="connsiteY86-28738" fmla="*/ 3683356 h 5292022"/>
              <a:gd name="connsiteX87-28739" fmla="*/ 9067506 w 10693106"/>
              <a:gd name="connsiteY87-28740" fmla="*/ 3861156 h 5292022"/>
              <a:gd name="connsiteX88-28741" fmla="*/ 8999773 w 10693106"/>
              <a:gd name="connsiteY88-28742" fmla="*/ 3928889 h 5292022"/>
              <a:gd name="connsiteX89-28743" fmla="*/ 8813506 w 10693106"/>
              <a:gd name="connsiteY89-28744" fmla="*/ 4064356 h 5292022"/>
              <a:gd name="connsiteX90-28745" fmla="*/ 8728840 w 10693106"/>
              <a:gd name="connsiteY90-28746" fmla="*/ 4106689 h 5292022"/>
              <a:gd name="connsiteX91-28747" fmla="*/ 8373240 w 10693106"/>
              <a:gd name="connsiteY91-28748" fmla="*/ 4140556 h 5292022"/>
              <a:gd name="connsiteX92-28749" fmla="*/ 7966840 w 10693106"/>
              <a:gd name="connsiteY92-28750" fmla="*/ 4233689 h 5292022"/>
              <a:gd name="connsiteX93-28751" fmla="*/ 7687440 w 10693106"/>
              <a:gd name="connsiteY93-28752" fmla="*/ 4394556 h 5292022"/>
              <a:gd name="connsiteX94-28753" fmla="*/ 7551973 w 10693106"/>
              <a:gd name="connsiteY94-28754" fmla="*/ 4479222 h 5292022"/>
              <a:gd name="connsiteX95-28755" fmla="*/ 7374173 w 10693106"/>
              <a:gd name="connsiteY95-28756" fmla="*/ 4657022 h 5292022"/>
              <a:gd name="connsiteX96-28757" fmla="*/ 7374173 w 10693106"/>
              <a:gd name="connsiteY96-28758" fmla="*/ 4657022 h 5292022"/>
              <a:gd name="connsiteX97-28759" fmla="*/ 7221773 w 10693106"/>
              <a:gd name="connsiteY97-28760" fmla="*/ 4775556 h 5292022"/>
              <a:gd name="connsiteX98-28761" fmla="*/ 7027040 w 10693106"/>
              <a:gd name="connsiteY98-28762" fmla="*/ 4902556 h 5292022"/>
              <a:gd name="connsiteX99-28763" fmla="*/ 6883106 w 10693106"/>
              <a:gd name="connsiteY99-28764" fmla="*/ 4970289 h 5292022"/>
              <a:gd name="connsiteX100-28765" fmla="*/ 6815373 w 10693106"/>
              <a:gd name="connsiteY100-28766" fmla="*/ 5012622 h 5292022"/>
              <a:gd name="connsiteX101-28767" fmla="*/ 6646040 w 10693106"/>
              <a:gd name="connsiteY101-28768" fmla="*/ 5105756 h 5292022"/>
              <a:gd name="connsiteX102-28769" fmla="*/ 6527506 w 10693106"/>
              <a:gd name="connsiteY102-28770" fmla="*/ 5165022 h 5292022"/>
              <a:gd name="connsiteX103-28771" fmla="*/ 6298906 w 10693106"/>
              <a:gd name="connsiteY103-28772" fmla="*/ 5241222 h 5292022"/>
              <a:gd name="connsiteX104-28773" fmla="*/ 6197306 w 10693106"/>
              <a:gd name="connsiteY104-28774" fmla="*/ 5266622 h 5292022"/>
              <a:gd name="connsiteX105-28775" fmla="*/ 6061840 w 10693106"/>
              <a:gd name="connsiteY105-28776" fmla="*/ 5275089 h 5292022"/>
              <a:gd name="connsiteX106-28777" fmla="*/ 5917906 w 10693106"/>
              <a:gd name="connsiteY106-28778" fmla="*/ 5292022 h 5292022"/>
              <a:gd name="connsiteX107-28779" fmla="*/ 5748573 w 10693106"/>
              <a:gd name="connsiteY107-28780" fmla="*/ 5283556 h 5292022"/>
              <a:gd name="connsiteX108-28781" fmla="*/ 5282906 w 10693106"/>
              <a:gd name="connsiteY108-28782" fmla="*/ 5173489 h 5292022"/>
              <a:gd name="connsiteX109-28783" fmla="*/ 5138973 w 10693106"/>
              <a:gd name="connsiteY109-28784" fmla="*/ 5071889 h 5292022"/>
              <a:gd name="connsiteX110-28785" fmla="*/ 4959480 w 10693106"/>
              <a:gd name="connsiteY110-28786" fmla="*/ 4988069 h 5292022"/>
              <a:gd name="connsiteX111-28787" fmla="*/ 4842216 w 10693106"/>
              <a:gd name="connsiteY111-28788" fmla="*/ 4953779 h 5292022"/>
              <a:gd name="connsiteX112-28789" fmla="*/ 4797343 w 10693106"/>
              <a:gd name="connsiteY112-28790" fmla="*/ 4878426 h 5292022"/>
              <a:gd name="connsiteX113-28791" fmla="*/ 4686853 w 10693106"/>
              <a:gd name="connsiteY113-28792" fmla="*/ 4788256 h 5292022"/>
              <a:gd name="connsiteX114-28793" fmla="*/ 4536146 w 10693106"/>
              <a:gd name="connsiteY114-28794" fmla="*/ 4712902 h 5292022"/>
              <a:gd name="connsiteX115-28795" fmla="*/ 4365120 w 10693106"/>
              <a:gd name="connsiteY115-28796" fmla="*/ 4616382 h 5292022"/>
              <a:gd name="connsiteX116-28797" fmla="*/ 4187743 w 10693106"/>
              <a:gd name="connsiteY116-28798" fmla="*/ 4521556 h 5292022"/>
              <a:gd name="connsiteX117-28799" fmla="*/ 4125936 w 10693106"/>
              <a:gd name="connsiteY117-28800" fmla="*/ 4386724 h 5292022"/>
              <a:gd name="connsiteX118-28801" fmla="*/ 3962530 w 10693106"/>
              <a:gd name="connsiteY118-28802" fmla="*/ 4135052 h 5292022"/>
              <a:gd name="connsiteX119-28803" fmla="*/ 3895643 w 10693106"/>
              <a:gd name="connsiteY119-28804" fmla="*/ 4059699 h 5292022"/>
              <a:gd name="connsiteX120-28805" fmla="*/ 3919773 w 10693106"/>
              <a:gd name="connsiteY120-28806" fmla="*/ 3920422 h 5292022"/>
              <a:gd name="connsiteX121-28807" fmla="*/ 3877440 w 10693106"/>
              <a:gd name="connsiteY121-28808" fmla="*/ 3624089 h 5292022"/>
              <a:gd name="connsiteX122-28809" fmla="*/ 3852040 w 10693106"/>
              <a:gd name="connsiteY122-28810" fmla="*/ 3530956 h 5292022"/>
              <a:gd name="connsiteX123-28811" fmla="*/ 3801240 w 10693106"/>
              <a:gd name="connsiteY123-28812" fmla="*/ 3420889 h 5292022"/>
              <a:gd name="connsiteX124-28813" fmla="*/ 3733506 w 10693106"/>
              <a:gd name="connsiteY124-28814" fmla="*/ 3319289 h 5292022"/>
              <a:gd name="connsiteX125-28815" fmla="*/ 3242440 w 10693106"/>
              <a:gd name="connsiteY125-28816" fmla="*/ 3099156 h 5292022"/>
              <a:gd name="connsiteX126-28817" fmla="*/ 3123906 w 10693106"/>
              <a:gd name="connsiteY126-28818" fmla="*/ 2997556 h 5292022"/>
              <a:gd name="connsiteX127-28819" fmla="*/ 2988440 w 10693106"/>
              <a:gd name="connsiteY127-28820" fmla="*/ 2802822 h 5292022"/>
              <a:gd name="connsiteX128-28821" fmla="*/ 2971506 w 10693106"/>
              <a:gd name="connsiteY128-28822" fmla="*/ 2743556 h 5292022"/>
              <a:gd name="connsiteX129-28823" fmla="*/ 2996906 w 10693106"/>
              <a:gd name="connsiteY129-28824" fmla="*/ 2531889 h 5292022"/>
              <a:gd name="connsiteX130-28825" fmla="*/ 3013840 w 10693106"/>
              <a:gd name="connsiteY130-28826" fmla="*/ 2430289 h 5292022"/>
              <a:gd name="connsiteX131-28827" fmla="*/ 3005373 w 10693106"/>
              <a:gd name="connsiteY131-28828" fmla="*/ 2311756 h 5292022"/>
              <a:gd name="connsiteX132-28829" fmla="*/ 2988440 w 10693106"/>
              <a:gd name="connsiteY132-28830" fmla="*/ 2260956 h 5292022"/>
              <a:gd name="connsiteX133-28831" fmla="*/ 2802173 w 10693106"/>
              <a:gd name="connsiteY133-28832" fmla="*/ 2006956 h 5292022"/>
              <a:gd name="connsiteX134-28833" fmla="*/ 2641306 w 10693106"/>
              <a:gd name="connsiteY134-28834" fmla="*/ 1863022 h 5292022"/>
              <a:gd name="connsiteX135-28835" fmla="*/ 2590506 w 10693106"/>
              <a:gd name="connsiteY135-28836" fmla="*/ 1837622 h 5292022"/>
              <a:gd name="connsiteX136-28837" fmla="*/ 2531240 w 10693106"/>
              <a:gd name="connsiteY136-28838" fmla="*/ 1829156 h 5292022"/>
              <a:gd name="connsiteX137-28839" fmla="*/ 2446573 w 10693106"/>
              <a:gd name="connsiteY137-28840" fmla="*/ 1812222 h 5292022"/>
              <a:gd name="connsiteX138-28841" fmla="*/ 2251840 w 10693106"/>
              <a:gd name="connsiteY138-28842" fmla="*/ 1837622 h 5292022"/>
              <a:gd name="connsiteX139-28843" fmla="*/ 2167173 w 10693106"/>
              <a:gd name="connsiteY139-28844" fmla="*/ 1879956 h 5292022"/>
              <a:gd name="connsiteX140-28845" fmla="*/ 1980906 w 10693106"/>
              <a:gd name="connsiteY140-28846" fmla="*/ 1939222 h 5292022"/>
              <a:gd name="connsiteX141-28847" fmla="*/ 1904706 w 10693106"/>
              <a:gd name="connsiteY141-28848" fmla="*/ 1973089 h 5292022"/>
              <a:gd name="connsiteX142-28849" fmla="*/ 1828506 w 10693106"/>
              <a:gd name="connsiteY142-28850" fmla="*/ 1990022 h 5292022"/>
              <a:gd name="connsiteX143-28851" fmla="*/ 1726906 w 10693106"/>
              <a:gd name="connsiteY143-28852" fmla="*/ 2040822 h 5292022"/>
              <a:gd name="connsiteX144-28853" fmla="*/ 1659173 w 10693106"/>
              <a:gd name="connsiteY144-28854" fmla="*/ 2074689 h 5292022"/>
              <a:gd name="connsiteX145-28855" fmla="*/ 1498306 w 10693106"/>
              <a:gd name="connsiteY145-28856" fmla="*/ 2100089 h 5292022"/>
              <a:gd name="connsiteX146-28857" fmla="*/ 914106 w 10693106"/>
              <a:gd name="connsiteY146-28858" fmla="*/ 2032356 h 5292022"/>
              <a:gd name="connsiteX147-28859" fmla="*/ 617773 w 10693106"/>
              <a:gd name="connsiteY147-28860" fmla="*/ 1922289 h 5292022"/>
              <a:gd name="connsiteX148-28861" fmla="*/ 516173 w 10693106"/>
              <a:gd name="connsiteY148-28862" fmla="*/ 1837622 h 5292022"/>
              <a:gd name="connsiteX149-28863" fmla="*/ 355306 w 10693106"/>
              <a:gd name="connsiteY149-28864" fmla="*/ 1625956 h 5292022"/>
              <a:gd name="connsiteX150-28865" fmla="*/ 296040 w 10693106"/>
              <a:gd name="connsiteY150-28866" fmla="*/ 1524356 h 5292022"/>
              <a:gd name="connsiteX151-28867" fmla="*/ 253706 w 10693106"/>
              <a:gd name="connsiteY151-28868" fmla="*/ 1346556 h 5292022"/>
              <a:gd name="connsiteX152-28869" fmla="*/ 245240 w 10693106"/>
              <a:gd name="connsiteY152-28870" fmla="*/ 1219556 h 5292022"/>
              <a:gd name="connsiteX153-28871" fmla="*/ 236773 w 10693106"/>
              <a:gd name="connsiteY153-28872" fmla="*/ 1117956 h 5292022"/>
              <a:gd name="connsiteX154-28873" fmla="*/ 245240 w 10693106"/>
              <a:gd name="connsiteY154-28874" fmla="*/ 847022 h 5292022"/>
              <a:gd name="connsiteX155-28875" fmla="*/ 236773 w 10693106"/>
              <a:gd name="connsiteY155-28876" fmla="*/ 703089 h 5292022"/>
              <a:gd name="connsiteX156-28877" fmla="*/ 109773 w 10693106"/>
              <a:gd name="connsiteY156-28878" fmla="*/ 559156 h 5292022"/>
              <a:gd name="connsiteX157-28879" fmla="*/ 58973 w 10693106"/>
              <a:gd name="connsiteY157-28880" fmla="*/ 482956 h 5292022"/>
              <a:gd name="connsiteX158-28881" fmla="*/ 16640 w 10693106"/>
              <a:gd name="connsiteY158-28882" fmla="*/ 432156 h 5292022"/>
              <a:gd name="connsiteX159-28883" fmla="*/ 8173 w 10693106"/>
              <a:gd name="connsiteY159-28884" fmla="*/ 389822 h 5292022"/>
              <a:gd name="connsiteX160-28885" fmla="*/ 16640 w 10693106"/>
              <a:gd name="connsiteY160-28886" fmla="*/ 339022 h 5292022"/>
              <a:gd name="connsiteX0-28887" fmla="*/ 16640 w 10693106"/>
              <a:gd name="connsiteY0-28888" fmla="*/ 339022 h 5292022"/>
              <a:gd name="connsiteX1-28889" fmla="*/ 58973 w 10693106"/>
              <a:gd name="connsiteY1-28890" fmla="*/ 245889 h 5292022"/>
              <a:gd name="connsiteX2-28891" fmla="*/ 109773 w 10693106"/>
              <a:gd name="connsiteY2-28892" fmla="*/ 178156 h 5292022"/>
              <a:gd name="connsiteX3-28893" fmla="*/ 202906 w 10693106"/>
              <a:gd name="connsiteY3-28894" fmla="*/ 93489 h 5292022"/>
              <a:gd name="connsiteX4-28895" fmla="*/ 236773 w 10693106"/>
              <a:gd name="connsiteY4-28896" fmla="*/ 68089 h 5292022"/>
              <a:gd name="connsiteX5-28897" fmla="*/ 335410 w 10693106"/>
              <a:gd name="connsiteY5-28898" fmla="*/ 58352 h 5292022"/>
              <a:gd name="connsiteX6-28899" fmla="*/ 382400 w 10693106"/>
              <a:gd name="connsiteY6-28900" fmla="*/ 51156 h 5292022"/>
              <a:gd name="connsiteX7-28901" fmla="*/ 434912 w 10693106"/>
              <a:gd name="connsiteY7-28902" fmla="*/ 70071 h 5292022"/>
              <a:gd name="connsiteX8-28903" fmla="*/ 492697 w 10693106"/>
              <a:gd name="connsiteY8-28904" fmla="*/ 74247 h 5292022"/>
              <a:gd name="connsiteX9-28905" fmla="*/ 822897 w 10693106"/>
              <a:gd name="connsiteY9-28906" fmla="*/ 82713 h 5292022"/>
              <a:gd name="connsiteX10-28907" fmla="*/ 1091906 w 10693106"/>
              <a:gd name="connsiteY10-28908" fmla="*/ 356 h 5292022"/>
              <a:gd name="connsiteX11-28909" fmla="*/ 1235840 w 10693106"/>
              <a:gd name="connsiteY11-28910" fmla="*/ 59622 h 5292022"/>
              <a:gd name="connsiteX12-28911" fmla="*/ 1337440 w 10693106"/>
              <a:gd name="connsiteY12-28912" fmla="*/ 135822 h 5292022"/>
              <a:gd name="connsiteX13-28913" fmla="*/ 1422106 w 10693106"/>
              <a:gd name="connsiteY13-28914" fmla="*/ 245889 h 5292022"/>
              <a:gd name="connsiteX14-28915" fmla="*/ 1481373 w 10693106"/>
              <a:gd name="connsiteY14-28916" fmla="*/ 313622 h 5292022"/>
              <a:gd name="connsiteX15-28917" fmla="*/ 1532173 w 10693106"/>
              <a:gd name="connsiteY15-28918" fmla="*/ 347489 h 5292022"/>
              <a:gd name="connsiteX16-28919" fmla="*/ 1684573 w 10693106"/>
              <a:gd name="connsiteY16-28920" fmla="*/ 406756 h 5292022"/>
              <a:gd name="connsiteX17-28921" fmla="*/ 1760773 w 10693106"/>
              <a:gd name="connsiteY17-28922" fmla="*/ 423689 h 5292022"/>
              <a:gd name="connsiteX18-28923" fmla="*/ 1997840 w 10693106"/>
              <a:gd name="connsiteY18-28924" fmla="*/ 415222 h 5292022"/>
              <a:gd name="connsiteX19-28925" fmla="*/ 2116373 w 10693106"/>
              <a:gd name="connsiteY19-28926" fmla="*/ 398289 h 5292022"/>
              <a:gd name="connsiteX20-28927" fmla="*/ 2260306 w 10693106"/>
              <a:gd name="connsiteY20-28928" fmla="*/ 381356 h 5292022"/>
              <a:gd name="connsiteX21-28929" fmla="*/ 2404240 w 10693106"/>
              <a:gd name="connsiteY21-28930" fmla="*/ 355956 h 5292022"/>
              <a:gd name="connsiteX22-28931" fmla="*/ 2455040 w 10693106"/>
              <a:gd name="connsiteY22-28932" fmla="*/ 330556 h 5292022"/>
              <a:gd name="connsiteX23-28933" fmla="*/ 2531240 w 10693106"/>
              <a:gd name="connsiteY23-28934" fmla="*/ 305156 h 5292022"/>
              <a:gd name="connsiteX24-28935" fmla="*/ 2649350 w 10693106"/>
              <a:gd name="connsiteY24-28936" fmla="*/ 225781 h 5292022"/>
              <a:gd name="connsiteX25-28937" fmla="*/ 2742906 w 10693106"/>
              <a:gd name="connsiteY25-28938" fmla="*/ 186622 h 5292022"/>
              <a:gd name="connsiteX26-28939" fmla="*/ 2764920 w 10693106"/>
              <a:gd name="connsiteY26-28940" fmla="*/ 173076 h 5292022"/>
              <a:gd name="connsiteX27-28941" fmla="*/ 2832653 w 10693106"/>
              <a:gd name="connsiteY27-28942" fmla="*/ 167996 h 5292022"/>
              <a:gd name="connsiteX28-28943" fmla="*/ 3002294 w 10693106"/>
              <a:gd name="connsiteY28-28944" fmla="*/ 154680 h 5292022"/>
              <a:gd name="connsiteX29-28945" fmla="*/ 3142763 w 10693106"/>
              <a:gd name="connsiteY29-28946" fmla="*/ 110421 h 5292022"/>
              <a:gd name="connsiteX30-28947" fmla="*/ 3398918 w 10693106"/>
              <a:gd name="connsiteY30-28948" fmla="*/ 72322 h 5292022"/>
              <a:gd name="connsiteX31-28949" fmla="*/ 3606506 w 10693106"/>
              <a:gd name="connsiteY31-28950" fmla="*/ 60393 h 5292022"/>
              <a:gd name="connsiteX32-28951" fmla="*/ 3682706 w 10693106"/>
              <a:gd name="connsiteY32-28952" fmla="*/ 79942 h 5292022"/>
              <a:gd name="connsiteX33-28953" fmla="*/ 3741973 w 10693106"/>
              <a:gd name="connsiteY33-28954" fmla="*/ 86561 h 5292022"/>
              <a:gd name="connsiteX34-28955" fmla="*/ 3794678 w 10693106"/>
              <a:gd name="connsiteY34-28956" fmla="*/ 101321 h 5292022"/>
              <a:gd name="connsiteX35-28957" fmla="*/ 3833625 w 10693106"/>
              <a:gd name="connsiteY35-28958" fmla="*/ 110846 h 5292022"/>
              <a:gd name="connsiteX36-28959" fmla="*/ 3892487 w 10693106"/>
              <a:gd name="connsiteY36-28960" fmla="*/ 116984 h 5292022"/>
              <a:gd name="connsiteX37-28961" fmla="*/ 3933108 w 10693106"/>
              <a:gd name="connsiteY37-28962" fmla="*/ 128837 h 5292022"/>
              <a:gd name="connsiteX38-28963" fmla="*/ 3976923 w 10693106"/>
              <a:gd name="connsiteY38-28964" fmla="*/ 135187 h 5292022"/>
              <a:gd name="connsiteX39-28965" fmla="*/ 4021373 w 10693106"/>
              <a:gd name="connsiteY39-28966" fmla="*/ 144289 h 5292022"/>
              <a:gd name="connsiteX40-28967" fmla="*/ 4055240 w 10693106"/>
              <a:gd name="connsiteY40-28968" fmla="*/ 152756 h 5292022"/>
              <a:gd name="connsiteX41-28969" fmla="*/ 4275373 w 10693106"/>
              <a:gd name="connsiteY41-28970" fmla="*/ 195089 h 5292022"/>
              <a:gd name="connsiteX42-28971" fmla="*/ 4402373 w 10693106"/>
              <a:gd name="connsiteY42-28972" fmla="*/ 228956 h 5292022"/>
              <a:gd name="connsiteX43-28973" fmla="*/ 4529373 w 10693106"/>
              <a:gd name="connsiteY43-28974" fmla="*/ 271289 h 5292022"/>
              <a:gd name="connsiteX44-28975" fmla="*/ 5045840 w 10693106"/>
              <a:gd name="connsiteY44-28976" fmla="*/ 423689 h 5292022"/>
              <a:gd name="connsiteX45-28977" fmla="*/ 5672373 w 10693106"/>
              <a:gd name="connsiteY45-28978" fmla="*/ 931689 h 5292022"/>
              <a:gd name="connsiteX46-28979" fmla="*/ 6839926 w 10693106"/>
              <a:gd name="connsiteY46-28980" fmla="*/ 1252152 h 5292022"/>
              <a:gd name="connsiteX47-28981" fmla="*/ 7703950 w 10693106"/>
              <a:gd name="connsiteY47-28982" fmla="*/ 1069696 h 5292022"/>
              <a:gd name="connsiteX48-28983" fmla="*/ 8652640 w 10693106"/>
              <a:gd name="connsiteY48-28984" fmla="*/ 677689 h 5292022"/>
              <a:gd name="connsiteX49-28985" fmla="*/ 8982840 w 10693106"/>
              <a:gd name="connsiteY49-28986" fmla="*/ 398289 h 5292022"/>
              <a:gd name="connsiteX50-28987" fmla="*/ 9380773 w 10693106"/>
              <a:gd name="connsiteY50-28988" fmla="*/ 355956 h 5292022"/>
              <a:gd name="connsiteX51-28989" fmla="*/ 9744840 w 10693106"/>
              <a:gd name="connsiteY51-28990" fmla="*/ 466022 h 5292022"/>
              <a:gd name="connsiteX52-28991" fmla="*/ 9888773 w 10693106"/>
              <a:gd name="connsiteY52-28992" fmla="*/ 508356 h 5292022"/>
              <a:gd name="connsiteX53-28993" fmla="*/ 9998840 w 10693106"/>
              <a:gd name="connsiteY53-28994" fmla="*/ 559156 h 5292022"/>
              <a:gd name="connsiteX54-28995" fmla="*/ 10083506 w 10693106"/>
              <a:gd name="connsiteY54-28996" fmla="*/ 618422 h 5292022"/>
              <a:gd name="connsiteX55-28997" fmla="*/ 10286706 w 10693106"/>
              <a:gd name="connsiteY55-28998" fmla="*/ 686156 h 5292022"/>
              <a:gd name="connsiteX56-28999" fmla="*/ 10388306 w 10693106"/>
              <a:gd name="connsiteY56-29000" fmla="*/ 889356 h 5292022"/>
              <a:gd name="connsiteX57-29001" fmla="*/ 10540706 w 10693106"/>
              <a:gd name="connsiteY57-29002" fmla="*/ 1261889 h 5292022"/>
              <a:gd name="connsiteX58-29003" fmla="*/ 10557640 w 10693106"/>
              <a:gd name="connsiteY58-29004" fmla="*/ 1346556 h 5292022"/>
              <a:gd name="connsiteX59-29005" fmla="*/ 10583040 w 10693106"/>
              <a:gd name="connsiteY59-29006" fmla="*/ 1448156 h 5292022"/>
              <a:gd name="connsiteX60-29007" fmla="*/ 10616906 w 10693106"/>
              <a:gd name="connsiteY60-29008" fmla="*/ 1651356 h 5292022"/>
              <a:gd name="connsiteX61-29009" fmla="*/ 10633840 w 10693106"/>
              <a:gd name="connsiteY61-29010" fmla="*/ 1736022 h 5292022"/>
              <a:gd name="connsiteX62-29011" fmla="*/ 10650773 w 10693106"/>
              <a:gd name="connsiteY62-29012" fmla="*/ 1769889 h 5292022"/>
              <a:gd name="connsiteX63-29013" fmla="*/ 10676173 w 10693106"/>
              <a:gd name="connsiteY63-29014" fmla="*/ 1854556 h 5292022"/>
              <a:gd name="connsiteX64-29015" fmla="*/ 10693106 w 10693106"/>
              <a:gd name="connsiteY64-29016" fmla="*/ 2006956 h 5292022"/>
              <a:gd name="connsiteX65-29017" fmla="*/ 10625373 w 10693106"/>
              <a:gd name="connsiteY65-29018" fmla="*/ 2227089 h 5292022"/>
              <a:gd name="connsiteX66-29019" fmla="*/ 10608440 w 10693106"/>
              <a:gd name="connsiteY66-29020" fmla="*/ 2252489 h 5292022"/>
              <a:gd name="connsiteX67-29021" fmla="*/ 10540706 w 10693106"/>
              <a:gd name="connsiteY67-29022" fmla="*/ 2396422 h 5292022"/>
              <a:gd name="connsiteX68-29023" fmla="*/ 10498373 w 10693106"/>
              <a:gd name="connsiteY68-29024" fmla="*/ 2481089 h 5292022"/>
              <a:gd name="connsiteX69-29025" fmla="*/ 10439106 w 10693106"/>
              <a:gd name="connsiteY69-29026" fmla="*/ 2667356 h 5292022"/>
              <a:gd name="connsiteX70-29027" fmla="*/ 10430640 w 10693106"/>
              <a:gd name="connsiteY70-29028" fmla="*/ 2709689 h 5292022"/>
              <a:gd name="connsiteX71-29029" fmla="*/ 10405240 w 10693106"/>
              <a:gd name="connsiteY71-29030" fmla="*/ 2785889 h 5292022"/>
              <a:gd name="connsiteX72-29031" fmla="*/ 10396773 w 10693106"/>
              <a:gd name="connsiteY72-29032" fmla="*/ 2819756 h 5292022"/>
              <a:gd name="connsiteX73-29033" fmla="*/ 10362906 w 10693106"/>
              <a:gd name="connsiteY73-29034" fmla="*/ 2912889 h 5292022"/>
              <a:gd name="connsiteX74-29035" fmla="*/ 10329040 w 10693106"/>
              <a:gd name="connsiteY74-29036" fmla="*/ 2955222 h 5292022"/>
              <a:gd name="connsiteX75-29037" fmla="*/ 10227440 w 10693106"/>
              <a:gd name="connsiteY75-29038" fmla="*/ 3056822 h 5292022"/>
              <a:gd name="connsiteX76-29039" fmla="*/ 10168173 w 10693106"/>
              <a:gd name="connsiteY76-29040" fmla="*/ 3124556 h 5292022"/>
              <a:gd name="connsiteX77-29041" fmla="*/ 10117373 w 10693106"/>
              <a:gd name="connsiteY77-29042" fmla="*/ 3175356 h 5292022"/>
              <a:gd name="connsiteX78-29043" fmla="*/ 10032706 w 10693106"/>
              <a:gd name="connsiteY78-29044" fmla="*/ 3276956 h 5292022"/>
              <a:gd name="connsiteX79-29045" fmla="*/ 9948040 w 10693106"/>
              <a:gd name="connsiteY79-29046" fmla="*/ 3336222 h 5292022"/>
              <a:gd name="connsiteX80-29047" fmla="*/ 9905706 w 10693106"/>
              <a:gd name="connsiteY80-29048" fmla="*/ 3361622 h 5292022"/>
              <a:gd name="connsiteX81-29049" fmla="*/ 9829506 w 10693106"/>
              <a:gd name="connsiteY81-29050" fmla="*/ 3378556 h 5292022"/>
              <a:gd name="connsiteX82-29051" fmla="*/ 9727906 w 10693106"/>
              <a:gd name="connsiteY82-29052" fmla="*/ 3420889 h 5292022"/>
              <a:gd name="connsiteX83-29053" fmla="*/ 9634773 w 10693106"/>
              <a:gd name="connsiteY83-29054" fmla="*/ 3446289 h 5292022"/>
              <a:gd name="connsiteX84-29055" fmla="*/ 9456973 w 10693106"/>
              <a:gd name="connsiteY84-29056" fmla="*/ 3539422 h 5292022"/>
              <a:gd name="connsiteX85-29057" fmla="*/ 9313040 w 10693106"/>
              <a:gd name="connsiteY85-29058" fmla="*/ 3666422 h 5292022"/>
              <a:gd name="connsiteX86-29059" fmla="*/ 9279173 w 10693106"/>
              <a:gd name="connsiteY86-29060" fmla="*/ 3683356 h 5292022"/>
              <a:gd name="connsiteX87-29061" fmla="*/ 9067506 w 10693106"/>
              <a:gd name="connsiteY87-29062" fmla="*/ 3861156 h 5292022"/>
              <a:gd name="connsiteX88-29063" fmla="*/ 8999773 w 10693106"/>
              <a:gd name="connsiteY88-29064" fmla="*/ 3928889 h 5292022"/>
              <a:gd name="connsiteX89-29065" fmla="*/ 8813506 w 10693106"/>
              <a:gd name="connsiteY89-29066" fmla="*/ 4064356 h 5292022"/>
              <a:gd name="connsiteX90-29067" fmla="*/ 8728840 w 10693106"/>
              <a:gd name="connsiteY90-29068" fmla="*/ 4106689 h 5292022"/>
              <a:gd name="connsiteX91-29069" fmla="*/ 8373240 w 10693106"/>
              <a:gd name="connsiteY91-29070" fmla="*/ 4140556 h 5292022"/>
              <a:gd name="connsiteX92-29071" fmla="*/ 7966840 w 10693106"/>
              <a:gd name="connsiteY92-29072" fmla="*/ 4233689 h 5292022"/>
              <a:gd name="connsiteX93-29073" fmla="*/ 7687440 w 10693106"/>
              <a:gd name="connsiteY93-29074" fmla="*/ 4394556 h 5292022"/>
              <a:gd name="connsiteX94-29075" fmla="*/ 7551973 w 10693106"/>
              <a:gd name="connsiteY94-29076" fmla="*/ 4479222 h 5292022"/>
              <a:gd name="connsiteX95-29077" fmla="*/ 7374173 w 10693106"/>
              <a:gd name="connsiteY95-29078" fmla="*/ 4657022 h 5292022"/>
              <a:gd name="connsiteX96-29079" fmla="*/ 7374173 w 10693106"/>
              <a:gd name="connsiteY96-29080" fmla="*/ 4657022 h 5292022"/>
              <a:gd name="connsiteX97-29081" fmla="*/ 7221773 w 10693106"/>
              <a:gd name="connsiteY97-29082" fmla="*/ 4775556 h 5292022"/>
              <a:gd name="connsiteX98-29083" fmla="*/ 7027040 w 10693106"/>
              <a:gd name="connsiteY98-29084" fmla="*/ 4902556 h 5292022"/>
              <a:gd name="connsiteX99-29085" fmla="*/ 6883106 w 10693106"/>
              <a:gd name="connsiteY99-29086" fmla="*/ 4970289 h 5292022"/>
              <a:gd name="connsiteX100-29087" fmla="*/ 6815373 w 10693106"/>
              <a:gd name="connsiteY100-29088" fmla="*/ 5012622 h 5292022"/>
              <a:gd name="connsiteX101-29089" fmla="*/ 6646040 w 10693106"/>
              <a:gd name="connsiteY101-29090" fmla="*/ 5105756 h 5292022"/>
              <a:gd name="connsiteX102-29091" fmla="*/ 6527506 w 10693106"/>
              <a:gd name="connsiteY102-29092" fmla="*/ 5165022 h 5292022"/>
              <a:gd name="connsiteX103-29093" fmla="*/ 6298906 w 10693106"/>
              <a:gd name="connsiteY103-29094" fmla="*/ 5241222 h 5292022"/>
              <a:gd name="connsiteX104-29095" fmla="*/ 6197306 w 10693106"/>
              <a:gd name="connsiteY104-29096" fmla="*/ 5266622 h 5292022"/>
              <a:gd name="connsiteX105-29097" fmla="*/ 6061840 w 10693106"/>
              <a:gd name="connsiteY105-29098" fmla="*/ 5275089 h 5292022"/>
              <a:gd name="connsiteX106-29099" fmla="*/ 5917906 w 10693106"/>
              <a:gd name="connsiteY106-29100" fmla="*/ 5292022 h 5292022"/>
              <a:gd name="connsiteX107-29101" fmla="*/ 5748573 w 10693106"/>
              <a:gd name="connsiteY107-29102" fmla="*/ 5283556 h 5292022"/>
              <a:gd name="connsiteX108-29103" fmla="*/ 5282906 w 10693106"/>
              <a:gd name="connsiteY108-29104" fmla="*/ 5173489 h 5292022"/>
              <a:gd name="connsiteX109-29105" fmla="*/ 5138973 w 10693106"/>
              <a:gd name="connsiteY109-29106" fmla="*/ 5071889 h 5292022"/>
              <a:gd name="connsiteX110-29107" fmla="*/ 4959480 w 10693106"/>
              <a:gd name="connsiteY110-29108" fmla="*/ 4988069 h 5292022"/>
              <a:gd name="connsiteX111-29109" fmla="*/ 4842216 w 10693106"/>
              <a:gd name="connsiteY111-29110" fmla="*/ 4953779 h 5292022"/>
              <a:gd name="connsiteX112-29111" fmla="*/ 4797343 w 10693106"/>
              <a:gd name="connsiteY112-29112" fmla="*/ 4878426 h 5292022"/>
              <a:gd name="connsiteX113-29113" fmla="*/ 4686853 w 10693106"/>
              <a:gd name="connsiteY113-29114" fmla="*/ 4788256 h 5292022"/>
              <a:gd name="connsiteX114-29115" fmla="*/ 4536146 w 10693106"/>
              <a:gd name="connsiteY114-29116" fmla="*/ 4712902 h 5292022"/>
              <a:gd name="connsiteX115-29117" fmla="*/ 4365120 w 10693106"/>
              <a:gd name="connsiteY115-29118" fmla="*/ 4616382 h 5292022"/>
              <a:gd name="connsiteX116-29119" fmla="*/ 4187743 w 10693106"/>
              <a:gd name="connsiteY116-29120" fmla="*/ 4521556 h 5292022"/>
              <a:gd name="connsiteX117-29121" fmla="*/ 4125936 w 10693106"/>
              <a:gd name="connsiteY117-29122" fmla="*/ 4386724 h 5292022"/>
              <a:gd name="connsiteX118-29123" fmla="*/ 3962530 w 10693106"/>
              <a:gd name="connsiteY118-29124" fmla="*/ 4135052 h 5292022"/>
              <a:gd name="connsiteX119-29125" fmla="*/ 3919773 w 10693106"/>
              <a:gd name="connsiteY119-29126" fmla="*/ 3920422 h 5292022"/>
              <a:gd name="connsiteX120-29127" fmla="*/ 3877440 w 10693106"/>
              <a:gd name="connsiteY120-29128" fmla="*/ 3624089 h 5292022"/>
              <a:gd name="connsiteX121-29129" fmla="*/ 3852040 w 10693106"/>
              <a:gd name="connsiteY121-29130" fmla="*/ 3530956 h 5292022"/>
              <a:gd name="connsiteX122-29131" fmla="*/ 3801240 w 10693106"/>
              <a:gd name="connsiteY122-29132" fmla="*/ 3420889 h 5292022"/>
              <a:gd name="connsiteX123-29133" fmla="*/ 3733506 w 10693106"/>
              <a:gd name="connsiteY123-29134" fmla="*/ 3319289 h 5292022"/>
              <a:gd name="connsiteX124-29135" fmla="*/ 3242440 w 10693106"/>
              <a:gd name="connsiteY124-29136" fmla="*/ 3099156 h 5292022"/>
              <a:gd name="connsiteX125-29137" fmla="*/ 3123906 w 10693106"/>
              <a:gd name="connsiteY125-29138" fmla="*/ 2997556 h 5292022"/>
              <a:gd name="connsiteX126-29139" fmla="*/ 2988440 w 10693106"/>
              <a:gd name="connsiteY126-29140" fmla="*/ 2802822 h 5292022"/>
              <a:gd name="connsiteX127-29141" fmla="*/ 2971506 w 10693106"/>
              <a:gd name="connsiteY127-29142" fmla="*/ 2743556 h 5292022"/>
              <a:gd name="connsiteX128-29143" fmla="*/ 2996906 w 10693106"/>
              <a:gd name="connsiteY128-29144" fmla="*/ 2531889 h 5292022"/>
              <a:gd name="connsiteX129-29145" fmla="*/ 3013840 w 10693106"/>
              <a:gd name="connsiteY129-29146" fmla="*/ 2430289 h 5292022"/>
              <a:gd name="connsiteX130-29147" fmla="*/ 3005373 w 10693106"/>
              <a:gd name="connsiteY130-29148" fmla="*/ 2311756 h 5292022"/>
              <a:gd name="connsiteX131-29149" fmla="*/ 2988440 w 10693106"/>
              <a:gd name="connsiteY131-29150" fmla="*/ 2260956 h 5292022"/>
              <a:gd name="connsiteX132-29151" fmla="*/ 2802173 w 10693106"/>
              <a:gd name="connsiteY132-29152" fmla="*/ 2006956 h 5292022"/>
              <a:gd name="connsiteX133-29153" fmla="*/ 2641306 w 10693106"/>
              <a:gd name="connsiteY133-29154" fmla="*/ 1863022 h 5292022"/>
              <a:gd name="connsiteX134-29155" fmla="*/ 2590506 w 10693106"/>
              <a:gd name="connsiteY134-29156" fmla="*/ 1837622 h 5292022"/>
              <a:gd name="connsiteX135-29157" fmla="*/ 2531240 w 10693106"/>
              <a:gd name="connsiteY135-29158" fmla="*/ 1829156 h 5292022"/>
              <a:gd name="connsiteX136-29159" fmla="*/ 2446573 w 10693106"/>
              <a:gd name="connsiteY136-29160" fmla="*/ 1812222 h 5292022"/>
              <a:gd name="connsiteX137-29161" fmla="*/ 2251840 w 10693106"/>
              <a:gd name="connsiteY137-29162" fmla="*/ 1837622 h 5292022"/>
              <a:gd name="connsiteX138-29163" fmla="*/ 2167173 w 10693106"/>
              <a:gd name="connsiteY138-29164" fmla="*/ 1879956 h 5292022"/>
              <a:gd name="connsiteX139-29165" fmla="*/ 1980906 w 10693106"/>
              <a:gd name="connsiteY139-29166" fmla="*/ 1939222 h 5292022"/>
              <a:gd name="connsiteX140-29167" fmla="*/ 1904706 w 10693106"/>
              <a:gd name="connsiteY140-29168" fmla="*/ 1973089 h 5292022"/>
              <a:gd name="connsiteX141-29169" fmla="*/ 1828506 w 10693106"/>
              <a:gd name="connsiteY141-29170" fmla="*/ 1990022 h 5292022"/>
              <a:gd name="connsiteX142-29171" fmla="*/ 1726906 w 10693106"/>
              <a:gd name="connsiteY142-29172" fmla="*/ 2040822 h 5292022"/>
              <a:gd name="connsiteX143-29173" fmla="*/ 1659173 w 10693106"/>
              <a:gd name="connsiteY143-29174" fmla="*/ 2074689 h 5292022"/>
              <a:gd name="connsiteX144-29175" fmla="*/ 1498306 w 10693106"/>
              <a:gd name="connsiteY144-29176" fmla="*/ 2100089 h 5292022"/>
              <a:gd name="connsiteX145-29177" fmla="*/ 914106 w 10693106"/>
              <a:gd name="connsiteY145-29178" fmla="*/ 2032356 h 5292022"/>
              <a:gd name="connsiteX146-29179" fmla="*/ 617773 w 10693106"/>
              <a:gd name="connsiteY146-29180" fmla="*/ 1922289 h 5292022"/>
              <a:gd name="connsiteX147-29181" fmla="*/ 516173 w 10693106"/>
              <a:gd name="connsiteY147-29182" fmla="*/ 1837622 h 5292022"/>
              <a:gd name="connsiteX148-29183" fmla="*/ 355306 w 10693106"/>
              <a:gd name="connsiteY148-29184" fmla="*/ 1625956 h 5292022"/>
              <a:gd name="connsiteX149-29185" fmla="*/ 296040 w 10693106"/>
              <a:gd name="connsiteY149-29186" fmla="*/ 1524356 h 5292022"/>
              <a:gd name="connsiteX150-29187" fmla="*/ 253706 w 10693106"/>
              <a:gd name="connsiteY150-29188" fmla="*/ 1346556 h 5292022"/>
              <a:gd name="connsiteX151-29189" fmla="*/ 245240 w 10693106"/>
              <a:gd name="connsiteY151-29190" fmla="*/ 1219556 h 5292022"/>
              <a:gd name="connsiteX152-29191" fmla="*/ 236773 w 10693106"/>
              <a:gd name="connsiteY152-29192" fmla="*/ 1117956 h 5292022"/>
              <a:gd name="connsiteX153-29193" fmla="*/ 245240 w 10693106"/>
              <a:gd name="connsiteY153-29194" fmla="*/ 847022 h 5292022"/>
              <a:gd name="connsiteX154-29195" fmla="*/ 236773 w 10693106"/>
              <a:gd name="connsiteY154-29196" fmla="*/ 703089 h 5292022"/>
              <a:gd name="connsiteX155-29197" fmla="*/ 109773 w 10693106"/>
              <a:gd name="connsiteY155-29198" fmla="*/ 559156 h 5292022"/>
              <a:gd name="connsiteX156-29199" fmla="*/ 58973 w 10693106"/>
              <a:gd name="connsiteY156-29200" fmla="*/ 482956 h 5292022"/>
              <a:gd name="connsiteX157-29201" fmla="*/ 16640 w 10693106"/>
              <a:gd name="connsiteY157-29202" fmla="*/ 432156 h 5292022"/>
              <a:gd name="connsiteX158-29203" fmla="*/ 8173 w 10693106"/>
              <a:gd name="connsiteY158-29204" fmla="*/ 389822 h 5292022"/>
              <a:gd name="connsiteX159-29205" fmla="*/ 16640 w 10693106"/>
              <a:gd name="connsiteY159-29206" fmla="*/ 339022 h 5292022"/>
              <a:gd name="connsiteX0-29207" fmla="*/ 16640 w 10693106"/>
              <a:gd name="connsiteY0-29208" fmla="*/ 339022 h 5292022"/>
              <a:gd name="connsiteX1-29209" fmla="*/ 58973 w 10693106"/>
              <a:gd name="connsiteY1-29210" fmla="*/ 245889 h 5292022"/>
              <a:gd name="connsiteX2-29211" fmla="*/ 109773 w 10693106"/>
              <a:gd name="connsiteY2-29212" fmla="*/ 178156 h 5292022"/>
              <a:gd name="connsiteX3-29213" fmla="*/ 202906 w 10693106"/>
              <a:gd name="connsiteY3-29214" fmla="*/ 93489 h 5292022"/>
              <a:gd name="connsiteX4-29215" fmla="*/ 236773 w 10693106"/>
              <a:gd name="connsiteY4-29216" fmla="*/ 68089 h 5292022"/>
              <a:gd name="connsiteX5-29217" fmla="*/ 335410 w 10693106"/>
              <a:gd name="connsiteY5-29218" fmla="*/ 58352 h 5292022"/>
              <a:gd name="connsiteX6-29219" fmla="*/ 382400 w 10693106"/>
              <a:gd name="connsiteY6-29220" fmla="*/ 51156 h 5292022"/>
              <a:gd name="connsiteX7-29221" fmla="*/ 434912 w 10693106"/>
              <a:gd name="connsiteY7-29222" fmla="*/ 70071 h 5292022"/>
              <a:gd name="connsiteX8-29223" fmla="*/ 492697 w 10693106"/>
              <a:gd name="connsiteY8-29224" fmla="*/ 74247 h 5292022"/>
              <a:gd name="connsiteX9-29225" fmla="*/ 822897 w 10693106"/>
              <a:gd name="connsiteY9-29226" fmla="*/ 82713 h 5292022"/>
              <a:gd name="connsiteX10-29227" fmla="*/ 1091906 w 10693106"/>
              <a:gd name="connsiteY10-29228" fmla="*/ 356 h 5292022"/>
              <a:gd name="connsiteX11-29229" fmla="*/ 1235840 w 10693106"/>
              <a:gd name="connsiteY11-29230" fmla="*/ 59622 h 5292022"/>
              <a:gd name="connsiteX12-29231" fmla="*/ 1337440 w 10693106"/>
              <a:gd name="connsiteY12-29232" fmla="*/ 135822 h 5292022"/>
              <a:gd name="connsiteX13-29233" fmla="*/ 1422106 w 10693106"/>
              <a:gd name="connsiteY13-29234" fmla="*/ 245889 h 5292022"/>
              <a:gd name="connsiteX14-29235" fmla="*/ 1481373 w 10693106"/>
              <a:gd name="connsiteY14-29236" fmla="*/ 313622 h 5292022"/>
              <a:gd name="connsiteX15-29237" fmla="*/ 1532173 w 10693106"/>
              <a:gd name="connsiteY15-29238" fmla="*/ 347489 h 5292022"/>
              <a:gd name="connsiteX16-29239" fmla="*/ 1684573 w 10693106"/>
              <a:gd name="connsiteY16-29240" fmla="*/ 406756 h 5292022"/>
              <a:gd name="connsiteX17-29241" fmla="*/ 1760773 w 10693106"/>
              <a:gd name="connsiteY17-29242" fmla="*/ 423689 h 5292022"/>
              <a:gd name="connsiteX18-29243" fmla="*/ 1997840 w 10693106"/>
              <a:gd name="connsiteY18-29244" fmla="*/ 415222 h 5292022"/>
              <a:gd name="connsiteX19-29245" fmla="*/ 2116373 w 10693106"/>
              <a:gd name="connsiteY19-29246" fmla="*/ 398289 h 5292022"/>
              <a:gd name="connsiteX20-29247" fmla="*/ 2260306 w 10693106"/>
              <a:gd name="connsiteY20-29248" fmla="*/ 381356 h 5292022"/>
              <a:gd name="connsiteX21-29249" fmla="*/ 2404240 w 10693106"/>
              <a:gd name="connsiteY21-29250" fmla="*/ 355956 h 5292022"/>
              <a:gd name="connsiteX22-29251" fmla="*/ 2455040 w 10693106"/>
              <a:gd name="connsiteY22-29252" fmla="*/ 330556 h 5292022"/>
              <a:gd name="connsiteX23-29253" fmla="*/ 2531240 w 10693106"/>
              <a:gd name="connsiteY23-29254" fmla="*/ 305156 h 5292022"/>
              <a:gd name="connsiteX24-29255" fmla="*/ 2649350 w 10693106"/>
              <a:gd name="connsiteY24-29256" fmla="*/ 225781 h 5292022"/>
              <a:gd name="connsiteX25-29257" fmla="*/ 2742906 w 10693106"/>
              <a:gd name="connsiteY25-29258" fmla="*/ 186622 h 5292022"/>
              <a:gd name="connsiteX26-29259" fmla="*/ 2764920 w 10693106"/>
              <a:gd name="connsiteY26-29260" fmla="*/ 173076 h 5292022"/>
              <a:gd name="connsiteX27-29261" fmla="*/ 2832653 w 10693106"/>
              <a:gd name="connsiteY27-29262" fmla="*/ 167996 h 5292022"/>
              <a:gd name="connsiteX28-29263" fmla="*/ 3002294 w 10693106"/>
              <a:gd name="connsiteY28-29264" fmla="*/ 154680 h 5292022"/>
              <a:gd name="connsiteX29-29265" fmla="*/ 3142763 w 10693106"/>
              <a:gd name="connsiteY29-29266" fmla="*/ 110421 h 5292022"/>
              <a:gd name="connsiteX30-29267" fmla="*/ 3398918 w 10693106"/>
              <a:gd name="connsiteY30-29268" fmla="*/ 72322 h 5292022"/>
              <a:gd name="connsiteX31-29269" fmla="*/ 3606506 w 10693106"/>
              <a:gd name="connsiteY31-29270" fmla="*/ 60393 h 5292022"/>
              <a:gd name="connsiteX32-29271" fmla="*/ 3682706 w 10693106"/>
              <a:gd name="connsiteY32-29272" fmla="*/ 79942 h 5292022"/>
              <a:gd name="connsiteX33-29273" fmla="*/ 3741973 w 10693106"/>
              <a:gd name="connsiteY33-29274" fmla="*/ 86561 h 5292022"/>
              <a:gd name="connsiteX34-29275" fmla="*/ 3794678 w 10693106"/>
              <a:gd name="connsiteY34-29276" fmla="*/ 101321 h 5292022"/>
              <a:gd name="connsiteX35-29277" fmla="*/ 3833625 w 10693106"/>
              <a:gd name="connsiteY35-29278" fmla="*/ 110846 h 5292022"/>
              <a:gd name="connsiteX36-29279" fmla="*/ 3892487 w 10693106"/>
              <a:gd name="connsiteY36-29280" fmla="*/ 116984 h 5292022"/>
              <a:gd name="connsiteX37-29281" fmla="*/ 3933108 w 10693106"/>
              <a:gd name="connsiteY37-29282" fmla="*/ 128837 h 5292022"/>
              <a:gd name="connsiteX38-29283" fmla="*/ 3976923 w 10693106"/>
              <a:gd name="connsiteY38-29284" fmla="*/ 135187 h 5292022"/>
              <a:gd name="connsiteX39-29285" fmla="*/ 4021373 w 10693106"/>
              <a:gd name="connsiteY39-29286" fmla="*/ 144289 h 5292022"/>
              <a:gd name="connsiteX40-29287" fmla="*/ 4055240 w 10693106"/>
              <a:gd name="connsiteY40-29288" fmla="*/ 152756 h 5292022"/>
              <a:gd name="connsiteX41-29289" fmla="*/ 4275373 w 10693106"/>
              <a:gd name="connsiteY41-29290" fmla="*/ 195089 h 5292022"/>
              <a:gd name="connsiteX42-29291" fmla="*/ 4402373 w 10693106"/>
              <a:gd name="connsiteY42-29292" fmla="*/ 228956 h 5292022"/>
              <a:gd name="connsiteX43-29293" fmla="*/ 4529373 w 10693106"/>
              <a:gd name="connsiteY43-29294" fmla="*/ 271289 h 5292022"/>
              <a:gd name="connsiteX44-29295" fmla="*/ 5045840 w 10693106"/>
              <a:gd name="connsiteY44-29296" fmla="*/ 423689 h 5292022"/>
              <a:gd name="connsiteX45-29297" fmla="*/ 5672373 w 10693106"/>
              <a:gd name="connsiteY45-29298" fmla="*/ 931689 h 5292022"/>
              <a:gd name="connsiteX46-29299" fmla="*/ 6839926 w 10693106"/>
              <a:gd name="connsiteY46-29300" fmla="*/ 1252152 h 5292022"/>
              <a:gd name="connsiteX47-29301" fmla="*/ 7703950 w 10693106"/>
              <a:gd name="connsiteY47-29302" fmla="*/ 1069696 h 5292022"/>
              <a:gd name="connsiteX48-29303" fmla="*/ 8652640 w 10693106"/>
              <a:gd name="connsiteY48-29304" fmla="*/ 677689 h 5292022"/>
              <a:gd name="connsiteX49-29305" fmla="*/ 8982840 w 10693106"/>
              <a:gd name="connsiteY49-29306" fmla="*/ 398289 h 5292022"/>
              <a:gd name="connsiteX50-29307" fmla="*/ 9380773 w 10693106"/>
              <a:gd name="connsiteY50-29308" fmla="*/ 355956 h 5292022"/>
              <a:gd name="connsiteX51-29309" fmla="*/ 9744840 w 10693106"/>
              <a:gd name="connsiteY51-29310" fmla="*/ 466022 h 5292022"/>
              <a:gd name="connsiteX52-29311" fmla="*/ 9888773 w 10693106"/>
              <a:gd name="connsiteY52-29312" fmla="*/ 508356 h 5292022"/>
              <a:gd name="connsiteX53-29313" fmla="*/ 9998840 w 10693106"/>
              <a:gd name="connsiteY53-29314" fmla="*/ 559156 h 5292022"/>
              <a:gd name="connsiteX54-29315" fmla="*/ 10083506 w 10693106"/>
              <a:gd name="connsiteY54-29316" fmla="*/ 618422 h 5292022"/>
              <a:gd name="connsiteX55-29317" fmla="*/ 10286706 w 10693106"/>
              <a:gd name="connsiteY55-29318" fmla="*/ 686156 h 5292022"/>
              <a:gd name="connsiteX56-29319" fmla="*/ 10388306 w 10693106"/>
              <a:gd name="connsiteY56-29320" fmla="*/ 889356 h 5292022"/>
              <a:gd name="connsiteX57-29321" fmla="*/ 10540706 w 10693106"/>
              <a:gd name="connsiteY57-29322" fmla="*/ 1261889 h 5292022"/>
              <a:gd name="connsiteX58-29323" fmla="*/ 10557640 w 10693106"/>
              <a:gd name="connsiteY58-29324" fmla="*/ 1346556 h 5292022"/>
              <a:gd name="connsiteX59-29325" fmla="*/ 10583040 w 10693106"/>
              <a:gd name="connsiteY59-29326" fmla="*/ 1448156 h 5292022"/>
              <a:gd name="connsiteX60-29327" fmla="*/ 10616906 w 10693106"/>
              <a:gd name="connsiteY60-29328" fmla="*/ 1651356 h 5292022"/>
              <a:gd name="connsiteX61-29329" fmla="*/ 10633840 w 10693106"/>
              <a:gd name="connsiteY61-29330" fmla="*/ 1736022 h 5292022"/>
              <a:gd name="connsiteX62-29331" fmla="*/ 10650773 w 10693106"/>
              <a:gd name="connsiteY62-29332" fmla="*/ 1769889 h 5292022"/>
              <a:gd name="connsiteX63-29333" fmla="*/ 10676173 w 10693106"/>
              <a:gd name="connsiteY63-29334" fmla="*/ 1854556 h 5292022"/>
              <a:gd name="connsiteX64-29335" fmla="*/ 10693106 w 10693106"/>
              <a:gd name="connsiteY64-29336" fmla="*/ 2006956 h 5292022"/>
              <a:gd name="connsiteX65-29337" fmla="*/ 10625373 w 10693106"/>
              <a:gd name="connsiteY65-29338" fmla="*/ 2227089 h 5292022"/>
              <a:gd name="connsiteX66-29339" fmla="*/ 10608440 w 10693106"/>
              <a:gd name="connsiteY66-29340" fmla="*/ 2252489 h 5292022"/>
              <a:gd name="connsiteX67-29341" fmla="*/ 10540706 w 10693106"/>
              <a:gd name="connsiteY67-29342" fmla="*/ 2396422 h 5292022"/>
              <a:gd name="connsiteX68-29343" fmla="*/ 10498373 w 10693106"/>
              <a:gd name="connsiteY68-29344" fmla="*/ 2481089 h 5292022"/>
              <a:gd name="connsiteX69-29345" fmla="*/ 10439106 w 10693106"/>
              <a:gd name="connsiteY69-29346" fmla="*/ 2667356 h 5292022"/>
              <a:gd name="connsiteX70-29347" fmla="*/ 10430640 w 10693106"/>
              <a:gd name="connsiteY70-29348" fmla="*/ 2709689 h 5292022"/>
              <a:gd name="connsiteX71-29349" fmla="*/ 10405240 w 10693106"/>
              <a:gd name="connsiteY71-29350" fmla="*/ 2785889 h 5292022"/>
              <a:gd name="connsiteX72-29351" fmla="*/ 10396773 w 10693106"/>
              <a:gd name="connsiteY72-29352" fmla="*/ 2819756 h 5292022"/>
              <a:gd name="connsiteX73-29353" fmla="*/ 10362906 w 10693106"/>
              <a:gd name="connsiteY73-29354" fmla="*/ 2912889 h 5292022"/>
              <a:gd name="connsiteX74-29355" fmla="*/ 10329040 w 10693106"/>
              <a:gd name="connsiteY74-29356" fmla="*/ 2955222 h 5292022"/>
              <a:gd name="connsiteX75-29357" fmla="*/ 10227440 w 10693106"/>
              <a:gd name="connsiteY75-29358" fmla="*/ 3056822 h 5292022"/>
              <a:gd name="connsiteX76-29359" fmla="*/ 10168173 w 10693106"/>
              <a:gd name="connsiteY76-29360" fmla="*/ 3124556 h 5292022"/>
              <a:gd name="connsiteX77-29361" fmla="*/ 10117373 w 10693106"/>
              <a:gd name="connsiteY77-29362" fmla="*/ 3175356 h 5292022"/>
              <a:gd name="connsiteX78-29363" fmla="*/ 10032706 w 10693106"/>
              <a:gd name="connsiteY78-29364" fmla="*/ 3276956 h 5292022"/>
              <a:gd name="connsiteX79-29365" fmla="*/ 9948040 w 10693106"/>
              <a:gd name="connsiteY79-29366" fmla="*/ 3336222 h 5292022"/>
              <a:gd name="connsiteX80-29367" fmla="*/ 9905706 w 10693106"/>
              <a:gd name="connsiteY80-29368" fmla="*/ 3361622 h 5292022"/>
              <a:gd name="connsiteX81-29369" fmla="*/ 9829506 w 10693106"/>
              <a:gd name="connsiteY81-29370" fmla="*/ 3378556 h 5292022"/>
              <a:gd name="connsiteX82-29371" fmla="*/ 9727906 w 10693106"/>
              <a:gd name="connsiteY82-29372" fmla="*/ 3420889 h 5292022"/>
              <a:gd name="connsiteX83-29373" fmla="*/ 9634773 w 10693106"/>
              <a:gd name="connsiteY83-29374" fmla="*/ 3446289 h 5292022"/>
              <a:gd name="connsiteX84-29375" fmla="*/ 9456973 w 10693106"/>
              <a:gd name="connsiteY84-29376" fmla="*/ 3539422 h 5292022"/>
              <a:gd name="connsiteX85-29377" fmla="*/ 9313040 w 10693106"/>
              <a:gd name="connsiteY85-29378" fmla="*/ 3666422 h 5292022"/>
              <a:gd name="connsiteX86-29379" fmla="*/ 9279173 w 10693106"/>
              <a:gd name="connsiteY86-29380" fmla="*/ 3683356 h 5292022"/>
              <a:gd name="connsiteX87-29381" fmla="*/ 9067506 w 10693106"/>
              <a:gd name="connsiteY87-29382" fmla="*/ 3861156 h 5292022"/>
              <a:gd name="connsiteX88-29383" fmla="*/ 8999773 w 10693106"/>
              <a:gd name="connsiteY88-29384" fmla="*/ 3928889 h 5292022"/>
              <a:gd name="connsiteX89-29385" fmla="*/ 8813506 w 10693106"/>
              <a:gd name="connsiteY89-29386" fmla="*/ 4064356 h 5292022"/>
              <a:gd name="connsiteX90-29387" fmla="*/ 8728840 w 10693106"/>
              <a:gd name="connsiteY90-29388" fmla="*/ 4106689 h 5292022"/>
              <a:gd name="connsiteX91-29389" fmla="*/ 8373240 w 10693106"/>
              <a:gd name="connsiteY91-29390" fmla="*/ 4140556 h 5292022"/>
              <a:gd name="connsiteX92-29391" fmla="*/ 7966840 w 10693106"/>
              <a:gd name="connsiteY92-29392" fmla="*/ 4233689 h 5292022"/>
              <a:gd name="connsiteX93-29393" fmla="*/ 7687440 w 10693106"/>
              <a:gd name="connsiteY93-29394" fmla="*/ 4394556 h 5292022"/>
              <a:gd name="connsiteX94-29395" fmla="*/ 7551973 w 10693106"/>
              <a:gd name="connsiteY94-29396" fmla="*/ 4479222 h 5292022"/>
              <a:gd name="connsiteX95-29397" fmla="*/ 7374173 w 10693106"/>
              <a:gd name="connsiteY95-29398" fmla="*/ 4657022 h 5292022"/>
              <a:gd name="connsiteX96-29399" fmla="*/ 7374173 w 10693106"/>
              <a:gd name="connsiteY96-29400" fmla="*/ 4657022 h 5292022"/>
              <a:gd name="connsiteX97-29401" fmla="*/ 7221773 w 10693106"/>
              <a:gd name="connsiteY97-29402" fmla="*/ 4775556 h 5292022"/>
              <a:gd name="connsiteX98-29403" fmla="*/ 7027040 w 10693106"/>
              <a:gd name="connsiteY98-29404" fmla="*/ 4902556 h 5292022"/>
              <a:gd name="connsiteX99-29405" fmla="*/ 6883106 w 10693106"/>
              <a:gd name="connsiteY99-29406" fmla="*/ 4970289 h 5292022"/>
              <a:gd name="connsiteX100-29407" fmla="*/ 6815373 w 10693106"/>
              <a:gd name="connsiteY100-29408" fmla="*/ 5012622 h 5292022"/>
              <a:gd name="connsiteX101-29409" fmla="*/ 6646040 w 10693106"/>
              <a:gd name="connsiteY101-29410" fmla="*/ 5105756 h 5292022"/>
              <a:gd name="connsiteX102-29411" fmla="*/ 6527506 w 10693106"/>
              <a:gd name="connsiteY102-29412" fmla="*/ 5165022 h 5292022"/>
              <a:gd name="connsiteX103-29413" fmla="*/ 6298906 w 10693106"/>
              <a:gd name="connsiteY103-29414" fmla="*/ 5241222 h 5292022"/>
              <a:gd name="connsiteX104-29415" fmla="*/ 6197306 w 10693106"/>
              <a:gd name="connsiteY104-29416" fmla="*/ 5266622 h 5292022"/>
              <a:gd name="connsiteX105-29417" fmla="*/ 6061840 w 10693106"/>
              <a:gd name="connsiteY105-29418" fmla="*/ 5275089 h 5292022"/>
              <a:gd name="connsiteX106-29419" fmla="*/ 5917906 w 10693106"/>
              <a:gd name="connsiteY106-29420" fmla="*/ 5292022 h 5292022"/>
              <a:gd name="connsiteX107-29421" fmla="*/ 5748573 w 10693106"/>
              <a:gd name="connsiteY107-29422" fmla="*/ 5283556 h 5292022"/>
              <a:gd name="connsiteX108-29423" fmla="*/ 5282906 w 10693106"/>
              <a:gd name="connsiteY108-29424" fmla="*/ 5173489 h 5292022"/>
              <a:gd name="connsiteX109-29425" fmla="*/ 5138973 w 10693106"/>
              <a:gd name="connsiteY109-29426" fmla="*/ 5071889 h 5292022"/>
              <a:gd name="connsiteX110-29427" fmla="*/ 4959480 w 10693106"/>
              <a:gd name="connsiteY110-29428" fmla="*/ 4988069 h 5292022"/>
              <a:gd name="connsiteX111-29429" fmla="*/ 4842216 w 10693106"/>
              <a:gd name="connsiteY111-29430" fmla="*/ 4953779 h 5292022"/>
              <a:gd name="connsiteX112-29431" fmla="*/ 4797343 w 10693106"/>
              <a:gd name="connsiteY112-29432" fmla="*/ 4878426 h 5292022"/>
              <a:gd name="connsiteX113-29433" fmla="*/ 4686853 w 10693106"/>
              <a:gd name="connsiteY113-29434" fmla="*/ 4788256 h 5292022"/>
              <a:gd name="connsiteX114-29435" fmla="*/ 4536146 w 10693106"/>
              <a:gd name="connsiteY114-29436" fmla="*/ 4712902 h 5292022"/>
              <a:gd name="connsiteX115-29437" fmla="*/ 4365120 w 10693106"/>
              <a:gd name="connsiteY115-29438" fmla="*/ 4616382 h 5292022"/>
              <a:gd name="connsiteX116-29439" fmla="*/ 4125936 w 10693106"/>
              <a:gd name="connsiteY116-29440" fmla="*/ 4386724 h 5292022"/>
              <a:gd name="connsiteX117-29441" fmla="*/ 3962530 w 10693106"/>
              <a:gd name="connsiteY117-29442" fmla="*/ 4135052 h 5292022"/>
              <a:gd name="connsiteX118-29443" fmla="*/ 3919773 w 10693106"/>
              <a:gd name="connsiteY118-29444" fmla="*/ 3920422 h 5292022"/>
              <a:gd name="connsiteX119-29445" fmla="*/ 3877440 w 10693106"/>
              <a:gd name="connsiteY119-29446" fmla="*/ 3624089 h 5292022"/>
              <a:gd name="connsiteX120-29447" fmla="*/ 3852040 w 10693106"/>
              <a:gd name="connsiteY120-29448" fmla="*/ 3530956 h 5292022"/>
              <a:gd name="connsiteX121-29449" fmla="*/ 3801240 w 10693106"/>
              <a:gd name="connsiteY121-29450" fmla="*/ 3420889 h 5292022"/>
              <a:gd name="connsiteX122-29451" fmla="*/ 3733506 w 10693106"/>
              <a:gd name="connsiteY122-29452" fmla="*/ 3319289 h 5292022"/>
              <a:gd name="connsiteX123-29453" fmla="*/ 3242440 w 10693106"/>
              <a:gd name="connsiteY123-29454" fmla="*/ 3099156 h 5292022"/>
              <a:gd name="connsiteX124-29455" fmla="*/ 3123906 w 10693106"/>
              <a:gd name="connsiteY124-29456" fmla="*/ 2997556 h 5292022"/>
              <a:gd name="connsiteX125-29457" fmla="*/ 2988440 w 10693106"/>
              <a:gd name="connsiteY125-29458" fmla="*/ 2802822 h 5292022"/>
              <a:gd name="connsiteX126-29459" fmla="*/ 2971506 w 10693106"/>
              <a:gd name="connsiteY126-29460" fmla="*/ 2743556 h 5292022"/>
              <a:gd name="connsiteX127-29461" fmla="*/ 2996906 w 10693106"/>
              <a:gd name="connsiteY127-29462" fmla="*/ 2531889 h 5292022"/>
              <a:gd name="connsiteX128-29463" fmla="*/ 3013840 w 10693106"/>
              <a:gd name="connsiteY128-29464" fmla="*/ 2430289 h 5292022"/>
              <a:gd name="connsiteX129-29465" fmla="*/ 3005373 w 10693106"/>
              <a:gd name="connsiteY129-29466" fmla="*/ 2311756 h 5292022"/>
              <a:gd name="connsiteX130-29467" fmla="*/ 2988440 w 10693106"/>
              <a:gd name="connsiteY130-29468" fmla="*/ 2260956 h 5292022"/>
              <a:gd name="connsiteX131-29469" fmla="*/ 2802173 w 10693106"/>
              <a:gd name="connsiteY131-29470" fmla="*/ 2006956 h 5292022"/>
              <a:gd name="connsiteX132-29471" fmla="*/ 2641306 w 10693106"/>
              <a:gd name="connsiteY132-29472" fmla="*/ 1863022 h 5292022"/>
              <a:gd name="connsiteX133-29473" fmla="*/ 2590506 w 10693106"/>
              <a:gd name="connsiteY133-29474" fmla="*/ 1837622 h 5292022"/>
              <a:gd name="connsiteX134-29475" fmla="*/ 2531240 w 10693106"/>
              <a:gd name="connsiteY134-29476" fmla="*/ 1829156 h 5292022"/>
              <a:gd name="connsiteX135-29477" fmla="*/ 2446573 w 10693106"/>
              <a:gd name="connsiteY135-29478" fmla="*/ 1812222 h 5292022"/>
              <a:gd name="connsiteX136-29479" fmla="*/ 2251840 w 10693106"/>
              <a:gd name="connsiteY136-29480" fmla="*/ 1837622 h 5292022"/>
              <a:gd name="connsiteX137-29481" fmla="*/ 2167173 w 10693106"/>
              <a:gd name="connsiteY137-29482" fmla="*/ 1879956 h 5292022"/>
              <a:gd name="connsiteX138-29483" fmla="*/ 1980906 w 10693106"/>
              <a:gd name="connsiteY138-29484" fmla="*/ 1939222 h 5292022"/>
              <a:gd name="connsiteX139-29485" fmla="*/ 1904706 w 10693106"/>
              <a:gd name="connsiteY139-29486" fmla="*/ 1973089 h 5292022"/>
              <a:gd name="connsiteX140-29487" fmla="*/ 1828506 w 10693106"/>
              <a:gd name="connsiteY140-29488" fmla="*/ 1990022 h 5292022"/>
              <a:gd name="connsiteX141-29489" fmla="*/ 1726906 w 10693106"/>
              <a:gd name="connsiteY141-29490" fmla="*/ 2040822 h 5292022"/>
              <a:gd name="connsiteX142-29491" fmla="*/ 1659173 w 10693106"/>
              <a:gd name="connsiteY142-29492" fmla="*/ 2074689 h 5292022"/>
              <a:gd name="connsiteX143-29493" fmla="*/ 1498306 w 10693106"/>
              <a:gd name="connsiteY143-29494" fmla="*/ 2100089 h 5292022"/>
              <a:gd name="connsiteX144-29495" fmla="*/ 914106 w 10693106"/>
              <a:gd name="connsiteY144-29496" fmla="*/ 2032356 h 5292022"/>
              <a:gd name="connsiteX145-29497" fmla="*/ 617773 w 10693106"/>
              <a:gd name="connsiteY145-29498" fmla="*/ 1922289 h 5292022"/>
              <a:gd name="connsiteX146-29499" fmla="*/ 516173 w 10693106"/>
              <a:gd name="connsiteY146-29500" fmla="*/ 1837622 h 5292022"/>
              <a:gd name="connsiteX147-29501" fmla="*/ 355306 w 10693106"/>
              <a:gd name="connsiteY147-29502" fmla="*/ 1625956 h 5292022"/>
              <a:gd name="connsiteX148-29503" fmla="*/ 296040 w 10693106"/>
              <a:gd name="connsiteY148-29504" fmla="*/ 1524356 h 5292022"/>
              <a:gd name="connsiteX149-29505" fmla="*/ 253706 w 10693106"/>
              <a:gd name="connsiteY149-29506" fmla="*/ 1346556 h 5292022"/>
              <a:gd name="connsiteX150-29507" fmla="*/ 245240 w 10693106"/>
              <a:gd name="connsiteY150-29508" fmla="*/ 1219556 h 5292022"/>
              <a:gd name="connsiteX151-29509" fmla="*/ 236773 w 10693106"/>
              <a:gd name="connsiteY151-29510" fmla="*/ 1117956 h 5292022"/>
              <a:gd name="connsiteX152-29511" fmla="*/ 245240 w 10693106"/>
              <a:gd name="connsiteY152-29512" fmla="*/ 847022 h 5292022"/>
              <a:gd name="connsiteX153-29513" fmla="*/ 236773 w 10693106"/>
              <a:gd name="connsiteY153-29514" fmla="*/ 703089 h 5292022"/>
              <a:gd name="connsiteX154-29515" fmla="*/ 109773 w 10693106"/>
              <a:gd name="connsiteY154-29516" fmla="*/ 559156 h 5292022"/>
              <a:gd name="connsiteX155-29517" fmla="*/ 58973 w 10693106"/>
              <a:gd name="connsiteY155-29518" fmla="*/ 482956 h 5292022"/>
              <a:gd name="connsiteX156-29519" fmla="*/ 16640 w 10693106"/>
              <a:gd name="connsiteY156-29520" fmla="*/ 432156 h 5292022"/>
              <a:gd name="connsiteX157-29521" fmla="*/ 8173 w 10693106"/>
              <a:gd name="connsiteY157-29522" fmla="*/ 389822 h 5292022"/>
              <a:gd name="connsiteX158-29523" fmla="*/ 16640 w 10693106"/>
              <a:gd name="connsiteY158-29524" fmla="*/ 339022 h 5292022"/>
              <a:gd name="connsiteX0-29525" fmla="*/ 16640 w 10693106"/>
              <a:gd name="connsiteY0-29526" fmla="*/ 339022 h 5292022"/>
              <a:gd name="connsiteX1-29527" fmla="*/ 58973 w 10693106"/>
              <a:gd name="connsiteY1-29528" fmla="*/ 245889 h 5292022"/>
              <a:gd name="connsiteX2-29529" fmla="*/ 109773 w 10693106"/>
              <a:gd name="connsiteY2-29530" fmla="*/ 178156 h 5292022"/>
              <a:gd name="connsiteX3-29531" fmla="*/ 202906 w 10693106"/>
              <a:gd name="connsiteY3-29532" fmla="*/ 93489 h 5292022"/>
              <a:gd name="connsiteX4-29533" fmla="*/ 236773 w 10693106"/>
              <a:gd name="connsiteY4-29534" fmla="*/ 68089 h 5292022"/>
              <a:gd name="connsiteX5-29535" fmla="*/ 335410 w 10693106"/>
              <a:gd name="connsiteY5-29536" fmla="*/ 58352 h 5292022"/>
              <a:gd name="connsiteX6-29537" fmla="*/ 382400 w 10693106"/>
              <a:gd name="connsiteY6-29538" fmla="*/ 51156 h 5292022"/>
              <a:gd name="connsiteX7-29539" fmla="*/ 434912 w 10693106"/>
              <a:gd name="connsiteY7-29540" fmla="*/ 70071 h 5292022"/>
              <a:gd name="connsiteX8-29541" fmla="*/ 492697 w 10693106"/>
              <a:gd name="connsiteY8-29542" fmla="*/ 74247 h 5292022"/>
              <a:gd name="connsiteX9-29543" fmla="*/ 822897 w 10693106"/>
              <a:gd name="connsiteY9-29544" fmla="*/ 82713 h 5292022"/>
              <a:gd name="connsiteX10-29545" fmla="*/ 1091906 w 10693106"/>
              <a:gd name="connsiteY10-29546" fmla="*/ 356 h 5292022"/>
              <a:gd name="connsiteX11-29547" fmla="*/ 1235840 w 10693106"/>
              <a:gd name="connsiteY11-29548" fmla="*/ 59622 h 5292022"/>
              <a:gd name="connsiteX12-29549" fmla="*/ 1337440 w 10693106"/>
              <a:gd name="connsiteY12-29550" fmla="*/ 135822 h 5292022"/>
              <a:gd name="connsiteX13-29551" fmla="*/ 1422106 w 10693106"/>
              <a:gd name="connsiteY13-29552" fmla="*/ 245889 h 5292022"/>
              <a:gd name="connsiteX14-29553" fmla="*/ 1481373 w 10693106"/>
              <a:gd name="connsiteY14-29554" fmla="*/ 313622 h 5292022"/>
              <a:gd name="connsiteX15-29555" fmla="*/ 1532173 w 10693106"/>
              <a:gd name="connsiteY15-29556" fmla="*/ 347489 h 5292022"/>
              <a:gd name="connsiteX16-29557" fmla="*/ 1684573 w 10693106"/>
              <a:gd name="connsiteY16-29558" fmla="*/ 406756 h 5292022"/>
              <a:gd name="connsiteX17-29559" fmla="*/ 1760773 w 10693106"/>
              <a:gd name="connsiteY17-29560" fmla="*/ 423689 h 5292022"/>
              <a:gd name="connsiteX18-29561" fmla="*/ 1997840 w 10693106"/>
              <a:gd name="connsiteY18-29562" fmla="*/ 415222 h 5292022"/>
              <a:gd name="connsiteX19-29563" fmla="*/ 2116373 w 10693106"/>
              <a:gd name="connsiteY19-29564" fmla="*/ 398289 h 5292022"/>
              <a:gd name="connsiteX20-29565" fmla="*/ 2260306 w 10693106"/>
              <a:gd name="connsiteY20-29566" fmla="*/ 381356 h 5292022"/>
              <a:gd name="connsiteX21-29567" fmla="*/ 2404240 w 10693106"/>
              <a:gd name="connsiteY21-29568" fmla="*/ 355956 h 5292022"/>
              <a:gd name="connsiteX22-29569" fmla="*/ 2455040 w 10693106"/>
              <a:gd name="connsiteY22-29570" fmla="*/ 330556 h 5292022"/>
              <a:gd name="connsiteX23-29571" fmla="*/ 2531240 w 10693106"/>
              <a:gd name="connsiteY23-29572" fmla="*/ 305156 h 5292022"/>
              <a:gd name="connsiteX24-29573" fmla="*/ 2649350 w 10693106"/>
              <a:gd name="connsiteY24-29574" fmla="*/ 225781 h 5292022"/>
              <a:gd name="connsiteX25-29575" fmla="*/ 2742906 w 10693106"/>
              <a:gd name="connsiteY25-29576" fmla="*/ 186622 h 5292022"/>
              <a:gd name="connsiteX26-29577" fmla="*/ 2764920 w 10693106"/>
              <a:gd name="connsiteY26-29578" fmla="*/ 173076 h 5292022"/>
              <a:gd name="connsiteX27-29579" fmla="*/ 2832653 w 10693106"/>
              <a:gd name="connsiteY27-29580" fmla="*/ 167996 h 5292022"/>
              <a:gd name="connsiteX28-29581" fmla="*/ 3002294 w 10693106"/>
              <a:gd name="connsiteY28-29582" fmla="*/ 154680 h 5292022"/>
              <a:gd name="connsiteX29-29583" fmla="*/ 3142763 w 10693106"/>
              <a:gd name="connsiteY29-29584" fmla="*/ 110421 h 5292022"/>
              <a:gd name="connsiteX30-29585" fmla="*/ 3398918 w 10693106"/>
              <a:gd name="connsiteY30-29586" fmla="*/ 72322 h 5292022"/>
              <a:gd name="connsiteX31-29587" fmla="*/ 3606506 w 10693106"/>
              <a:gd name="connsiteY31-29588" fmla="*/ 60393 h 5292022"/>
              <a:gd name="connsiteX32-29589" fmla="*/ 3682706 w 10693106"/>
              <a:gd name="connsiteY32-29590" fmla="*/ 79942 h 5292022"/>
              <a:gd name="connsiteX33-29591" fmla="*/ 3741973 w 10693106"/>
              <a:gd name="connsiteY33-29592" fmla="*/ 86561 h 5292022"/>
              <a:gd name="connsiteX34-29593" fmla="*/ 3794678 w 10693106"/>
              <a:gd name="connsiteY34-29594" fmla="*/ 101321 h 5292022"/>
              <a:gd name="connsiteX35-29595" fmla="*/ 3833625 w 10693106"/>
              <a:gd name="connsiteY35-29596" fmla="*/ 110846 h 5292022"/>
              <a:gd name="connsiteX36-29597" fmla="*/ 3892487 w 10693106"/>
              <a:gd name="connsiteY36-29598" fmla="*/ 116984 h 5292022"/>
              <a:gd name="connsiteX37-29599" fmla="*/ 3933108 w 10693106"/>
              <a:gd name="connsiteY37-29600" fmla="*/ 128837 h 5292022"/>
              <a:gd name="connsiteX38-29601" fmla="*/ 3976923 w 10693106"/>
              <a:gd name="connsiteY38-29602" fmla="*/ 135187 h 5292022"/>
              <a:gd name="connsiteX39-29603" fmla="*/ 4021373 w 10693106"/>
              <a:gd name="connsiteY39-29604" fmla="*/ 144289 h 5292022"/>
              <a:gd name="connsiteX40-29605" fmla="*/ 4055240 w 10693106"/>
              <a:gd name="connsiteY40-29606" fmla="*/ 152756 h 5292022"/>
              <a:gd name="connsiteX41-29607" fmla="*/ 4275373 w 10693106"/>
              <a:gd name="connsiteY41-29608" fmla="*/ 195089 h 5292022"/>
              <a:gd name="connsiteX42-29609" fmla="*/ 4402373 w 10693106"/>
              <a:gd name="connsiteY42-29610" fmla="*/ 228956 h 5292022"/>
              <a:gd name="connsiteX43-29611" fmla="*/ 4529373 w 10693106"/>
              <a:gd name="connsiteY43-29612" fmla="*/ 271289 h 5292022"/>
              <a:gd name="connsiteX44-29613" fmla="*/ 5045840 w 10693106"/>
              <a:gd name="connsiteY44-29614" fmla="*/ 423689 h 5292022"/>
              <a:gd name="connsiteX45-29615" fmla="*/ 5672373 w 10693106"/>
              <a:gd name="connsiteY45-29616" fmla="*/ 931689 h 5292022"/>
              <a:gd name="connsiteX46-29617" fmla="*/ 6839926 w 10693106"/>
              <a:gd name="connsiteY46-29618" fmla="*/ 1252152 h 5292022"/>
              <a:gd name="connsiteX47-29619" fmla="*/ 7703950 w 10693106"/>
              <a:gd name="connsiteY47-29620" fmla="*/ 1069696 h 5292022"/>
              <a:gd name="connsiteX48-29621" fmla="*/ 8652640 w 10693106"/>
              <a:gd name="connsiteY48-29622" fmla="*/ 677689 h 5292022"/>
              <a:gd name="connsiteX49-29623" fmla="*/ 8982840 w 10693106"/>
              <a:gd name="connsiteY49-29624" fmla="*/ 398289 h 5292022"/>
              <a:gd name="connsiteX50-29625" fmla="*/ 9380773 w 10693106"/>
              <a:gd name="connsiteY50-29626" fmla="*/ 355956 h 5292022"/>
              <a:gd name="connsiteX51-29627" fmla="*/ 9744840 w 10693106"/>
              <a:gd name="connsiteY51-29628" fmla="*/ 466022 h 5292022"/>
              <a:gd name="connsiteX52-29629" fmla="*/ 9888773 w 10693106"/>
              <a:gd name="connsiteY52-29630" fmla="*/ 508356 h 5292022"/>
              <a:gd name="connsiteX53-29631" fmla="*/ 9998840 w 10693106"/>
              <a:gd name="connsiteY53-29632" fmla="*/ 559156 h 5292022"/>
              <a:gd name="connsiteX54-29633" fmla="*/ 10083506 w 10693106"/>
              <a:gd name="connsiteY54-29634" fmla="*/ 618422 h 5292022"/>
              <a:gd name="connsiteX55-29635" fmla="*/ 10286706 w 10693106"/>
              <a:gd name="connsiteY55-29636" fmla="*/ 686156 h 5292022"/>
              <a:gd name="connsiteX56-29637" fmla="*/ 10388306 w 10693106"/>
              <a:gd name="connsiteY56-29638" fmla="*/ 889356 h 5292022"/>
              <a:gd name="connsiteX57-29639" fmla="*/ 10540706 w 10693106"/>
              <a:gd name="connsiteY57-29640" fmla="*/ 1261889 h 5292022"/>
              <a:gd name="connsiteX58-29641" fmla="*/ 10557640 w 10693106"/>
              <a:gd name="connsiteY58-29642" fmla="*/ 1346556 h 5292022"/>
              <a:gd name="connsiteX59-29643" fmla="*/ 10583040 w 10693106"/>
              <a:gd name="connsiteY59-29644" fmla="*/ 1448156 h 5292022"/>
              <a:gd name="connsiteX60-29645" fmla="*/ 10616906 w 10693106"/>
              <a:gd name="connsiteY60-29646" fmla="*/ 1651356 h 5292022"/>
              <a:gd name="connsiteX61-29647" fmla="*/ 10633840 w 10693106"/>
              <a:gd name="connsiteY61-29648" fmla="*/ 1736022 h 5292022"/>
              <a:gd name="connsiteX62-29649" fmla="*/ 10650773 w 10693106"/>
              <a:gd name="connsiteY62-29650" fmla="*/ 1769889 h 5292022"/>
              <a:gd name="connsiteX63-29651" fmla="*/ 10676173 w 10693106"/>
              <a:gd name="connsiteY63-29652" fmla="*/ 1854556 h 5292022"/>
              <a:gd name="connsiteX64-29653" fmla="*/ 10693106 w 10693106"/>
              <a:gd name="connsiteY64-29654" fmla="*/ 2006956 h 5292022"/>
              <a:gd name="connsiteX65-29655" fmla="*/ 10625373 w 10693106"/>
              <a:gd name="connsiteY65-29656" fmla="*/ 2227089 h 5292022"/>
              <a:gd name="connsiteX66-29657" fmla="*/ 10608440 w 10693106"/>
              <a:gd name="connsiteY66-29658" fmla="*/ 2252489 h 5292022"/>
              <a:gd name="connsiteX67-29659" fmla="*/ 10540706 w 10693106"/>
              <a:gd name="connsiteY67-29660" fmla="*/ 2396422 h 5292022"/>
              <a:gd name="connsiteX68-29661" fmla="*/ 10498373 w 10693106"/>
              <a:gd name="connsiteY68-29662" fmla="*/ 2481089 h 5292022"/>
              <a:gd name="connsiteX69-29663" fmla="*/ 10439106 w 10693106"/>
              <a:gd name="connsiteY69-29664" fmla="*/ 2667356 h 5292022"/>
              <a:gd name="connsiteX70-29665" fmla="*/ 10430640 w 10693106"/>
              <a:gd name="connsiteY70-29666" fmla="*/ 2709689 h 5292022"/>
              <a:gd name="connsiteX71-29667" fmla="*/ 10405240 w 10693106"/>
              <a:gd name="connsiteY71-29668" fmla="*/ 2785889 h 5292022"/>
              <a:gd name="connsiteX72-29669" fmla="*/ 10396773 w 10693106"/>
              <a:gd name="connsiteY72-29670" fmla="*/ 2819756 h 5292022"/>
              <a:gd name="connsiteX73-29671" fmla="*/ 10362906 w 10693106"/>
              <a:gd name="connsiteY73-29672" fmla="*/ 2912889 h 5292022"/>
              <a:gd name="connsiteX74-29673" fmla="*/ 10329040 w 10693106"/>
              <a:gd name="connsiteY74-29674" fmla="*/ 2955222 h 5292022"/>
              <a:gd name="connsiteX75-29675" fmla="*/ 10227440 w 10693106"/>
              <a:gd name="connsiteY75-29676" fmla="*/ 3056822 h 5292022"/>
              <a:gd name="connsiteX76-29677" fmla="*/ 10168173 w 10693106"/>
              <a:gd name="connsiteY76-29678" fmla="*/ 3124556 h 5292022"/>
              <a:gd name="connsiteX77-29679" fmla="*/ 10117373 w 10693106"/>
              <a:gd name="connsiteY77-29680" fmla="*/ 3175356 h 5292022"/>
              <a:gd name="connsiteX78-29681" fmla="*/ 10032706 w 10693106"/>
              <a:gd name="connsiteY78-29682" fmla="*/ 3276956 h 5292022"/>
              <a:gd name="connsiteX79-29683" fmla="*/ 9948040 w 10693106"/>
              <a:gd name="connsiteY79-29684" fmla="*/ 3336222 h 5292022"/>
              <a:gd name="connsiteX80-29685" fmla="*/ 9905706 w 10693106"/>
              <a:gd name="connsiteY80-29686" fmla="*/ 3361622 h 5292022"/>
              <a:gd name="connsiteX81-29687" fmla="*/ 9829506 w 10693106"/>
              <a:gd name="connsiteY81-29688" fmla="*/ 3378556 h 5292022"/>
              <a:gd name="connsiteX82-29689" fmla="*/ 9727906 w 10693106"/>
              <a:gd name="connsiteY82-29690" fmla="*/ 3420889 h 5292022"/>
              <a:gd name="connsiteX83-29691" fmla="*/ 9634773 w 10693106"/>
              <a:gd name="connsiteY83-29692" fmla="*/ 3446289 h 5292022"/>
              <a:gd name="connsiteX84-29693" fmla="*/ 9456973 w 10693106"/>
              <a:gd name="connsiteY84-29694" fmla="*/ 3539422 h 5292022"/>
              <a:gd name="connsiteX85-29695" fmla="*/ 9313040 w 10693106"/>
              <a:gd name="connsiteY85-29696" fmla="*/ 3666422 h 5292022"/>
              <a:gd name="connsiteX86-29697" fmla="*/ 9279173 w 10693106"/>
              <a:gd name="connsiteY86-29698" fmla="*/ 3683356 h 5292022"/>
              <a:gd name="connsiteX87-29699" fmla="*/ 9067506 w 10693106"/>
              <a:gd name="connsiteY87-29700" fmla="*/ 3861156 h 5292022"/>
              <a:gd name="connsiteX88-29701" fmla="*/ 8999773 w 10693106"/>
              <a:gd name="connsiteY88-29702" fmla="*/ 3928889 h 5292022"/>
              <a:gd name="connsiteX89-29703" fmla="*/ 8813506 w 10693106"/>
              <a:gd name="connsiteY89-29704" fmla="*/ 4064356 h 5292022"/>
              <a:gd name="connsiteX90-29705" fmla="*/ 8728840 w 10693106"/>
              <a:gd name="connsiteY90-29706" fmla="*/ 4106689 h 5292022"/>
              <a:gd name="connsiteX91-29707" fmla="*/ 8373240 w 10693106"/>
              <a:gd name="connsiteY91-29708" fmla="*/ 4140556 h 5292022"/>
              <a:gd name="connsiteX92-29709" fmla="*/ 7966840 w 10693106"/>
              <a:gd name="connsiteY92-29710" fmla="*/ 4233689 h 5292022"/>
              <a:gd name="connsiteX93-29711" fmla="*/ 7687440 w 10693106"/>
              <a:gd name="connsiteY93-29712" fmla="*/ 4394556 h 5292022"/>
              <a:gd name="connsiteX94-29713" fmla="*/ 7551973 w 10693106"/>
              <a:gd name="connsiteY94-29714" fmla="*/ 4479222 h 5292022"/>
              <a:gd name="connsiteX95-29715" fmla="*/ 7374173 w 10693106"/>
              <a:gd name="connsiteY95-29716" fmla="*/ 4657022 h 5292022"/>
              <a:gd name="connsiteX96-29717" fmla="*/ 7374173 w 10693106"/>
              <a:gd name="connsiteY96-29718" fmla="*/ 4657022 h 5292022"/>
              <a:gd name="connsiteX97-29719" fmla="*/ 7221773 w 10693106"/>
              <a:gd name="connsiteY97-29720" fmla="*/ 4775556 h 5292022"/>
              <a:gd name="connsiteX98-29721" fmla="*/ 7027040 w 10693106"/>
              <a:gd name="connsiteY98-29722" fmla="*/ 4902556 h 5292022"/>
              <a:gd name="connsiteX99-29723" fmla="*/ 6883106 w 10693106"/>
              <a:gd name="connsiteY99-29724" fmla="*/ 4970289 h 5292022"/>
              <a:gd name="connsiteX100-29725" fmla="*/ 6815373 w 10693106"/>
              <a:gd name="connsiteY100-29726" fmla="*/ 5012622 h 5292022"/>
              <a:gd name="connsiteX101-29727" fmla="*/ 6646040 w 10693106"/>
              <a:gd name="connsiteY101-29728" fmla="*/ 5105756 h 5292022"/>
              <a:gd name="connsiteX102-29729" fmla="*/ 6527506 w 10693106"/>
              <a:gd name="connsiteY102-29730" fmla="*/ 5165022 h 5292022"/>
              <a:gd name="connsiteX103-29731" fmla="*/ 6298906 w 10693106"/>
              <a:gd name="connsiteY103-29732" fmla="*/ 5241222 h 5292022"/>
              <a:gd name="connsiteX104-29733" fmla="*/ 6197306 w 10693106"/>
              <a:gd name="connsiteY104-29734" fmla="*/ 5266622 h 5292022"/>
              <a:gd name="connsiteX105-29735" fmla="*/ 6061840 w 10693106"/>
              <a:gd name="connsiteY105-29736" fmla="*/ 5275089 h 5292022"/>
              <a:gd name="connsiteX106-29737" fmla="*/ 5917906 w 10693106"/>
              <a:gd name="connsiteY106-29738" fmla="*/ 5292022 h 5292022"/>
              <a:gd name="connsiteX107-29739" fmla="*/ 5748573 w 10693106"/>
              <a:gd name="connsiteY107-29740" fmla="*/ 5283556 h 5292022"/>
              <a:gd name="connsiteX108-29741" fmla="*/ 5282906 w 10693106"/>
              <a:gd name="connsiteY108-29742" fmla="*/ 5173489 h 5292022"/>
              <a:gd name="connsiteX109-29743" fmla="*/ 5138973 w 10693106"/>
              <a:gd name="connsiteY109-29744" fmla="*/ 5071889 h 5292022"/>
              <a:gd name="connsiteX110-29745" fmla="*/ 4959480 w 10693106"/>
              <a:gd name="connsiteY110-29746" fmla="*/ 4988069 h 5292022"/>
              <a:gd name="connsiteX111-29747" fmla="*/ 4842216 w 10693106"/>
              <a:gd name="connsiteY111-29748" fmla="*/ 4953779 h 5292022"/>
              <a:gd name="connsiteX112-29749" fmla="*/ 4797343 w 10693106"/>
              <a:gd name="connsiteY112-29750" fmla="*/ 4878426 h 5292022"/>
              <a:gd name="connsiteX113-29751" fmla="*/ 4686853 w 10693106"/>
              <a:gd name="connsiteY113-29752" fmla="*/ 4788256 h 5292022"/>
              <a:gd name="connsiteX114-29753" fmla="*/ 4536146 w 10693106"/>
              <a:gd name="connsiteY114-29754" fmla="*/ 4712902 h 5292022"/>
              <a:gd name="connsiteX115-29755" fmla="*/ 4365120 w 10693106"/>
              <a:gd name="connsiteY115-29756" fmla="*/ 4616382 h 5292022"/>
              <a:gd name="connsiteX116-29757" fmla="*/ 3977346 w 10693106"/>
              <a:gd name="connsiteY116-29758" fmla="*/ 4470544 h 5292022"/>
              <a:gd name="connsiteX117-29759" fmla="*/ 3962530 w 10693106"/>
              <a:gd name="connsiteY117-29760" fmla="*/ 4135052 h 5292022"/>
              <a:gd name="connsiteX118-29761" fmla="*/ 3919773 w 10693106"/>
              <a:gd name="connsiteY118-29762" fmla="*/ 3920422 h 5292022"/>
              <a:gd name="connsiteX119-29763" fmla="*/ 3877440 w 10693106"/>
              <a:gd name="connsiteY119-29764" fmla="*/ 3624089 h 5292022"/>
              <a:gd name="connsiteX120-29765" fmla="*/ 3852040 w 10693106"/>
              <a:gd name="connsiteY120-29766" fmla="*/ 3530956 h 5292022"/>
              <a:gd name="connsiteX121-29767" fmla="*/ 3801240 w 10693106"/>
              <a:gd name="connsiteY121-29768" fmla="*/ 3420889 h 5292022"/>
              <a:gd name="connsiteX122-29769" fmla="*/ 3733506 w 10693106"/>
              <a:gd name="connsiteY122-29770" fmla="*/ 3319289 h 5292022"/>
              <a:gd name="connsiteX123-29771" fmla="*/ 3242440 w 10693106"/>
              <a:gd name="connsiteY123-29772" fmla="*/ 3099156 h 5292022"/>
              <a:gd name="connsiteX124-29773" fmla="*/ 3123906 w 10693106"/>
              <a:gd name="connsiteY124-29774" fmla="*/ 2997556 h 5292022"/>
              <a:gd name="connsiteX125-29775" fmla="*/ 2988440 w 10693106"/>
              <a:gd name="connsiteY125-29776" fmla="*/ 2802822 h 5292022"/>
              <a:gd name="connsiteX126-29777" fmla="*/ 2971506 w 10693106"/>
              <a:gd name="connsiteY126-29778" fmla="*/ 2743556 h 5292022"/>
              <a:gd name="connsiteX127-29779" fmla="*/ 2996906 w 10693106"/>
              <a:gd name="connsiteY127-29780" fmla="*/ 2531889 h 5292022"/>
              <a:gd name="connsiteX128-29781" fmla="*/ 3013840 w 10693106"/>
              <a:gd name="connsiteY128-29782" fmla="*/ 2430289 h 5292022"/>
              <a:gd name="connsiteX129-29783" fmla="*/ 3005373 w 10693106"/>
              <a:gd name="connsiteY129-29784" fmla="*/ 2311756 h 5292022"/>
              <a:gd name="connsiteX130-29785" fmla="*/ 2988440 w 10693106"/>
              <a:gd name="connsiteY130-29786" fmla="*/ 2260956 h 5292022"/>
              <a:gd name="connsiteX131-29787" fmla="*/ 2802173 w 10693106"/>
              <a:gd name="connsiteY131-29788" fmla="*/ 2006956 h 5292022"/>
              <a:gd name="connsiteX132-29789" fmla="*/ 2641306 w 10693106"/>
              <a:gd name="connsiteY132-29790" fmla="*/ 1863022 h 5292022"/>
              <a:gd name="connsiteX133-29791" fmla="*/ 2590506 w 10693106"/>
              <a:gd name="connsiteY133-29792" fmla="*/ 1837622 h 5292022"/>
              <a:gd name="connsiteX134-29793" fmla="*/ 2531240 w 10693106"/>
              <a:gd name="connsiteY134-29794" fmla="*/ 1829156 h 5292022"/>
              <a:gd name="connsiteX135-29795" fmla="*/ 2446573 w 10693106"/>
              <a:gd name="connsiteY135-29796" fmla="*/ 1812222 h 5292022"/>
              <a:gd name="connsiteX136-29797" fmla="*/ 2251840 w 10693106"/>
              <a:gd name="connsiteY136-29798" fmla="*/ 1837622 h 5292022"/>
              <a:gd name="connsiteX137-29799" fmla="*/ 2167173 w 10693106"/>
              <a:gd name="connsiteY137-29800" fmla="*/ 1879956 h 5292022"/>
              <a:gd name="connsiteX138-29801" fmla="*/ 1980906 w 10693106"/>
              <a:gd name="connsiteY138-29802" fmla="*/ 1939222 h 5292022"/>
              <a:gd name="connsiteX139-29803" fmla="*/ 1904706 w 10693106"/>
              <a:gd name="connsiteY139-29804" fmla="*/ 1973089 h 5292022"/>
              <a:gd name="connsiteX140-29805" fmla="*/ 1828506 w 10693106"/>
              <a:gd name="connsiteY140-29806" fmla="*/ 1990022 h 5292022"/>
              <a:gd name="connsiteX141-29807" fmla="*/ 1726906 w 10693106"/>
              <a:gd name="connsiteY141-29808" fmla="*/ 2040822 h 5292022"/>
              <a:gd name="connsiteX142-29809" fmla="*/ 1659173 w 10693106"/>
              <a:gd name="connsiteY142-29810" fmla="*/ 2074689 h 5292022"/>
              <a:gd name="connsiteX143-29811" fmla="*/ 1498306 w 10693106"/>
              <a:gd name="connsiteY143-29812" fmla="*/ 2100089 h 5292022"/>
              <a:gd name="connsiteX144-29813" fmla="*/ 914106 w 10693106"/>
              <a:gd name="connsiteY144-29814" fmla="*/ 2032356 h 5292022"/>
              <a:gd name="connsiteX145-29815" fmla="*/ 617773 w 10693106"/>
              <a:gd name="connsiteY145-29816" fmla="*/ 1922289 h 5292022"/>
              <a:gd name="connsiteX146-29817" fmla="*/ 516173 w 10693106"/>
              <a:gd name="connsiteY146-29818" fmla="*/ 1837622 h 5292022"/>
              <a:gd name="connsiteX147-29819" fmla="*/ 355306 w 10693106"/>
              <a:gd name="connsiteY147-29820" fmla="*/ 1625956 h 5292022"/>
              <a:gd name="connsiteX148-29821" fmla="*/ 296040 w 10693106"/>
              <a:gd name="connsiteY148-29822" fmla="*/ 1524356 h 5292022"/>
              <a:gd name="connsiteX149-29823" fmla="*/ 253706 w 10693106"/>
              <a:gd name="connsiteY149-29824" fmla="*/ 1346556 h 5292022"/>
              <a:gd name="connsiteX150-29825" fmla="*/ 245240 w 10693106"/>
              <a:gd name="connsiteY150-29826" fmla="*/ 1219556 h 5292022"/>
              <a:gd name="connsiteX151-29827" fmla="*/ 236773 w 10693106"/>
              <a:gd name="connsiteY151-29828" fmla="*/ 1117956 h 5292022"/>
              <a:gd name="connsiteX152-29829" fmla="*/ 245240 w 10693106"/>
              <a:gd name="connsiteY152-29830" fmla="*/ 847022 h 5292022"/>
              <a:gd name="connsiteX153-29831" fmla="*/ 236773 w 10693106"/>
              <a:gd name="connsiteY153-29832" fmla="*/ 703089 h 5292022"/>
              <a:gd name="connsiteX154-29833" fmla="*/ 109773 w 10693106"/>
              <a:gd name="connsiteY154-29834" fmla="*/ 559156 h 5292022"/>
              <a:gd name="connsiteX155-29835" fmla="*/ 58973 w 10693106"/>
              <a:gd name="connsiteY155-29836" fmla="*/ 482956 h 5292022"/>
              <a:gd name="connsiteX156-29837" fmla="*/ 16640 w 10693106"/>
              <a:gd name="connsiteY156-29838" fmla="*/ 432156 h 5292022"/>
              <a:gd name="connsiteX157-29839" fmla="*/ 8173 w 10693106"/>
              <a:gd name="connsiteY157-29840" fmla="*/ 389822 h 5292022"/>
              <a:gd name="connsiteX158-29841" fmla="*/ 16640 w 10693106"/>
              <a:gd name="connsiteY158-29842" fmla="*/ 339022 h 5292022"/>
              <a:gd name="connsiteX0-29843" fmla="*/ 16640 w 10693106"/>
              <a:gd name="connsiteY0-29844" fmla="*/ 339022 h 5292022"/>
              <a:gd name="connsiteX1-29845" fmla="*/ 58973 w 10693106"/>
              <a:gd name="connsiteY1-29846" fmla="*/ 245889 h 5292022"/>
              <a:gd name="connsiteX2-29847" fmla="*/ 109773 w 10693106"/>
              <a:gd name="connsiteY2-29848" fmla="*/ 178156 h 5292022"/>
              <a:gd name="connsiteX3-29849" fmla="*/ 202906 w 10693106"/>
              <a:gd name="connsiteY3-29850" fmla="*/ 93489 h 5292022"/>
              <a:gd name="connsiteX4-29851" fmla="*/ 236773 w 10693106"/>
              <a:gd name="connsiteY4-29852" fmla="*/ 68089 h 5292022"/>
              <a:gd name="connsiteX5-29853" fmla="*/ 335410 w 10693106"/>
              <a:gd name="connsiteY5-29854" fmla="*/ 58352 h 5292022"/>
              <a:gd name="connsiteX6-29855" fmla="*/ 382400 w 10693106"/>
              <a:gd name="connsiteY6-29856" fmla="*/ 51156 h 5292022"/>
              <a:gd name="connsiteX7-29857" fmla="*/ 434912 w 10693106"/>
              <a:gd name="connsiteY7-29858" fmla="*/ 70071 h 5292022"/>
              <a:gd name="connsiteX8-29859" fmla="*/ 492697 w 10693106"/>
              <a:gd name="connsiteY8-29860" fmla="*/ 74247 h 5292022"/>
              <a:gd name="connsiteX9-29861" fmla="*/ 822897 w 10693106"/>
              <a:gd name="connsiteY9-29862" fmla="*/ 82713 h 5292022"/>
              <a:gd name="connsiteX10-29863" fmla="*/ 1091906 w 10693106"/>
              <a:gd name="connsiteY10-29864" fmla="*/ 356 h 5292022"/>
              <a:gd name="connsiteX11-29865" fmla="*/ 1235840 w 10693106"/>
              <a:gd name="connsiteY11-29866" fmla="*/ 59622 h 5292022"/>
              <a:gd name="connsiteX12-29867" fmla="*/ 1337440 w 10693106"/>
              <a:gd name="connsiteY12-29868" fmla="*/ 135822 h 5292022"/>
              <a:gd name="connsiteX13-29869" fmla="*/ 1422106 w 10693106"/>
              <a:gd name="connsiteY13-29870" fmla="*/ 245889 h 5292022"/>
              <a:gd name="connsiteX14-29871" fmla="*/ 1481373 w 10693106"/>
              <a:gd name="connsiteY14-29872" fmla="*/ 313622 h 5292022"/>
              <a:gd name="connsiteX15-29873" fmla="*/ 1532173 w 10693106"/>
              <a:gd name="connsiteY15-29874" fmla="*/ 347489 h 5292022"/>
              <a:gd name="connsiteX16-29875" fmla="*/ 1684573 w 10693106"/>
              <a:gd name="connsiteY16-29876" fmla="*/ 406756 h 5292022"/>
              <a:gd name="connsiteX17-29877" fmla="*/ 1760773 w 10693106"/>
              <a:gd name="connsiteY17-29878" fmla="*/ 423689 h 5292022"/>
              <a:gd name="connsiteX18-29879" fmla="*/ 1997840 w 10693106"/>
              <a:gd name="connsiteY18-29880" fmla="*/ 415222 h 5292022"/>
              <a:gd name="connsiteX19-29881" fmla="*/ 2116373 w 10693106"/>
              <a:gd name="connsiteY19-29882" fmla="*/ 398289 h 5292022"/>
              <a:gd name="connsiteX20-29883" fmla="*/ 2260306 w 10693106"/>
              <a:gd name="connsiteY20-29884" fmla="*/ 381356 h 5292022"/>
              <a:gd name="connsiteX21-29885" fmla="*/ 2404240 w 10693106"/>
              <a:gd name="connsiteY21-29886" fmla="*/ 355956 h 5292022"/>
              <a:gd name="connsiteX22-29887" fmla="*/ 2455040 w 10693106"/>
              <a:gd name="connsiteY22-29888" fmla="*/ 330556 h 5292022"/>
              <a:gd name="connsiteX23-29889" fmla="*/ 2531240 w 10693106"/>
              <a:gd name="connsiteY23-29890" fmla="*/ 305156 h 5292022"/>
              <a:gd name="connsiteX24-29891" fmla="*/ 2649350 w 10693106"/>
              <a:gd name="connsiteY24-29892" fmla="*/ 225781 h 5292022"/>
              <a:gd name="connsiteX25-29893" fmla="*/ 2742906 w 10693106"/>
              <a:gd name="connsiteY25-29894" fmla="*/ 186622 h 5292022"/>
              <a:gd name="connsiteX26-29895" fmla="*/ 2764920 w 10693106"/>
              <a:gd name="connsiteY26-29896" fmla="*/ 173076 h 5292022"/>
              <a:gd name="connsiteX27-29897" fmla="*/ 2832653 w 10693106"/>
              <a:gd name="connsiteY27-29898" fmla="*/ 167996 h 5292022"/>
              <a:gd name="connsiteX28-29899" fmla="*/ 3002294 w 10693106"/>
              <a:gd name="connsiteY28-29900" fmla="*/ 154680 h 5292022"/>
              <a:gd name="connsiteX29-29901" fmla="*/ 3142763 w 10693106"/>
              <a:gd name="connsiteY29-29902" fmla="*/ 110421 h 5292022"/>
              <a:gd name="connsiteX30-29903" fmla="*/ 3398918 w 10693106"/>
              <a:gd name="connsiteY30-29904" fmla="*/ 72322 h 5292022"/>
              <a:gd name="connsiteX31-29905" fmla="*/ 3606506 w 10693106"/>
              <a:gd name="connsiteY31-29906" fmla="*/ 60393 h 5292022"/>
              <a:gd name="connsiteX32-29907" fmla="*/ 3682706 w 10693106"/>
              <a:gd name="connsiteY32-29908" fmla="*/ 79942 h 5292022"/>
              <a:gd name="connsiteX33-29909" fmla="*/ 3741973 w 10693106"/>
              <a:gd name="connsiteY33-29910" fmla="*/ 86561 h 5292022"/>
              <a:gd name="connsiteX34-29911" fmla="*/ 3794678 w 10693106"/>
              <a:gd name="connsiteY34-29912" fmla="*/ 101321 h 5292022"/>
              <a:gd name="connsiteX35-29913" fmla="*/ 3833625 w 10693106"/>
              <a:gd name="connsiteY35-29914" fmla="*/ 110846 h 5292022"/>
              <a:gd name="connsiteX36-29915" fmla="*/ 3892487 w 10693106"/>
              <a:gd name="connsiteY36-29916" fmla="*/ 116984 h 5292022"/>
              <a:gd name="connsiteX37-29917" fmla="*/ 3933108 w 10693106"/>
              <a:gd name="connsiteY37-29918" fmla="*/ 128837 h 5292022"/>
              <a:gd name="connsiteX38-29919" fmla="*/ 3976923 w 10693106"/>
              <a:gd name="connsiteY38-29920" fmla="*/ 135187 h 5292022"/>
              <a:gd name="connsiteX39-29921" fmla="*/ 4021373 w 10693106"/>
              <a:gd name="connsiteY39-29922" fmla="*/ 144289 h 5292022"/>
              <a:gd name="connsiteX40-29923" fmla="*/ 4055240 w 10693106"/>
              <a:gd name="connsiteY40-29924" fmla="*/ 152756 h 5292022"/>
              <a:gd name="connsiteX41-29925" fmla="*/ 4275373 w 10693106"/>
              <a:gd name="connsiteY41-29926" fmla="*/ 195089 h 5292022"/>
              <a:gd name="connsiteX42-29927" fmla="*/ 4402373 w 10693106"/>
              <a:gd name="connsiteY42-29928" fmla="*/ 228956 h 5292022"/>
              <a:gd name="connsiteX43-29929" fmla="*/ 4529373 w 10693106"/>
              <a:gd name="connsiteY43-29930" fmla="*/ 271289 h 5292022"/>
              <a:gd name="connsiteX44-29931" fmla="*/ 5045840 w 10693106"/>
              <a:gd name="connsiteY44-29932" fmla="*/ 423689 h 5292022"/>
              <a:gd name="connsiteX45-29933" fmla="*/ 5672373 w 10693106"/>
              <a:gd name="connsiteY45-29934" fmla="*/ 931689 h 5292022"/>
              <a:gd name="connsiteX46-29935" fmla="*/ 6839926 w 10693106"/>
              <a:gd name="connsiteY46-29936" fmla="*/ 1252152 h 5292022"/>
              <a:gd name="connsiteX47-29937" fmla="*/ 7703950 w 10693106"/>
              <a:gd name="connsiteY47-29938" fmla="*/ 1069696 h 5292022"/>
              <a:gd name="connsiteX48-29939" fmla="*/ 8652640 w 10693106"/>
              <a:gd name="connsiteY48-29940" fmla="*/ 677689 h 5292022"/>
              <a:gd name="connsiteX49-29941" fmla="*/ 8982840 w 10693106"/>
              <a:gd name="connsiteY49-29942" fmla="*/ 398289 h 5292022"/>
              <a:gd name="connsiteX50-29943" fmla="*/ 9380773 w 10693106"/>
              <a:gd name="connsiteY50-29944" fmla="*/ 355956 h 5292022"/>
              <a:gd name="connsiteX51-29945" fmla="*/ 9744840 w 10693106"/>
              <a:gd name="connsiteY51-29946" fmla="*/ 466022 h 5292022"/>
              <a:gd name="connsiteX52-29947" fmla="*/ 9888773 w 10693106"/>
              <a:gd name="connsiteY52-29948" fmla="*/ 508356 h 5292022"/>
              <a:gd name="connsiteX53-29949" fmla="*/ 9998840 w 10693106"/>
              <a:gd name="connsiteY53-29950" fmla="*/ 559156 h 5292022"/>
              <a:gd name="connsiteX54-29951" fmla="*/ 10083506 w 10693106"/>
              <a:gd name="connsiteY54-29952" fmla="*/ 618422 h 5292022"/>
              <a:gd name="connsiteX55-29953" fmla="*/ 10286706 w 10693106"/>
              <a:gd name="connsiteY55-29954" fmla="*/ 686156 h 5292022"/>
              <a:gd name="connsiteX56-29955" fmla="*/ 10388306 w 10693106"/>
              <a:gd name="connsiteY56-29956" fmla="*/ 889356 h 5292022"/>
              <a:gd name="connsiteX57-29957" fmla="*/ 10540706 w 10693106"/>
              <a:gd name="connsiteY57-29958" fmla="*/ 1261889 h 5292022"/>
              <a:gd name="connsiteX58-29959" fmla="*/ 10557640 w 10693106"/>
              <a:gd name="connsiteY58-29960" fmla="*/ 1346556 h 5292022"/>
              <a:gd name="connsiteX59-29961" fmla="*/ 10583040 w 10693106"/>
              <a:gd name="connsiteY59-29962" fmla="*/ 1448156 h 5292022"/>
              <a:gd name="connsiteX60-29963" fmla="*/ 10616906 w 10693106"/>
              <a:gd name="connsiteY60-29964" fmla="*/ 1651356 h 5292022"/>
              <a:gd name="connsiteX61-29965" fmla="*/ 10633840 w 10693106"/>
              <a:gd name="connsiteY61-29966" fmla="*/ 1736022 h 5292022"/>
              <a:gd name="connsiteX62-29967" fmla="*/ 10650773 w 10693106"/>
              <a:gd name="connsiteY62-29968" fmla="*/ 1769889 h 5292022"/>
              <a:gd name="connsiteX63-29969" fmla="*/ 10676173 w 10693106"/>
              <a:gd name="connsiteY63-29970" fmla="*/ 1854556 h 5292022"/>
              <a:gd name="connsiteX64-29971" fmla="*/ 10693106 w 10693106"/>
              <a:gd name="connsiteY64-29972" fmla="*/ 2006956 h 5292022"/>
              <a:gd name="connsiteX65-29973" fmla="*/ 10625373 w 10693106"/>
              <a:gd name="connsiteY65-29974" fmla="*/ 2227089 h 5292022"/>
              <a:gd name="connsiteX66-29975" fmla="*/ 10608440 w 10693106"/>
              <a:gd name="connsiteY66-29976" fmla="*/ 2252489 h 5292022"/>
              <a:gd name="connsiteX67-29977" fmla="*/ 10540706 w 10693106"/>
              <a:gd name="connsiteY67-29978" fmla="*/ 2396422 h 5292022"/>
              <a:gd name="connsiteX68-29979" fmla="*/ 10498373 w 10693106"/>
              <a:gd name="connsiteY68-29980" fmla="*/ 2481089 h 5292022"/>
              <a:gd name="connsiteX69-29981" fmla="*/ 10439106 w 10693106"/>
              <a:gd name="connsiteY69-29982" fmla="*/ 2667356 h 5292022"/>
              <a:gd name="connsiteX70-29983" fmla="*/ 10430640 w 10693106"/>
              <a:gd name="connsiteY70-29984" fmla="*/ 2709689 h 5292022"/>
              <a:gd name="connsiteX71-29985" fmla="*/ 10405240 w 10693106"/>
              <a:gd name="connsiteY71-29986" fmla="*/ 2785889 h 5292022"/>
              <a:gd name="connsiteX72-29987" fmla="*/ 10396773 w 10693106"/>
              <a:gd name="connsiteY72-29988" fmla="*/ 2819756 h 5292022"/>
              <a:gd name="connsiteX73-29989" fmla="*/ 10362906 w 10693106"/>
              <a:gd name="connsiteY73-29990" fmla="*/ 2912889 h 5292022"/>
              <a:gd name="connsiteX74-29991" fmla="*/ 10329040 w 10693106"/>
              <a:gd name="connsiteY74-29992" fmla="*/ 2955222 h 5292022"/>
              <a:gd name="connsiteX75-29993" fmla="*/ 10227440 w 10693106"/>
              <a:gd name="connsiteY75-29994" fmla="*/ 3056822 h 5292022"/>
              <a:gd name="connsiteX76-29995" fmla="*/ 10168173 w 10693106"/>
              <a:gd name="connsiteY76-29996" fmla="*/ 3124556 h 5292022"/>
              <a:gd name="connsiteX77-29997" fmla="*/ 10117373 w 10693106"/>
              <a:gd name="connsiteY77-29998" fmla="*/ 3175356 h 5292022"/>
              <a:gd name="connsiteX78-29999" fmla="*/ 10032706 w 10693106"/>
              <a:gd name="connsiteY78-30000" fmla="*/ 3276956 h 5292022"/>
              <a:gd name="connsiteX79-30001" fmla="*/ 9948040 w 10693106"/>
              <a:gd name="connsiteY79-30002" fmla="*/ 3336222 h 5292022"/>
              <a:gd name="connsiteX80-30003" fmla="*/ 9905706 w 10693106"/>
              <a:gd name="connsiteY80-30004" fmla="*/ 3361622 h 5292022"/>
              <a:gd name="connsiteX81-30005" fmla="*/ 9829506 w 10693106"/>
              <a:gd name="connsiteY81-30006" fmla="*/ 3378556 h 5292022"/>
              <a:gd name="connsiteX82-30007" fmla="*/ 9727906 w 10693106"/>
              <a:gd name="connsiteY82-30008" fmla="*/ 3420889 h 5292022"/>
              <a:gd name="connsiteX83-30009" fmla="*/ 9634773 w 10693106"/>
              <a:gd name="connsiteY83-30010" fmla="*/ 3446289 h 5292022"/>
              <a:gd name="connsiteX84-30011" fmla="*/ 9456973 w 10693106"/>
              <a:gd name="connsiteY84-30012" fmla="*/ 3539422 h 5292022"/>
              <a:gd name="connsiteX85-30013" fmla="*/ 9313040 w 10693106"/>
              <a:gd name="connsiteY85-30014" fmla="*/ 3666422 h 5292022"/>
              <a:gd name="connsiteX86-30015" fmla="*/ 9279173 w 10693106"/>
              <a:gd name="connsiteY86-30016" fmla="*/ 3683356 h 5292022"/>
              <a:gd name="connsiteX87-30017" fmla="*/ 9067506 w 10693106"/>
              <a:gd name="connsiteY87-30018" fmla="*/ 3861156 h 5292022"/>
              <a:gd name="connsiteX88-30019" fmla="*/ 8999773 w 10693106"/>
              <a:gd name="connsiteY88-30020" fmla="*/ 3928889 h 5292022"/>
              <a:gd name="connsiteX89-30021" fmla="*/ 8813506 w 10693106"/>
              <a:gd name="connsiteY89-30022" fmla="*/ 4064356 h 5292022"/>
              <a:gd name="connsiteX90-30023" fmla="*/ 8728840 w 10693106"/>
              <a:gd name="connsiteY90-30024" fmla="*/ 4106689 h 5292022"/>
              <a:gd name="connsiteX91-30025" fmla="*/ 8373240 w 10693106"/>
              <a:gd name="connsiteY91-30026" fmla="*/ 4140556 h 5292022"/>
              <a:gd name="connsiteX92-30027" fmla="*/ 7966840 w 10693106"/>
              <a:gd name="connsiteY92-30028" fmla="*/ 4233689 h 5292022"/>
              <a:gd name="connsiteX93-30029" fmla="*/ 7687440 w 10693106"/>
              <a:gd name="connsiteY93-30030" fmla="*/ 4394556 h 5292022"/>
              <a:gd name="connsiteX94-30031" fmla="*/ 7551973 w 10693106"/>
              <a:gd name="connsiteY94-30032" fmla="*/ 4479222 h 5292022"/>
              <a:gd name="connsiteX95-30033" fmla="*/ 7374173 w 10693106"/>
              <a:gd name="connsiteY95-30034" fmla="*/ 4657022 h 5292022"/>
              <a:gd name="connsiteX96-30035" fmla="*/ 7374173 w 10693106"/>
              <a:gd name="connsiteY96-30036" fmla="*/ 4657022 h 5292022"/>
              <a:gd name="connsiteX97-30037" fmla="*/ 7221773 w 10693106"/>
              <a:gd name="connsiteY97-30038" fmla="*/ 4775556 h 5292022"/>
              <a:gd name="connsiteX98-30039" fmla="*/ 7027040 w 10693106"/>
              <a:gd name="connsiteY98-30040" fmla="*/ 4902556 h 5292022"/>
              <a:gd name="connsiteX99-30041" fmla="*/ 6883106 w 10693106"/>
              <a:gd name="connsiteY99-30042" fmla="*/ 4970289 h 5292022"/>
              <a:gd name="connsiteX100-30043" fmla="*/ 6815373 w 10693106"/>
              <a:gd name="connsiteY100-30044" fmla="*/ 5012622 h 5292022"/>
              <a:gd name="connsiteX101-30045" fmla="*/ 6646040 w 10693106"/>
              <a:gd name="connsiteY101-30046" fmla="*/ 5105756 h 5292022"/>
              <a:gd name="connsiteX102-30047" fmla="*/ 6527506 w 10693106"/>
              <a:gd name="connsiteY102-30048" fmla="*/ 5165022 h 5292022"/>
              <a:gd name="connsiteX103-30049" fmla="*/ 6298906 w 10693106"/>
              <a:gd name="connsiteY103-30050" fmla="*/ 5241222 h 5292022"/>
              <a:gd name="connsiteX104-30051" fmla="*/ 6197306 w 10693106"/>
              <a:gd name="connsiteY104-30052" fmla="*/ 5266622 h 5292022"/>
              <a:gd name="connsiteX105-30053" fmla="*/ 6061840 w 10693106"/>
              <a:gd name="connsiteY105-30054" fmla="*/ 5275089 h 5292022"/>
              <a:gd name="connsiteX106-30055" fmla="*/ 5917906 w 10693106"/>
              <a:gd name="connsiteY106-30056" fmla="*/ 5292022 h 5292022"/>
              <a:gd name="connsiteX107-30057" fmla="*/ 5748573 w 10693106"/>
              <a:gd name="connsiteY107-30058" fmla="*/ 5283556 h 5292022"/>
              <a:gd name="connsiteX108-30059" fmla="*/ 5282906 w 10693106"/>
              <a:gd name="connsiteY108-30060" fmla="*/ 5173489 h 5292022"/>
              <a:gd name="connsiteX109-30061" fmla="*/ 5138973 w 10693106"/>
              <a:gd name="connsiteY109-30062" fmla="*/ 5071889 h 5292022"/>
              <a:gd name="connsiteX110-30063" fmla="*/ 4959480 w 10693106"/>
              <a:gd name="connsiteY110-30064" fmla="*/ 4988069 h 5292022"/>
              <a:gd name="connsiteX111-30065" fmla="*/ 4842216 w 10693106"/>
              <a:gd name="connsiteY111-30066" fmla="*/ 4953779 h 5292022"/>
              <a:gd name="connsiteX112-30067" fmla="*/ 4797343 w 10693106"/>
              <a:gd name="connsiteY112-30068" fmla="*/ 4878426 h 5292022"/>
              <a:gd name="connsiteX113-30069" fmla="*/ 4686853 w 10693106"/>
              <a:gd name="connsiteY113-30070" fmla="*/ 4788256 h 5292022"/>
              <a:gd name="connsiteX114-30071" fmla="*/ 4536146 w 10693106"/>
              <a:gd name="connsiteY114-30072" fmla="*/ 4712902 h 5292022"/>
              <a:gd name="connsiteX115-30073" fmla="*/ 4365120 w 10693106"/>
              <a:gd name="connsiteY115-30074" fmla="*/ 4616382 h 5292022"/>
              <a:gd name="connsiteX116-30075" fmla="*/ 3977346 w 10693106"/>
              <a:gd name="connsiteY116-30076" fmla="*/ 4470544 h 5292022"/>
              <a:gd name="connsiteX117-30077" fmla="*/ 3741550 w 10693106"/>
              <a:gd name="connsiteY117-30078" fmla="*/ 4154102 h 5292022"/>
              <a:gd name="connsiteX118-30079" fmla="*/ 3919773 w 10693106"/>
              <a:gd name="connsiteY118-30080" fmla="*/ 3920422 h 5292022"/>
              <a:gd name="connsiteX119-30081" fmla="*/ 3877440 w 10693106"/>
              <a:gd name="connsiteY119-30082" fmla="*/ 3624089 h 5292022"/>
              <a:gd name="connsiteX120-30083" fmla="*/ 3852040 w 10693106"/>
              <a:gd name="connsiteY120-30084" fmla="*/ 3530956 h 5292022"/>
              <a:gd name="connsiteX121-30085" fmla="*/ 3801240 w 10693106"/>
              <a:gd name="connsiteY121-30086" fmla="*/ 3420889 h 5292022"/>
              <a:gd name="connsiteX122-30087" fmla="*/ 3733506 w 10693106"/>
              <a:gd name="connsiteY122-30088" fmla="*/ 3319289 h 5292022"/>
              <a:gd name="connsiteX123-30089" fmla="*/ 3242440 w 10693106"/>
              <a:gd name="connsiteY123-30090" fmla="*/ 3099156 h 5292022"/>
              <a:gd name="connsiteX124-30091" fmla="*/ 3123906 w 10693106"/>
              <a:gd name="connsiteY124-30092" fmla="*/ 2997556 h 5292022"/>
              <a:gd name="connsiteX125-30093" fmla="*/ 2988440 w 10693106"/>
              <a:gd name="connsiteY125-30094" fmla="*/ 2802822 h 5292022"/>
              <a:gd name="connsiteX126-30095" fmla="*/ 2971506 w 10693106"/>
              <a:gd name="connsiteY126-30096" fmla="*/ 2743556 h 5292022"/>
              <a:gd name="connsiteX127-30097" fmla="*/ 2996906 w 10693106"/>
              <a:gd name="connsiteY127-30098" fmla="*/ 2531889 h 5292022"/>
              <a:gd name="connsiteX128-30099" fmla="*/ 3013840 w 10693106"/>
              <a:gd name="connsiteY128-30100" fmla="*/ 2430289 h 5292022"/>
              <a:gd name="connsiteX129-30101" fmla="*/ 3005373 w 10693106"/>
              <a:gd name="connsiteY129-30102" fmla="*/ 2311756 h 5292022"/>
              <a:gd name="connsiteX130-30103" fmla="*/ 2988440 w 10693106"/>
              <a:gd name="connsiteY130-30104" fmla="*/ 2260956 h 5292022"/>
              <a:gd name="connsiteX131-30105" fmla="*/ 2802173 w 10693106"/>
              <a:gd name="connsiteY131-30106" fmla="*/ 2006956 h 5292022"/>
              <a:gd name="connsiteX132-30107" fmla="*/ 2641306 w 10693106"/>
              <a:gd name="connsiteY132-30108" fmla="*/ 1863022 h 5292022"/>
              <a:gd name="connsiteX133-30109" fmla="*/ 2590506 w 10693106"/>
              <a:gd name="connsiteY133-30110" fmla="*/ 1837622 h 5292022"/>
              <a:gd name="connsiteX134-30111" fmla="*/ 2531240 w 10693106"/>
              <a:gd name="connsiteY134-30112" fmla="*/ 1829156 h 5292022"/>
              <a:gd name="connsiteX135-30113" fmla="*/ 2446573 w 10693106"/>
              <a:gd name="connsiteY135-30114" fmla="*/ 1812222 h 5292022"/>
              <a:gd name="connsiteX136-30115" fmla="*/ 2251840 w 10693106"/>
              <a:gd name="connsiteY136-30116" fmla="*/ 1837622 h 5292022"/>
              <a:gd name="connsiteX137-30117" fmla="*/ 2167173 w 10693106"/>
              <a:gd name="connsiteY137-30118" fmla="*/ 1879956 h 5292022"/>
              <a:gd name="connsiteX138-30119" fmla="*/ 1980906 w 10693106"/>
              <a:gd name="connsiteY138-30120" fmla="*/ 1939222 h 5292022"/>
              <a:gd name="connsiteX139-30121" fmla="*/ 1904706 w 10693106"/>
              <a:gd name="connsiteY139-30122" fmla="*/ 1973089 h 5292022"/>
              <a:gd name="connsiteX140-30123" fmla="*/ 1828506 w 10693106"/>
              <a:gd name="connsiteY140-30124" fmla="*/ 1990022 h 5292022"/>
              <a:gd name="connsiteX141-30125" fmla="*/ 1726906 w 10693106"/>
              <a:gd name="connsiteY141-30126" fmla="*/ 2040822 h 5292022"/>
              <a:gd name="connsiteX142-30127" fmla="*/ 1659173 w 10693106"/>
              <a:gd name="connsiteY142-30128" fmla="*/ 2074689 h 5292022"/>
              <a:gd name="connsiteX143-30129" fmla="*/ 1498306 w 10693106"/>
              <a:gd name="connsiteY143-30130" fmla="*/ 2100089 h 5292022"/>
              <a:gd name="connsiteX144-30131" fmla="*/ 914106 w 10693106"/>
              <a:gd name="connsiteY144-30132" fmla="*/ 2032356 h 5292022"/>
              <a:gd name="connsiteX145-30133" fmla="*/ 617773 w 10693106"/>
              <a:gd name="connsiteY145-30134" fmla="*/ 1922289 h 5292022"/>
              <a:gd name="connsiteX146-30135" fmla="*/ 516173 w 10693106"/>
              <a:gd name="connsiteY146-30136" fmla="*/ 1837622 h 5292022"/>
              <a:gd name="connsiteX147-30137" fmla="*/ 355306 w 10693106"/>
              <a:gd name="connsiteY147-30138" fmla="*/ 1625956 h 5292022"/>
              <a:gd name="connsiteX148-30139" fmla="*/ 296040 w 10693106"/>
              <a:gd name="connsiteY148-30140" fmla="*/ 1524356 h 5292022"/>
              <a:gd name="connsiteX149-30141" fmla="*/ 253706 w 10693106"/>
              <a:gd name="connsiteY149-30142" fmla="*/ 1346556 h 5292022"/>
              <a:gd name="connsiteX150-30143" fmla="*/ 245240 w 10693106"/>
              <a:gd name="connsiteY150-30144" fmla="*/ 1219556 h 5292022"/>
              <a:gd name="connsiteX151-30145" fmla="*/ 236773 w 10693106"/>
              <a:gd name="connsiteY151-30146" fmla="*/ 1117956 h 5292022"/>
              <a:gd name="connsiteX152-30147" fmla="*/ 245240 w 10693106"/>
              <a:gd name="connsiteY152-30148" fmla="*/ 847022 h 5292022"/>
              <a:gd name="connsiteX153-30149" fmla="*/ 236773 w 10693106"/>
              <a:gd name="connsiteY153-30150" fmla="*/ 703089 h 5292022"/>
              <a:gd name="connsiteX154-30151" fmla="*/ 109773 w 10693106"/>
              <a:gd name="connsiteY154-30152" fmla="*/ 559156 h 5292022"/>
              <a:gd name="connsiteX155-30153" fmla="*/ 58973 w 10693106"/>
              <a:gd name="connsiteY155-30154" fmla="*/ 482956 h 5292022"/>
              <a:gd name="connsiteX156-30155" fmla="*/ 16640 w 10693106"/>
              <a:gd name="connsiteY156-30156" fmla="*/ 432156 h 5292022"/>
              <a:gd name="connsiteX157-30157" fmla="*/ 8173 w 10693106"/>
              <a:gd name="connsiteY157-30158" fmla="*/ 389822 h 5292022"/>
              <a:gd name="connsiteX158-30159" fmla="*/ 16640 w 10693106"/>
              <a:gd name="connsiteY158-30160" fmla="*/ 339022 h 5292022"/>
              <a:gd name="connsiteX0-30161" fmla="*/ 16640 w 10693106"/>
              <a:gd name="connsiteY0-30162" fmla="*/ 339022 h 5292022"/>
              <a:gd name="connsiteX1-30163" fmla="*/ 58973 w 10693106"/>
              <a:gd name="connsiteY1-30164" fmla="*/ 245889 h 5292022"/>
              <a:gd name="connsiteX2-30165" fmla="*/ 109773 w 10693106"/>
              <a:gd name="connsiteY2-30166" fmla="*/ 178156 h 5292022"/>
              <a:gd name="connsiteX3-30167" fmla="*/ 202906 w 10693106"/>
              <a:gd name="connsiteY3-30168" fmla="*/ 93489 h 5292022"/>
              <a:gd name="connsiteX4-30169" fmla="*/ 236773 w 10693106"/>
              <a:gd name="connsiteY4-30170" fmla="*/ 68089 h 5292022"/>
              <a:gd name="connsiteX5-30171" fmla="*/ 335410 w 10693106"/>
              <a:gd name="connsiteY5-30172" fmla="*/ 58352 h 5292022"/>
              <a:gd name="connsiteX6-30173" fmla="*/ 382400 w 10693106"/>
              <a:gd name="connsiteY6-30174" fmla="*/ 51156 h 5292022"/>
              <a:gd name="connsiteX7-30175" fmla="*/ 434912 w 10693106"/>
              <a:gd name="connsiteY7-30176" fmla="*/ 70071 h 5292022"/>
              <a:gd name="connsiteX8-30177" fmla="*/ 492697 w 10693106"/>
              <a:gd name="connsiteY8-30178" fmla="*/ 74247 h 5292022"/>
              <a:gd name="connsiteX9-30179" fmla="*/ 822897 w 10693106"/>
              <a:gd name="connsiteY9-30180" fmla="*/ 82713 h 5292022"/>
              <a:gd name="connsiteX10-30181" fmla="*/ 1091906 w 10693106"/>
              <a:gd name="connsiteY10-30182" fmla="*/ 356 h 5292022"/>
              <a:gd name="connsiteX11-30183" fmla="*/ 1235840 w 10693106"/>
              <a:gd name="connsiteY11-30184" fmla="*/ 59622 h 5292022"/>
              <a:gd name="connsiteX12-30185" fmla="*/ 1337440 w 10693106"/>
              <a:gd name="connsiteY12-30186" fmla="*/ 135822 h 5292022"/>
              <a:gd name="connsiteX13-30187" fmla="*/ 1422106 w 10693106"/>
              <a:gd name="connsiteY13-30188" fmla="*/ 245889 h 5292022"/>
              <a:gd name="connsiteX14-30189" fmla="*/ 1481373 w 10693106"/>
              <a:gd name="connsiteY14-30190" fmla="*/ 313622 h 5292022"/>
              <a:gd name="connsiteX15-30191" fmla="*/ 1532173 w 10693106"/>
              <a:gd name="connsiteY15-30192" fmla="*/ 347489 h 5292022"/>
              <a:gd name="connsiteX16-30193" fmla="*/ 1684573 w 10693106"/>
              <a:gd name="connsiteY16-30194" fmla="*/ 406756 h 5292022"/>
              <a:gd name="connsiteX17-30195" fmla="*/ 1760773 w 10693106"/>
              <a:gd name="connsiteY17-30196" fmla="*/ 423689 h 5292022"/>
              <a:gd name="connsiteX18-30197" fmla="*/ 1997840 w 10693106"/>
              <a:gd name="connsiteY18-30198" fmla="*/ 415222 h 5292022"/>
              <a:gd name="connsiteX19-30199" fmla="*/ 2116373 w 10693106"/>
              <a:gd name="connsiteY19-30200" fmla="*/ 398289 h 5292022"/>
              <a:gd name="connsiteX20-30201" fmla="*/ 2260306 w 10693106"/>
              <a:gd name="connsiteY20-30202" fmla="*/ 381356 h 5292022"/>
              <a:gd name="connsiteX21-30203" fmla="*/ 2404240 w 10693106"/>
              <a:gd name="connsiteY21-30204" fmla="*/ 355956 h 5292022"/>
              <a:gd name="connsiteX22-30205" fmla="*/ 2455040 w 10693106"/>
              <a:gd name="connsiteY22-30206" fmla="*/ 330556 h 5292022"/>
              <a:gd name="connsiteX23-30207" fmla="*/ 2531240 w 10693106"/>
              <a:gd name="connsiteY23-30208" fmla="*/ 305156 h 5292022"/>
              <a:gd name="connsiteX24-30209" fmla="*/ 2649350 w 10693106"/>
              <a:gd name="connsiteY24-30210" fmla="*/ 225781 h 5292022"/>
              <a:gd name="connsiteX25-30211" fmla="*/ 2742906 w 10693106"/>
              <a:gd name="connsiteY25-30212" fmla="*/ 186622 h 5292022"/>
              <a:gd name="connsiteX26-30213" fmla="*/ 2764920 w 10693106"/>
              <a:gd name="connsiteY26-30214" fmla="*/ 173076 h 5292022"/>
              <a:gd name="connsiteX27-30215" fmla="*/ 2832653 w 10693106"/>
              <a:gd name="connsiteY27-30216" fmla="*/ 167996 h 5292022"/>
              <a:gd name="connsiteX28-30217" fmla="*/ 3002294 w 10693106"/>
              <a:gd name="connsiteY28-30218" fmla="*/ 154680 h 5292022"/>
              <a:gd name="connsiteX29-30219" fmla="*/ 3142763 w 10693106"/>
              <a:gd name="connsiteY29-30220" fmla="*/ 110421 h 5292022"/>
              <a:gd name="connsiteX30-30221" fmla="*/ 3398918 w 10693106"/>
              <a:gd name="connsiteY30-30222" fmla="*/ 72322 h 5292022"/>
              <a:gd name="connsiteX31-30223" fmla="*/ 3606506 w 10693106"/>
              <a:gd name="connsiteY31-30224" fmla="*/ 60393 h 5292022"/>
              <a:gd name="connsiteX32-30225" fmla="*/ 3682706 w 10693106"/>
              <a:gd name="connsiteY32-30226" fmla="*/ 79942 h 5292022"/>
              <a:gd name="connsiteX33-30227" fmla="*/ 3741973 w 10693106"/>
              <a:gd name="connsiteY33-30228" fmla="*/ 86561 h 5292022"/>
              <a:gd name="connsiteX34-30229" fmla="*/ 3794678 w 10693106"/>
              <a:gd name="connsiteY34-30230" fmla="*/ 101321 h 5292022"/>
              <a:gd name="connsiteX35-30231" fmla="*/ 3833625 w 10693106"/>
              <a:gd name="connsiteY35-30232" fmla="*/ 110846 h 5292022"/>
              <a:gd name="connsiteX36-30233" fmla="*/ 3892487 w 10693106"/>
              <a:gd name="connsiteY36-30234" fmla="*/ 116984 h 5292022"/>
              <a:gd name="connsiteX37-30235" fmla="*/ 3933108 w 10693106"/>
              <a:gd name="connsiteY37-30236" fmla="*/ 128837 h 5292022"/>
              <a:gd name="connsiteX38-30237" fmla="*/ 3976923 w 10693106"/>
              <a:gd name="connsiteY38-30238" fmla="*/ 135187 h 5292022"/>
              <a:gd name="connsiteX39-30239" fmla="*/ 4021373 w 10693106"/>
              <a:gd name="connsiteY39-30240" fmla="*/ 144289 h 5292022"/>
              <a:gd name="connsiteX40-30241" fmla="*/ 4055240 w 10693106"/>
              <a:gd name="connsiteY40-30242" fmla="*/ 152756 h 5292022"/>
              <a:gd name="connsiteX41-30243" fmla="*/ 4275373 w 10693106"/>
              <a:gd name="connsiteY41-30244" fmla="*/ 195089 h 5292022"/>
              <a:gd name="connsiteX42-30245" fmla="*/ 4402373 w 10693106"/>
              <a:gd name="connsiteY42-30246" fmla="*/ 228956 h 5292022"/>
              <a:gd name="connsiteX43-30247" fmla="*/ 4529373 w 10693106"/>
              <a:gd name="connsiteY43-30248" fmla="*/ 271289 h 5292022"/>
              <a:gd name="connsiteX44-30249" fmla="*/ 5045840 w 10693106"/>
              <a:gd name="connsiteY44-30250" fmla="*/ 423689 h 5292022"/>
              <a:gd name="connsiteX45-30251" fmla="*/ 5672373 w 10693106"/>
              <a:gd name="connsiteY45-30252" fmla="*/ 931689 h 5292022"/>
              <a:gd name="connsiteX46-30253" fmla="*/ 6839926 w 10693106"/>
              <a:gd name="connsiteY46-30254" fmla="*/ 1252152 h 5292022"/>
              <a:gd name="connsiteX47-30255" fmla="*/ 7703950 w 10693106"/>
              <a:gd name="connsiteY47-30256" fmla="*/ 1069696 h 5292022"/>
              <a:gd name="connsiteX48-30257" fmla="*/ 8652640 w 10693106"/>
              <a:gd name="connsiteY48-30258" fmla="*/ 677689 h 5292022"/>
              <a:gd name="connsiteX49-30259" fmla="*/ 8982840 w 10693106"/>
              <a:gd name="connsiteY49-30260" fmla="*/ 398289 h 5292022"/>
              <a:gd name="connsiteX50-30261" fmla="*/ 9380773 w 10693106"/>
              <a:gd name="connsiteY50-30262" fmla="*/ 355956 h 5292022"/>
              <a:gd name="connsiteX51-30263" fmla="*/ 9744840 w 10693106"/>
              <a:gd name="connsiteY51-30264" fmla="*/ 466022 h 5292022"/>
              <a:gd name="connsiteX52-30265" fmla="*/ 9888773 w 10693106"/>
              <a:gd name="connsiteY52-30266" fmla="*/ 508356 h 5292022"/>
              <a:gd name="connsiteX53-30267" fmla="*/ 9998840 w 10693106"/>
              <a:gd name="connsiteY53-30268" fmla="*/ 559156 h 5292022"/>
              <a:gd name="connsiteX54-30269" fmla="*/ 10083506 w 10693106"/>
              <a:gd name="connsiteY54-30270" fmla="*/ 618422 h 5292022"/>
              <a:gd name="connsiteX55-30271" fmla="*/ 10286706 w 10693106"/>
              <a:gd name="connsiteY55-30272" fmla="*/ 686156 h 5292022"/>
              <a:gd name="connsiteX56-30273" fmla="*/ 10388306 w 10693106"/>
              <a:gd name="connsiteY56-30274" fmla="*/ 889356 h 5292022"/>
              <a:gd name="connsiteX57-30275" fmla="*/ 10540706 w 10693106"/>
              <a:gd name="connsiteY57-30276" fmla="*/ 1261889 h 5292022"/>
              <a:gd name="connsiteX58-30277" fmla="*/ 10557640 w 10693106"/>
              <a:gd name="connsiteY58-30278" fmla="*/ 1346556 h 5292022"/>
              <a:gd name="connsiteX59-30279" fmla="*/ 10583040 w 10693106"/>
              <a:gd name="connsiteY59-30280" fmla="*/ 1448156 h 5292022"/>
              <a:gd name="connsiteX60-30281" fmla="*/ 10616906 w 10693106"/>
              <a:gd name="connsiteY60-30282" fmla="*/ 1651356 h 5292022"/>
              <a:gd name="connsiteX61-30283" fmla="*/ 10633840 w 10693106"/>
              <a:gd name="connsiteY61-30284" fmla="*/ 1736022 h 5292022"/>
              <a:gd name="connsiteX62-30285" fmla="*/ 10650773 w 10693106"/>
              <a:gd name="connsiteY62-30286" fmla="*/ 1769889 h 5292022"/>
              <a:gd name="connsiteX63-30287" fmla="*/ 10676173 w 10693106"/>
              <a:gd name="connsiteY63-30288" fmla="*/ 1854556 h 5292022"/>
              <a:gd name="connsiteX64-30289" fmla="*/ 10693106 w 10693106"/>
              <a:gd name="connsiteY64-30290" fmla="*/ 2006956 h 5292022"/>
              <a:gd name="connsiteX65-30291" fmla="*/ 10625373 w 10693106"/>
              <a:gd name="connsiteY65-30292" fmla="*/ 2227089 h 5292022"/>
              <a:gd name="connsiteX66-30293" fmla="*/ 10608440 w 10693106"/>
              <a:gd name="connsiteY66-30294" fmla="*/ 2252489 h 5292022"/>
              <a:gd name="connsiteX67-30295" fmla="*/ 10540706 w 10693106"/>
              <a:gd name="connsiteY67-30296" fmla="*/ 2396422 h 5292022"/>
              <a:gd name="connsiteX68-30297" fmla="*/ 10498373 w 10693106"/>
              <a:gd name="connsiteY68-30298" fmla="*/ 2481089 h 5292022"/>
              <a:gd name="connsiteX69-30299" fmla="*/ 10439106 w 10693106"/>
              <a:gd name="connsiteY69-30300" fmla="*/ 2667356 h 5292022"/>
              <a:gd name="connsiteX70-30301" fmla="*/ 10430640 w 10693106"/>
              <a:gd name="connsiteY70-30302" fmla="*/ 2709689 h 5292022"/>
              <a:gd name="connsiteX71-30303" fmla="*/ 10405240 w 10693106"/>
              <a:gd name="connsiteY71-30304" fmla="*/ 2785889 h 5292022"/>
              <a:gd name="connsiteX72-30305" fmla="*/ 10396773 w 10693106"/>
              <a:gd name="connsiteY72-30306" fmla="*/ 2819756 h 5292022"/>
              <a:gd name="connsiteX73-30307" fmla="*/ 10362906 w 10693106"/>
              <a:gd name="connsiteY73-30308" fmla="*/ 2912889 h 5292022"/>
              <a:gd name="connsiteX74-30309" fmla="*/ 10329040 w 10693106"/>
              <a:gd name="connsiteY74-30310" fmla="*/ 2955222 h 5292022"/>
              <a:gd name="connsiteX75-30311" fmla="*/ 10227440 w 10693106"/>
              <a:gd name="connsiteY75-30312" fmla="*/ 3056822 h 5292022"/>
              <a:gd name="connsiteX76-30313" fmla="*/ 10168173 w 10693106"/>
              <a:gd name="connsiteY76-30314" fmla="*/ 3124556 h 5292022"/>
              <a:gd name="connsiteX77-30315" fmla="*/ 10117373 w 10693106"/>
              <a:gd name="connsiteY77-30316" fmla="*/ 3175356 h 5292022"/>
              <a:gd name="connsiteX78-30317" fmla="*/ 10032706 w 10693106"/>
              <a:gd name="connsiteY78-30318" fmla="*/ 3276956 h 5292022"/>
              <a:gd name="connsiteX79-30319" fmla="*/ 9948040 w 10693106"/>
              <a:gd name="connsiteY79-30320" fmla="*/ 3336222 h 5292022"/>
              <a:gd name="connsiteX80-30321" fmla="*/ 9905706 w 10693106"/>
              <a:gd name="connsiteY80-30322" fmla="*/ 3361622 h 5292022"/>
              <a:gd name="connsiteX81-30323" fmla="*/ 9829506 w 10693106"/>
              <a:gd name="connsiteY81-30324" fmla="*/ 3378556 h 5292022"/>
              <a:gd name="connsiteX82-30325" fmla="*/ 9727906 w 10693106"/>
              <a:gd name="connsiteY82-30326" fmla="*/ 3420889 h 5292022"/>
              <a:gd name="connsiteX83-30327" fmla="*/ 9634773 w 10693106"/>
              <a:gd name="connsiteY83-30328" fmla="*/ 3446289 h 5292022"/>
              <a:gd name="connsiteX84-30329" fmla="*/ 9456973 w 10693106"/>
              <a:gd name="connsiteY84-30330" fmla="*/ 3539422 h 5292022"/>
              <a:gd name="connsiteX85-30331" fmla="*/ 9313040 w 10693106"/>
              <a:gd name="connsiteY85-30332" fmla="*/ 3666422 h 5292022"/>
              <a:gd name="connsiteX86-30333" fmla="*/ 9279173 w 10693106"/>
              <a:gd name="connsiteY86-30334" fmla="*/ 3683356 h 5292022"/>
              <a:gd name="connsiteX87-30335" fmla="*/ 9067506 w 10693106"/>
              <a:gd name="connsiteY87-30336" fmla="*/ 3861156 h 5292022"/>
              <a:gd name="connsiteX88-30337" fmla="*/ 8999773 w 10693106"/>
              <a:gd name="connsiteY88-30338" fmla="*/ 3928889 h 5292022"/>
              <a:gd name="connsiteX89-30339" fmla="*/ 8813506 w 10693106"/>
              <a:gd name="connsiteY89-30340" fmla="*/ 4064356 h 5292022"/>
              <a:gd name="connsiteX90-30341" fmla="*/ 8728840 w 10693106"/>
              <a:gd name="connsiteY90-30342" fmla="*/ 4106689 h 5292022"/>
              <a:gd name="connsiteX91-30343" fmla="*/ 8373240 w 10693106"/>
              <a:gd name="connsiteY91-30344" fmla="*/ 4140556 h 5292022"/>
              <a:gd name="connsiteX92-30345" fmla="*/ 7966840 w 10693106"/>
              <a:gd name="connsiteY92-30346" fmla="*/ 4233689 h 5292022"/>
              <a:gd name="connsiteX93-30347" fmla="*/ 7687440 w 10693106"/>
              <a:gd name="connsiteY93-30348" fmla="*/ 4394556 h 5292022"/>
              <a:gd name="connsiteX94-30349" fmla="*/ 7551973 w 10693106"/>
              <a:gd name="connsiteY94-30350" fmla="*/ 4479222 h 5292022"/>
              <a:gd name="connsiteX95-30351" fmla="*/ 7374173 w 10693106"/>
              <a:gd name="connsiteY95-30352" fmla="*/ 4657022 h 5292022"/>
              <a:gd name="connsiteX96-30353" fmla="*/ 7374173 w 10693106"/>
              <a:gd name="connsiteY96-30354" fmla="*/ 4657022 h 5292022"/>
              <a:gd name="connsiteX97-30355" fmla="*/ 7221773 w 10693106"/>
              <a:gd name="connsiteY97-30356" fmla="*/ 4775556 h 5292022"/>
              <a:gd name="connsiteX98-30357" fmla="*/ 7027040 w 10693106"/>
              <a:gd name="connsiteY98-30358" fmla="*/ 4902556 h 5292022"/>
              <a:gd name="connsiteX99-30359" fmla="*/ 6883106 w 10693106"/>
              <a:gd name="connsiteY99-30360" fmla="*/ 4970289 h 5292022"/>
              <a:gd name="connsiteX100-30361" fmla="*/ 6815373 w 10693106"/>
              <a:gd name="connsiteY100-30362" fmla="*/ 5012622 h 5292022"/>
              <a:gd name="connsiteX101-30363" fmla="*/ 6646040 w 10693106"/>
              <a:gd name="connsiteY101-30364" fmla="*/ 5105756 h 5292022"/>
              <a:gd name="connsiteX102-30365" fmla="*/ 6527506 w 10693106"/>
              <a:gd name="connsiteY102-30366" fmla="*/ 5165022 h 5292022"/>
              <a:gd name="connsiteX103-30367" fmla="*/ 6298906 w 10693106"/>
              <a:gd name="connsiteY103-30368" fmla="*/ 5241222 h 5292022"/>
              <a:gd name="connsiteX104-30369" fmla="*/ 6197306 w 10693106"/>
              <a:gd name="connsiteY104-30370" fmla="*/ 5266622 h 5292022"/>
              <a:gd name="connsiteX105-30371" fmla="*/ 6061840 w 10693106"/>
              <a:gd name="connsiteY105-30372" fmla="*/ 5275089 h 5292022"/>
              <a:gd name="connsiteX106-30373" fmla="*/ 5917906 w 10693106"/>
              <a:gd name="connsiteY106-30374" fmla="*/ 5292022 h 5292022"/>
              <a:gd name="connsiteX107-30375" fmla="*/ 5748573 w 10693106"/>
              <a:gd name="connsiteY107-30376" fmla="*/ 5283556 h 5292022"/>
              <a:gd name="connsiteX108-30377" fmla="*/ 5282906 w 10693106"/>
              <a:gd name="connsiteY108-30378" fmla="*/ 5173489 h 5292022"/>
              <a:gd name="connsiteX109-30379" fmla="*/ 5138973 w 10693106"/>
              <a:gd name="connsiteY109-30380" fmla="*/ 5071889 h 5292022"/>
              <a:gd name="connsiteX110-30381" fmla="*/ 4959480 w 10693106"/>
              <a:gd name="connsiteY110-30382" fmla="*/ 4988069 h 5292022"/>
              <a:gd name="connsiteX111-30383" fmla="*/ 4842216 w 10693106"/>
              <a:gd name="connsiteY111-30384" fmla="*/ 4953779 h 5292022"/>
              <a:gd name="connsiteX112-30385" fmla="*/ 4797343 w 10693106"/>
              <a:gd name="connsiteY112-30386" fmla="*/ 4878426 h 5292022"/>
              <a:gd name="connsiteX113-30387" fmla="*/ 4686853 w 10693106"/>
              <a:gd name="connsiteY113-30388" fmla="*/ 4788256 h 5292022"/>
              <a:gd name="connsiteX114-30389" fmla="*/ 4536146 w 10693106"/>
              <a:gd name="connsiteY114-30390" fmla="*/ 4712902 h 5292022"/>
              <a:gd name="connsiteX115-30391" fmla="*/ 4365120 w 10693106"/>
              <a:gd name="connsiteY115-30392" fmla="*/ 4616382 h 5292022"/>
              <a:gd name="connsiteX116-30393" fmla="*/ 3977346 w 10693106"/>
              <a:gd name="connsiteY116-30394" fmla="*/ 4470544 h 5292022"/>
              <a:gd name="connsiteX117-30395" fmla="*/ 3741550 w 10693106"/>
              <a:gd name="connsiteY117-30396" fmla="*/ 4154102 h 5292022"/>
              <a:gd name="connsiteX118-30397" fmla="*/ 3877440 w 10693106"/>
              <a:gd name="connsiteY118-30398" fmla="*/ 3624089 h 5292022"/>
              <a:gd name="connsiteX119-30399" fmla="*/ 3852040 w 10693106"/>
              <a:gd name="connsiteY119-30400" fmla="*/ 3530956 h 5292022"/>
              <a:gd name="connsiteX120-30401" fmla="*/ 3801240 w 10693106"/>
              <a:gd name="connsiteY120-30402" fmla="*/ 3420889 h 5292022"/>
              <a:gd name="connsiteX121-30403" fmla="*/ 3733506 w 10693106"/>
              <a:gd name="connsiteY121-30404" fmla="*/ 3319289 h 5292022"/>
              <a:gd name="connsiteX122-30405" fmla="*/ 3242440 w 10693106"/>
              <a:gd name="connsiteY122-30406" fmla="*/ 3099156 h 5292022"/>
              <a:gd name="connsiteX123-30407" fmla="*/ 3123906 w 10693106"/>
              <a:gd name="connsiteY123-30408" fmla="*/ 2997556 h 5292022"/>
              <a:gd name="connsiteX124-30409" fmla="*/ 2988440 w 10693106"/>
              <a:gd name="connsiteY124-30410" fmla="*/ 2802822 h 5292022"/>
              <a:gd name="connsiteX125-30411" fmla="*/ 2971506 w 10693106"/>
              <a:gd name="connsiteY125-30412" fmla="*/ 2743556 h 5292022"/>
              <a:gd name="connsiteX126-30413" fmla="*/ 2996906 w 10693106"/>
              <a:gd name="connsiteY126-30414" fmla="*/ 2531889 h 5292022"/>
              <a:gd name="connsiteX127-30415" fmla="*/ 3013840 w 10693106"/>
              <a:gd name="connsiteY127-30416" fmla="*/ 2430289 h 5292022"/>
              <a:gd name="connsiteX128-30417" fmla="*/ 3005373 w 10693106"/>
              <a:gd name="connsiteY128-30418" fmla="*/ 2311756 h 5292022"/>
              <a:gd name="connsiteX129-30419" fmla="*/ 2988440 w 10693106"/>
              <a:gd name="connsiteY129-30420" fmla="*/ 2260956 h 5292022"/>
              <a:gd name="connsiteX130-30421" fmla="*/ 2802173 w 10693106"/>
              <a:gd name="connsiteY130-30422" fmla="*/ 2006956 h 5292022"/>
              <a:gd name="connsiteX131-30423" fmla="*/ 2641306 w 10693106"/>
              <a:gd name="connsiteY131-30424" fmla="*/ 1863022 h 5292022"/>
              <a:gd name="connsiteX132-30425" fmla="*/ 2590506 w 10693106"/>
              <a:gd name="connsiteY132-30426" fmla="*/ 1837622 h 5292022"/>
              <a:gd name="connsiteX133-30427" fmla="*/ 2531240 w 10693106"/>
              <a:gd name="connsiteY133-30428" fmla="*/ 1829156 h 5292022"/>
              <a:gd name="connsiteX134-30429" fmla="*/ 2446573 w 10693106"/>
              <a:gd name="connsiteY134-30430" fmla="*/ 1812222 h 5292022"/>
              <a:gd name="connsiteX135-30431" fmla="*/ 2251840 w 10693106"/>
              <a:gd name="connsiteY135-30432" fmla="*/ 1837622 h 5292022"/>
              <a:gd name="connsiteX136-30433" fmla="*/ 2167173 w 10693106"/>
              <a:gd name="connsiteY136-30434" fmla="*/ 1879956 h 5292022"/>
              <a:gd name="connsiteX137-30435" fmla="*/ 1980906 w 10693106"/>
              <a:gd name="connsiteY137-30436" fmla="*/ 1939222 h 5292022"/>
              <a:gd name="connsiteX138-30437" fmla="*/ 1904706 w 10693106"/>
              <a:gd name="connsiteY138-30438" fmla="*/ 1973089 h 5292022"/>
              <a:gd name="connsiteX139-30439" fmla="*/ 1828506 w 10693106"/>
              <a:gd name="connsiteY139-30440" fmla="*/ 1990022 h 5292022"/>
              <a:gd name="connsiteX140-30441" fmla="*/ 1726906 w 10693106"/>
              <a:gd name="connsiteY140-30442" fmla="*/ 2040822 h 5292022"/>
              <a:gd name="connsiteX141-30443" fmla="*/ 1659173 w 10693106"/>
              <a:gd name="connsiteY141-30444" fmla="*/ 2074689 h 5292022"/>
              <a:gd name="connsiteX142-30445" fmla="*/ 1498306 w 10693106"/>
              <a:gd name="connsiteY142-30446" fmla="*/ 2100089 h 5292022"/>
              <a:gd name="connsiteX143-30447" fmla="*/ 914106 w 10693106"/>
              <a:gd name="connsiteY143-30448" fmla="*/ 2032356 h 5292022"/>
              <a:gd name="connsiteX144-30449" fmla="*/ 617773 w 10693106"/>
              <a:gd name="connsiteY144-30450" fmla="*/ 1922289 h 5292022"/>
              <a:gd name="connsiteX145-30451" fmla="*/ 516173 w 10693106"/>
              <a:gd name="connsiteY145-30452" fmla="*/ 1837622 h 5292022"/>
              <a:gd name="connsiteX146-30453" fmla="*/ 355306 w 10693106"/>
              <a:gd name="connsiteY146-30454" fmla="*/ 1625956 h 5292022"/>
              <a:gd name="connsiteX147-30455" fmla="*/ 296040 w 10693106"/>
              <a:gd name="connsiteY147-30456" fmla="*/ 1524356 h 5292022"/>
              <a:gd name="connsiteX148-30457" fmla="*/ 253706 w 10693106"/>
              <a:gd name="connsiteY148-30458" fmla="*/ 1346556 h 5292022"/>
              <a:gd name="connsiteX149-30459" fmla="*/ 245240 w 10693106"/>
              <a:gd name="connsiteY149-30460" fmla="*/ 1219556 h 5292022"/>
              <a:gd name="connsiteX150-30461" fmla="*/ 236773 w 10693106"/>
              <a:gd name="connsiteY150-30462" fmla="*/ 1117956 h 5292022"/>
              <a:gd name="connsiteX151-30463" fmla="*/ 245240 w 10693106"/>
              <a:gd name="connsiteY151-30464" fmla="*/ 847022 h 5292022"/>
              <a:gd name="connsiteX152-30465" fmla="*/ 236773 w 10693106"/>
              <a:gd name="connsiteY152-30466" fmla="*/ 703089 h 5292022"/>
              <a:gd name="connsiteX153-30467" fmla="*/ 109773 w 10693106"/>
              <a:gd name="connsiteY153-30468" fmla="*/ 559156 h 5292022"/>
              <a:gd name="connsiteX154-30469" fmla="*/ 58973 w 10693106"/>
              <a:gd name="connsiteY154-30470" fmla="*/ 482956 h 5292022"/>
              <a:gd name="connsiteX155-30471" fmla="*/ 16640 w 10693106"/>
              <a:gd name="connsiteY155-30472" fmla="*/ 432156 h 5292022"/>
              <a:gd name="connsiteX156-30473" fmla="*/ 8173 w 10693106"/>
              <a:gd name="connsiteY156-30474" fmla="*/ 389822 h 5292022"/>
              <a:gd name="connsiteX157-30475" fmla="*/ 16640 w 10693106"/>
              <a:gd name="connsiteY157-30476" fmla="*/ 339022 h 5292022"/>
              <a:gd name="connsiteX0-30477" fmla="*/ 16640 w 10693106"/>
              <a:gd name="connsiteY0-30478" fmla="*/ 339022 h 5292022"/>
              <a:gd name="connsiteX1-30479" fmla="*/ 58973 w 10693106"/>
              <a:gd name="connsiteY1-30480" fmla="*/ 245889 h 5292022"/>
              <a:gd name="connsiteX2-30481" fmla="*/ 109773 w 10693106"/>
              <a:gd name="connsiteY2-30482" fmla="*/ 178156 h 5292022"/>
              <a:gd name="connsiteX3-30483" fmla="*/ 202906 w 10693106"/>
              <a:gd name="connsiteY3-30484" fmla="*/ 93489 h 5292022"/>
              <a:gd name="connsiteX4-30485" fmla="*/ 236773 w 10693106"/>
              <a:gd name="connsiteY4-30486" fmla="*/ 68089 h 5292022"/>
              <a:gd name="connsiteX5-30487" fmla="*/ 335410 w 10693106"/>
              <a:gd name="connsiteY5-30488" fmla="*/ 58352 h 5292022"/>
              <a:gd name="connsiteX6-30489" fmla="*/ 382400 w 10693106"/>
              <a:gd name="connsiteY6-30490" fmla="*/ 51156 h 5292022"/>
              <a:gd name="connsiteX7-30491" fmla="*/ 434912 w 10693106"/>
              <a:gd name="connsiteY7-30492" fmla="*/ 70071 h 5292022"/>
              <a:gd name="connsiteX8-30493" fmla="*/ 492697 w 10693106"/>
              <a:gd name="connsiteY8-30494" fmla="*/ 74247 h 5292022"/>
              <a:gd name="connsiteX9-30495" fmla="*/ 822897 w 10693106"/>
              <a:gd name="connsiteY9-30496" fmla="*/ 82713 h 5292022"/>
              <a:gd name="connsiteX10-30497" fmla="*/ 1091906 w 10693106"/>
              <a:gd name="connsiteY10-30498" fmla="*/ 356 h 5292022"/>
              <a:gd name="connsiteX11-30499" fmla="*/ 1235840 w 10693106"/>
              <a:gd name="connsiteY11-30500" fmla="*/ 59622 h 5292022"/>
              <a:gd name="connsiteX12-30501" fmla="*/ 1337440 w 10693106"/>
              <a:gd name="connsiteY12-30502" fmla="*/ 135822 h 5292022"/>
              <a:gd name="connsiteX13-30503" fmla="*/ 1422106 w 10693106"/>
              <a:gd name="connsiteY13-30504" fmla="*/ 245889 h 5292022"/>
              <a:gd name="connsiteX14-30505" fmla="*/ 1481373 w 10693106"/>
              <a:gd name="connsiteY14-30506" fmla="*/ 313622 h 5292022"/>
              <a:gd name="connsiteX15-30507" fmla="*/ 1532173 w 10693106"/>
              <a:gd name="connsiteY15-30508" fmla="*/ 347489 h 5292022"/>
              <a:gd name="connsiteX16-30509" fmla="*/ 1684573 w 10693106"/>
              <a:gd name="connsiteY16-30510" fmla="*/ 406756 h 5292022"/>
              <a:gd name="connsiteX17-30511" fmla="*/ 1760773 w 10693106"/>
              <a:gd name="connsiteY17-30512" fmla="*/ 423689 h 5292022"/>
              <a:gd name="connsiteX18-30513" fmla="*/ 1997840 w 10693106"/>
              <a:gd name="connsiteY18-30514" fmla="*/ 415222 h 5292022"/>
              <a:gd name="connsiteX19-30515" fmla="*/ 2116373 w 10693106"/>
              <a:gd name="connsiteY19-30516" fmla="*/ 398289 h 5292022"/>
              <a:gd name="connsiteX20-30517" fmla="*/ 2260306 w 10693106"/>
              <a:gd name="connsiteY20-30518" fmla="*/ 381356 h 5292022"/>
              <a:gd name="connsiteX21-30519" fmla="*/ 2404240 w 10693106"/>
              <a:gd name="connsiteY21-30520" fmla="*/ 355956 h 5292022"/>
              <a:gd name="connsiteX22-30521" fmla="*/ 2455040 w 10693106"/>
              <a:gd name="connsiteY22-30522" fmla="*/ 330556 h 5292022"/>
              <a:gd name="connsiteX23-30523" fmla="*/ 2531240 w 10693106"/>
              <a:gd name="connsiteY23-30524" fmla="*/ 305156 h 5292022"/>
              <a:gd name="connsiteX24-30525" fmla="*/ 2649350 w 10693106"/>
              <a:gd name="connsiteY24-30526" fmla="*/ 225781 h 5292022"/>
              <a:gd name="connsiteX25-30527" fmla="*/ 2742906 w 10693106"/>
              <a:gd name="connsiteY25-30528" fmla="*/ 186622 h 5292022"/>
              <a:gd name="connsiteX26-30529" fmla="*/ 2764920 w 10693106"/>
              <a:gd name="connsiteY26-30530" fmla="*/ 173076 h 5292022"/>
              <a:gd name="connsiteX27-30531" fmla="*/ 2832653 w 10693106"/>
              <a:gd name="connsiteY27-30532" fmla="*/ 167996 h 5292022"/>
              <a:gd name="connsiteX28-30533" fmla="*/ 3002294 w 10693106"/>
              <a:gd name="connsiteY28-30534" fmla="*/ 154680 h 5292022"/>
              <a:gd name="connsiteX29-30535" fmla="*/ 3142763 w 10693106"/>
              <a:gd name="connsiteY29-30536" fmla="*/ 110421 h 5292022"/>
              <a:gd name="connsiteX30-30537" fmla="*/ 3398918 w 10693106"/>
              <a:gd name="connsiteY30-30538" fmla="*/ 72322 h 5292022"/>
              <a:gd name="connsiteX31-30539" fmla="*/ 3606506 w 10693106"/>
              <a:gd name="connsiteY31-30540" fmla="*/ 60393 h 5292022"/>
              <a:gd name="connsiteX32-30541" fmla="*/ 3682706 w 10693106"/>
              <a:gd name="connsiteY32-30542" fmla="*/ 79942 h 5292022"/>
              <a:gd name="connsiteX33-30543" fmla="*/ 3741973 w 10693106"/>
              <a:gd name="connsiteY33-30544" fmla="*/ 86561 h 5292022"/>
              <a:gd name="connsiteX34-30545" fmla="*/ 3794678 w 10693106"/>
              <a:gd name="connsiteY34-30546" fmla="*/ 101321 h 5292022"/>
              <a:gd name="connsiteX35-30547" fmla="*/ 3833625 w 10693106"/>
              <a:gd name="connsiteY35-30548" fmla="*/ 110846 h 5292022"/>
              <a:gd name="connsiteX36-30549" fmla="*/ 3892487 w 10693106"/>
              <a:gd name="connsiteY36-30550" fmla="*/ 116984 h 5292022"/>
              <a:gd name="connsiteX37-30551" fmla="*/ 3933108 w 10693106"/>
              <a:gd name="connsiteY37-30552" fmla="*/ 128837 h 5292022"/>
              <a:gd name="connsiteX38-30553" fmla="*/ 3976923 w 10693106"/>
              <a:gd name="connsiteY38-30554" fmla="*/ 135187 h 5292022"/>
              <a:gd name="connsiteX39-30555" fmla="*/ 4021373 w 10693106"/>
              <a:gd name="connsiteY39-30556" fmla="*/ 144289 h 5292022"/>
              <a:gd name="connsiteX40-30557" fmla="*/ 4055240 w 10693106"/>
              <a:gd name="connsiteY40-30558" fmla="*/ 152756 h 5292022"/>
              <a:gd name="connsiteX41-30559" fmla="*/ 4275373 w 10693106"/>
              <a:gd name="connsiteY41-30560" fmla="*/ 195089 h 5292022"/>
              <a:gd name="connsiteX42-30561" fmla="*/ 4402373 w 10693106"/>
              <a:gd name="connsiteY42-30562" fmla="*/ 228956 h 5292022"/>
              <a:gd name="connsiteX43-30563" fmla="*/ 4529373 w 10693106"/>
              <a:gd name="connsiteY43-30564" fmla="*/ 271289 h 5292022"/>
              <a:gd name="connsiteX44-30565" fmla="*/ 5045840 w 10693106"/>
              <a:gd name="connsiteY44-30566" fmla="*/ 423689 h 5292022"/>
              <a:gd name="connsiteX45-30567" fmla="*/ 5672373 w 10693106"/>
              <a:gd name="connsiteY45-30568" fmla="*/ 931689 h 5292022"/>
              <a:gd name="connsiteX46-30569" fmla="*/ 6839926 w 10693106"/>
              <a:gd name="connsiteY46-30570" fmla="*/ 1252152 h 5292022"/>
              <a:gd name="connsiteX47-30571" fmla="*/ 7703950 w 10693106"/>
              <a:gd name="connsiteY47-30572" fmla="*/ 1069696 h 5292022"/>
              <a:gd name="connsiteX48-30573" fmla="*/ 8652640 w 10693106"/>
              <a:gd name="connsiteY48-30574" fmla="*/ 677689 h 5292022"/>
              <a:gd name="connsiteX49-30575" fmla="*/ 8982840 w 10693106"/>
              <a:gd name="connsiteY49-30576" fmla="*/ 398289 h 5292022"/>
              <a:gd name="connsiteX50-30577" fmla="*/ 9380773 w 10693106"/>
              <a:gd name="connsiteY50-30578" fmla="*/ 355956 h 5292022"/>
              <a:gd name="connsiteX51-30579" fmla="*/ 9744840 w 10693106"/>
              <a:gd name="connsiteY51-30580" fmla="*/ 466022 h 5292022"/>
              <a:gd name="connsiteX52-30581" fmla="*/ 9888773 w 10693106"/>
              <a:gd name="connsiteY52-30582" fmla="*/ 508356 h 5292022"/>
              <a:gd name="connsiteX53-30583" fmla="*/ 9998840 w 10693106"/>
              <a:gd name="connsiteY53-30584" fmla="*/ 559156 h 5292022"/>
              <a:gd name="connsiteX54-30585" fmla="*/ 10083506 w 10693106"/>
              <a:gd name="connsiteY54-30586" fmla="*/ 618422 h 5292022"/>
              <a:gd name="connsiteX55-30587" fmla="*/ 10286706 w 10693106"/>
              <a:gd name="connsiteY55-30588" fmla="*/ 686156 h 5292022"/>
              <a:gd name="connsiteX56-30589" fmla="*/ 10388306 w 10693106"/>
              <a:gd name="connsiteY56-30590" fmla="*/ 889356 h 5292022"/>
              <a:gd name="connsiteX57-30591" fmla="*/ 10540706 w 10693106"/>
              <a:gd name="connsiteY57-30592" fmla="*/ 1261889 h 5292022"/>
              <a:gd name="connsiteX58-30593" fmla="*/ 10557640 w 10693106"/>
              <a:gd name="connsiteY58-30594" fmla="*/ 1346556 h 5292022"/>
              <a:gd name="connsiteX59-30595" fmla="*/ 10583040 w 10693106"/>
              <a:gd name="connsiteY59-30596" fmla="*/ 1448156 h 5292022"/>
              <a:gd name="connsiteX60-30597" fmla="*/ 10616906 w 10693106"/>
              <a:gd name="connsiteY60-30598" fmla="*/ 1651356 h 5292022"/>
              <a:gd name="connsiteX61-30599" fmla="*/ 10633840 w 10693106"/>
              <a:gd name="connsiteY61-30600" fmla="*/ 1736022 h 5292022"/>
              <a:gd name="connsiteX62-30601" fmla="*/ 10650773 w 10693106"/>
              <a:gd name="connsiteY62-30602" fmla="*/ 1769889 h 5292022"/>
              <a:gd name="connsiteX63-30603" fmla="*/ 10676173 w 10693106"/>
              <a:gd name="connsiteY63-30604" fmla="*/ 1854556 h 5292022"/>
              <a:gd name="connsiteX64-30605" fmla="*/ 10693106 w 10693106"/>
              <a:gd name="connsiteY64-30606" fmla="*/ 2006956 h 5292022"/>
              <a:gd name="connsiteX65-30607" fmla="*/ 10625373 w 10693106"/>
              <a:gd name="connsiteY65-30608" fmla="*/ 2227089 h 5292022"/>
              <a:gd name="connsiteX66-30609" fmla="*/ 10608440 w 10693106"/>
              <a:gd name="connsiteY66-30610" fmla="*/ 2252489 h 5292022"/>
              <a:gd name="connsiteX67-30611" fmla="*/ 10540706 w 10693106"/>
              <a:gd name="connsiteY67-30612" fmla="*/ 2396422 h 5292022"/>
              <a:gd name="connsiteX68-30613" fmla="*/ 10498373 w 10693106"/>
              <a:gd name="connsiteY68-30614" fmla="*/ 2481089 h 5292022"/>
              <a:gd name="connsiteX69-30615" fmla="*/ 10439106 w 10693106"/>
              <a:gd name="connsiteY69-30616" fmla="*/ 2667356 h 5292022"/>
              <a:gd name="connsiteX70-30617" fmla="*/ 10430640 w 10693106"/>
              <a:gd name="connsiteY70-30618" fmla="*/ 2709689 h 5292022"/>
              <a:gd name="connsiteX71-30619" fmla="*/ 10405240 w 10693106"/>
              <a:gd name="connsiteY71-30620" fmla="*/ 2785889 h 5292022"/>
              <a:gd name="connsiteX72-30621" fmla="*/ 10396773 w 10693106"/>
              <a:gd name="connsiteY72-30622" fmla="*/ 2819756 h 5292022"/>
              <a:gd name="connsiteX73-30623" fmla="*/ 10362906 w 10693106"/>
              <a:gd name="connsiteY73-30624" fmla="*/ 2912889 h 5292022"/>
              <a:gd name="connsiteX74-30625" fmla="*/ 10329040 w 10693106"/>
              <a:gd name="connsiteY74-30626" fmla="*/ 2955222 h 5292022"/>
              <a:gd name="connsiteX75-30627" fmla="*/ 10227440 w 10693106"/>
              <a:gd name="connsiteY75-30628" fmla="*/ 3056822 h 5292022"/>
              <a:gd name="connsiteX76-30629" fmla="*/ 10168173 w 10693106"/>
              <a:gd name="connsiteY76-30630" fmla="*/ 3124556 h 5292022"/>
              <a:gd name="connsiteX77-30631" fmla="*/ 10117373 w 10693106"/>
              <a:gd name="connsiteY77-30632" fmla="*/ 3175356 h 5292022"/>
              <a:gd name="connsiteX78-30633" fmla="*/ 10032706 w 10693106"/>
              <a:gd name="connsiteY78-30634" fmla="*/ 3276956 h 5292022"/>
              <a:gd name="connsiteX79-30635" fmla="*/ 9948040 w 10693106"/>
              <a:gd name="connsiteY79-30636" fmla="*/ 3336222 h 5292022"/>
              <a:gd name="connsiteX80-30637" fmla="*/ 9905706 w 10693106"/>
              <a:gd name="connsiteY80-30638" fmla="*/ 3361622 h 5292022"/>
              <a:gd name="connsiteX81-30639" fmla="*/ 9829506 w 10693106"/>
              <a:gd name="connsiteY81-30640" fmla="*/ 3378556 h 5292022"/>
              <a:gd name="connsiteX82-30641" fmla="*/ 9727906 w 10693106"/>
              <a:gd name="connsiteY82-30642" fmla="*/ 3420889 h 5292022"/>
              <a:gd name="connsiteX83-30643" fmla="*/ 9634773 w 10693106"/>
              <a:gd name="connsiteY83-30644" fmla="*/ 3446289 h 5292022"/>
              <a:gd name="connsiteX84-30645" fmla="*/ 9456973 w 10693106"/>
              <a:gd name="connsiteY84-30646" fmla="*/ 3539422 h 5292022"/>
              <a:gd name="connsiteX85-30647" fmla="*/ 9313040 w 10693106"/>
              <a:gd name="connsiteY85-30648" fmla="*/ 3666422 h 5292022"/>
              <a:gd name="connsiteX86-30649" fmla="*/ 9279173 w 10693106"/>
              <a:gd name="connsiteY86-30650" fmla="*/ 3683356 h 5292022"/>
              <a:gd name="connsiteX87-30651" fmla="*/ 9067506 w 10693106"/>
              <a:gd name="connsiteY87-30652" fmla="*/ 3861156 h 5292022"/>
              <a:gd name="connsiteX88-30653" fmla="*/ 8999773 w 10693106"/>
              <a:gd name="connsiteY88-30654" fmla="*/ 3928889 h 5292022"/>
              <a:gd name="connsiteX89-30655" fmla="*/ 8813506 w 10693106"/>
              <a:gd name="connsiteY89-30656" fmla="*/ 4064356 h 5292022"/>
              <a:gd name="connsiteX90-30657" fmla="*/ 8728840 w 10693106"/>
              <a:gd name="connsiteY90-30658" fmla="*/ 4106689 h 5292022"/>
              <a:gd name="connsiteX91-30659" fmla="*/ 8373240 w 10693106"/>
              <a:gd name="connsiteY91-30660" fmla="*/ 4140556 h 5292022"/>
              <a:gd name="connsiteX92-30661" fmla="*/ 7966840 w 10693106"/>
              <a:gd name="connsiteY92-30662" fmla="*/ 4233689 h 5292022"/>
              <a:gd name="connsiteX93-30663" fmla="*/ 7687440 w 10693106"/>
              <a:gd name="connsiteY93-30664" fmla="*/ 4394556 h 5292022"/>
              <a:gd name="connsiteX94-30665" fmla="*/ 7551973 w 10693106"/>
              <a:gd name="connsiteY94-30666" fmla="*/ 4479222 h 5292022"/>
              <a:gd name="connsiteX95-30667" fmla="*/ 7374173 w 10693106"/>
              <a:gd name="connsiteY95-30668" fmla="*/ 4657022 h 5292022"/>
              <a:gd name="connsiteX96-30669" fmla="*/ 7374173 w 10693106"/>
              <a:gd name="connsiteY96-30670" fmla="*/ 4657022 h 5292022"/>
              <a:gd name="connsiteX97-30671" fmla="*/ 7221773 w 10693106"/>
              <a:gd name="connsiteY97-30672" fmla="*/ 4775556 h 5292022"/>
              <a:gd name="connsiteX98-30673" fmla="*/ 7027040 w 10693106"/>
              <a:gd name="connsiteY98-30674" fmla="*/ 4902556 h 5292022"/>
              <a:gd name="connsiteX99-30675" fmla="*/ 6883106 w 10693106"/>
              <a:gd name="connsiteY99-30676" fmla="*/ 4970289 h 5292022"/>
              <a:gd name="connsiteX100-30677" fmla="*/ 6815373 w 10693106"/>
              <a:gd name="connsiteY100-30678" fmla="*/ 5012622 h 5292022"/>
              <a:gd name="connsiteX101-30679" fmla="*/ 6646040 w 10693106"/>
              <a:gd name="connsiteY101-30680" fmla="*/ 5105756 h 5292022"/>
              <a:gd name="connsiteX102-30681" fmla="*/ 6527506 w 10693106"/>
              <a:gd name="connsiteY102-30682" fmla="*/ 5165022 h 5292022"/>
              <a:gd name="connsiteX103-30683" fmla="*/ 6298906 w 10693106"/>
              <a:gd name="connsiteY103-30684" fmla="*/ 5241222 h 5292022"/>
              <a:gd name="connsiteX104-30685" fmla="*/ 6197306 w 10693106"/>
              <a:gd name="connsiteY104-30686" fmla="*/ 5266622 h 5292022"/>
              <a:gd name="connsiteX105-30687" fmla="*/ 6061840 w 10693106"/>
              <a:gd name="connsiteY105-30688" fmla="*/ 5275089 h 5292022"/>
              <a:gd name="connsiteX106-30689" fmla="*/ 5917906 w 10693106"/>
              <a:gd name="connsiteY106-30690" fmla="*/ 5292022 h 5292022"/>
              <a:gd name="connsiteX107-30691" fmla="*/ 5748573 w 10693106"/>
              <a:gd name="connsiteY107-30692" fmla="*/ 5283556 h 5292022"/>
              <a:gd name="connsiteX108-30693" fmla="*/ 5282906 w 10693106"/>
              <a:gd name="connsiteY108-30694" fmla="*/ 5173489 h 5292022"/>
              <a:gd name="connsiteX109-30695" fmla="*/ 5138973 w 10693106"/>
              <a:gd name="connsiteY109-30696" fmla="*/ 5071889 h 5292022"/>
              <a:gd name="connsiteX110-30697" fmla="*/ 4959480 w 10693106"/>
              <a:gd name="connsiteY110-30698" fmla="*/ 4988069 h 5292022"/>
              <a:gd name="connsiteX111-30699" fmla="*/ 4842216 w 10693106"/>
              <a:gd name="connsiteY111-30700" fmla="*/ 4953779 h 5292022"/>
              <a:gd name="connsiteX112-30701" fmla="*/ 4797343 w 10693106"/>
              <a:gd name="connsiteY112-30702" fmla="*/ 4878426 h 5292022"/>
              <a:gd name="connsiteX113-30703" fmla="*/ 4686853 w 10693106"/>
              <a:gd name="connsiteY113-30704" fmla="*/ 4788256 h 5292022"/>
              <a:gd name="connsiteX114-30705" fmla="*/ 4536146 w 10693106"/>
              <a:gd name="connsiteY114-30706" fmla="*/ 4712902 h 5292022"/>
              <a:gd name="connsiteX115-30707" fmla="*/ 4365120 w 10693106"/>
              <a:gd name="connsiteY115-30708" fmla="*/ 4616382 h 5292022"/>
              <a:gd name="connsiteX116-30709" fmla="*/ 3977346 w 10693106"/>
              <a:gd name="connsiteY116-30710" fmla="*/ 4470544 h 5292022"/>
              <a:gd name="connsiteX117-30711" fmla="*/ 3741550 w 10693106"/>
              <a:gd name="connsiteY117-30712" fmla="*/ 4154102 h 5292022"/>
              <a:gd name="connsiteX118-30713" fmla="*/ 3852040 w 10693106"/>
              <a:gd name="connsiteY118-30714" fmla="*/ 3530956 h 5292022"/>
              <a:gd name="connsiteX119-30715" fmla="*/ 3801240 w 10693106"/>
              <a:gd name="connsiteY119-30716" fmla="*/ 3420889 h 5292022"/>
              <a:gd name="connsiteX120-30717" fmla="*/ 3733506 w 10693106"/>
              <a:gd name="connsiteY120-30718" fmla="*/ 3319289 h 5292022"/>
              <a:gd name="connsiteX121-30719" fmla="*/ 3242440 w 10693106"/>
              <a:gd name="connsiteY121-30720" fmla="*/ 3099156 h 5292022"/>
              <a:gd name="connsiteX122-30721" fmla="*/ 3123906 w 10693106"/>
              <a:gd name="connsiteY122-30722" fmla="*/ 2997556 h 5292022"/>
              <a:gd name="connsiteX123-30723" fmla="*/ 2988440 w 10693106"/>
              <a:gd name="connsiteY123-30724" fmla="*/ 2802822 h 5292022"/>
              <a:gd name="connsiteX124-30725" fmla="*/ 2971506 w 10693106"/>
              <a:gd name="connsiteY124-30726" fmla="*/ 2743556 h 5292022"/>
              <a:gd name="connsiteX125-30727" fmla="*/ 2996906 w 10693106"/>
              <a:gd name="connsiteY125-30728" fmla="*/ 2531889 h 5292022"/>
              <a:gd name="connsiteX126-30729" fmla="*/ 3013840 w 10693106"/>
              <a:gd name="connsiteY126-30730" fmla="*/ 2430289 h 5292022"/>
              <a:gd name="connsiteX127-30731" fmla="*/ 3005373 w 10693106"/>
              <a:gd name="connsiteY127-30732" fmla="*/ 2311756 h 5292022"/>
              <a:gd name="connsiteX128-30733" fmla="*/ 2988440 w 10693106"/>
              <a:gd name="connsiteY128-30734" fmla="*/ 2260956 h 5292022"/>
              <a:gd name="connsiteX129-30735" fmla="*/ 2802173 w 10693106"/>
              <a:gd name="connsiteY129-30736" fmla="*/ 2006956 h 5292022"/>
              <a:gd name="connsiteX130-30737" fmla="*/ 2641306 w 10693106"/>
              <a:gd name="connsiteY130-30738" fmla="*/ 1863022 h 5292022"/>
              <a:gd name="connsiteX131-30739" fmla="*/ 2590506 w 10693106"/>
              <a:gd name="connsiteY131-30740" fmla="*/ 1837622 h 5292022"/>
              <a:gd name="connsiteX132-30741" fmla="*/ 2531240 w 10693106"/>
              <a:gd name="connsiteY132-30742" fmla="*/ 1829156 h 5292022"/>
              <a:gd name="connsiteX133-30743" fmla="*/ 2446573 w 10693106"/>
              <a:gd name="connsiteY133-30744" fmla="*/ 1812222 h 5292022"/>
              <a:gd name="connsiteX134-30745" fmla="*/ 2251840 w 10693106"/>
              <a:gd name="connsiteY134-30746" fmla="*/ 1837622 h 5292022"/>
              <a:gd name="connsiteX135-30747" fmla="*/ 2167173 w 10693106"/>
              <a:gd name="connsiteY135-30748" fmla="*/ 1879956 h 5292022"/>
              <a:gd name="connsiteX136-30749" fmla="*/ 1980906 w 10693106"/>
              <a:gd name="connsiteY136-30750" fmla="*/ 1939222 h 5292022"/>
              <a:gd name="connsiteX137-30751" fmla="*/ 1904706 w 10693106"/>
              <a:gd name="connsiteY137-30752" fmla="*/ 1973089 h 5292022"/>
              <a:gd name="connsiteX138-30753" fmla="*/ 1828506 w 10693106"/>
              <a:gd name="connsiteY138-30754" fmla="*/ 1990022 h 5292022"/>
              <a:gd name="connsiteX139-30755" fmla="*/ 1726906 w 10693106"/>
              <a:gd name="connsiteY139-30756" fmla="*/ 2040822 h 5292022"/>
              <a:gd name="connsiteX140-30757" fmla="*/ 1659173 w 10693106"/>
              <a:gd name="connsiteY140-30758" fmla="*/ 2074689 h 5292022"/>
              <a:gd name="connsiteX141-30759" fmla="*/ 1498306 w 10693106"/>
              <a:gd name="connsiteY141-30760" fmla="*/ 2100089 h 5292022"/>
              <a:gd name="connsiteX142-30761" fmla="*/ 914106 w 10693106"/>
              <a:gd name="connsiteY142-30762" fmla="*/ 2032356 h 5292022"/>
              <a:gd name="connsiteX143-30763" fmla="*/ 617773 w 10693106"/>
              <a:gd name="connsiteY143-30764" fmla="*/ 1922289 h 5292022"/>
              <a:gd name="connsiteX144-30765" fmla="*/ 516173 w 10693106"/>
              <a:gd name="connsiteY144-30766" fmla="*/ 1837622 h 5292022"/>
              <a:gd name="connsiteX145-30767" fmla="*/ 355306 w 10693106"/>
              <a:gd name="connsiteY145-30768" fmla="*/ 1625956 h 5292022"/>
              <a:gd name="connsiteX146-30769" fmla="*/ 296040 w 10693106"/>
              <a:gd name="connsiteY146-30770" fmla="*/ 1524356 h 5292022"/>
              <a:gd name="connsiteX147-30771" fmla="*/ 253706 w 10693106"/>
              <a:gd name="connsiteY147-30772" fmla="*/ 1346556 h 5292022"/>
              <a:gd name="connsiteX148-30773" fmla="*/ 245240 w 10693106"/>
              <a:gd name="connsiteY148-30774" fmla="*/ 1219556 h 5292022"/>
              <a:gd name="connsiteX149-30775" fmla="*/ 236773 w 10693106"/>
              <a:gd name="connsiteY149-30776" fmla="*/ 1117956 h 5292022"/>
              <a:gd name="connsiteX150-30777" fmla="*/ 245240 w 10693106"/>
              <a:gd name="connsiteY150-30778" fmla="*/ 847022 h 5292022"/>
              <a:gd name="connsiteX151-30779" fmla="*/ 236773 w 10693106"/>
              <a:gd name="connsiteY151-30780" fmla="*/ 703089 h 5292022"/>
              <a:gd name="connsiteX152-30781" fmla="*/ 109773 w 10693106"/>
              <a:gd name="connsiteY152-30782" fmla="*/ 559156 h 5292022"/>
              <a:gd name="connsiteX153-30783" fmla="*/ 58973 w 10693106"/>
              <a:gd name="connsiteY153-30784" fmla="*/ 482956 h 5292022"/>
              <a:gd name="connsiteX154-30785" fmla="*/ 16640 w 10693106"/>
              <a:gd name="connsiteY154-30786" fmla="*/ 432156 h 5292022"/>
              <a:gd name="connsiteX155-30787" fmla="*/ 8173 w 10693106"/>
              <a:gd name="connsiteY155-30788" fmla="*/ 389822 h 5292022"/>
              <a:gd name="connsiteX156-30789" fmla="*/ 16640 w 10693106"/>
              <a:gd name="connsiteY156-30790" fmla="*/ 339022 h 5292022"/>
              <a:gd name="connsiteX0-30791" fmla="*/ 16640 w 10693106"/>
              <a:gd name="connsiteY0-30792" fmla="*/ 339022 h 5292022"/>
              <a:gd name="connsiteX1-30793" fmla="*/ 58973 w 10693106"/>
              <a:gd name="connsiteY1-30794" fmla="*/ 245889 h 5292022"/>
              <a:gd name="connsiteX2-30795" fmla="*/ 109773 w 10693106"/>
              <a:gd name="connsiteY2-30796" fmla="*/ 178156 h 5292022"/>
              <a:gd name="connsiteX3-30797" fmla="*/ 202906 w 10693106"/>
              <a:gd name="connsiteY3-30798" fmla="*/ 93489 h 5292022"/>
              <a:gd name="connsiteX4-30799" fmla="*/ 236773 w 10693106"/>
              <a:gd name="connsiteY4-30800" fmla="*/ 68089 h 5292022"/>
              <a:gd name="connsiteX5-30801" fmla="*/ 335410 w 10693106"/>
              <a:gd name="connsiteY5-30802" fmla="*/ 58352 h 5292022"/>
              <a:gd name="connsiteX6-30803" fmla="*/ 382400 w 10693106"/>
              <a:gd name="connsiteY6-30804" fmla="*/ 51156 h 5292022"/>
              <a:gd name="connsiteX7-30805" fmla="*/ 434912 w 10693106"/>
              <a:gd name="connsiteY7-30806" fmla="*/ 70071 h 5292022"/>
              <a:gd name="connsiteX8-30807" fmla="*/ 492697 w 10693106"/>
              <a:gd name="connsiteY8-30808" fmla="*/ 74247 h 5292022"/>
              <a:gd name="connsiteX9-30809" fmla="*/ 822897 w 10693106"/>
              <a:gd name="connsiteY9-30810" fmla="*/ 82713 h 5292022"/>
              <a:gd name="connsiteX10-30811" fmla="*/ 1091906 w 10693106"/>
              <a:gd name="connsiteY10-30812" fmla="*/ 356 h 5292022"/>
              <a:gd name="connsiteX11-30813" fmla="*/ 1235840 w 10693106"/>
              <a:gd name="connsiteY11-30814" fmla="*/ 59622 h 5292022"/>
              <a:gd name="connsiteX12-30815" fmla="*/ 1337440 w 10693106"/>
              <a:gd name="connsiteY12-30816" fmla="*/ 135822 h 5292022"/>
              <a:gd name="connsiteX13-30817" fmla="*/ 1422106 w 10693106"/>
              <a:gd name="connsiteY13-30818" fmla="*/ 245889 h 5292022"/>
              <a:gd name="connsiteX14-30819" fmla="*/ 1481373 w 10693106"/>
              <a:gd name="connsiteY14-30820" fmla="*/ 313622 h 5292022"/>
              <a:gd name="connsiteX15-30821" fmla="*/ 1532173 w 10693106"/>
              <a:gd name="connsiteY15-30822" fmla="*/ 347489 h 5292022"/>
              <a:gd name="connsiteX16-30823" fmla="*/ 1684573 w 10693106"/>
              <a:gd name="connsiteY16-30824" fmla="*/ 406756 h 5292022"/>
              <a:gd name="connsiteX17-30825" fmla="*/ 1760773 w 10693106"/>
              <a:gd name="connsiteY17-30826" fmla="*/ 423689 h 5292022"/>
              <a:gd name="connsiteX18-30827" fmla="*/ 1997840 w 10693106"/>
              <a:gd name="connsiteY18-30828" fmla="*/ 415222 h 5292022"/>
              <a:gd name="connsiteX19-30829" fmla="*/ 2116373 w 10693106"/>
              <a:gd name="connsiteY19-30830" fmla="*/ 398289 h 5292022"/>
              <a:gd name="connsiteX20-30831" fmla="*/ 2260306 w 10693106"/>
              <a:gd name="connsiteY20-30832" fmla="*/ 381356 h 5292022"/>
              <a:gd name="connsiteX21-30833" fmla="*/ 2404240 w 10693106"/>
              <a:gd name="connsiteY21-30834" fmla="*/ 355956 h 5292022"/>
              <a:gd name="connsiteX22-30835" fmla="*/ 2455040 w 10693106"/>
              <a:gd name="connsiteY22-30836" fmla="*/ 330556 h 5292022"/>
              <a:gd name="connsiteX23-30837" fmla="*/ 2531240 w 10693106"/>
              <a:gd name="connsiteY23-30838" fmla="*/ 305156 h 5292022"/>
              <a:gd name="connsiteX24-30839" fmla="*/ 2649350 w 10693106"/>
              <a:gd name="connsiteY24-30840" fmla="*/ 225781 h 5292022"/>
              <a:gd name="connsiteX25-30841" fmla="*/ 2742906 w 10693106"/>
              <a:gd name="connsiteY25-30842" fmla="*/ 186622 h 5292022"/>
              <a:gd name="connsiteX26-30843" fmla="*/ 2764920 w 10693106"/>
              <a:gd name="connsiteY26-30844" fmla="*/ 173076 h 5292022"/>
              <a:gd name="connsiteX27-30845" fmla="*/ 2832653 w 10693106"/>
              <a:gd name="connsiteY27-30846" fmla="*/ 167996 h 5292022"/>
              <a:gd name="connsiteX28-30847" fmla="*/ 3002294 w 10693106"/>
              <a:gd name="connsiteY28-30848" fmla="*/ 154680 h 5292022"/>
              <a:gd name="connsiteX29-30849" fmla="*/ 3142763 w 10693106"/>
              <a:gd name="connsiteY29-30850" fmla="*/ 110421 h 5292022"/>
              <a:gd name="connsiteX30-30851" fmla="*/ 3398918 w 10693106"/>
              <a:gd name="connsiteY30-30852" fmla="*/ 72322 h 5292022"/>
              <a:gd name="connsiteX31-30853" fmla="*/ 3606506 w 10693106"/>
              <a:gd name="connsiteY31-30854" fmla="*/ 60393 h 5292022"/>
              <a:gd name="connsiteX32-30855" fmla="*/ 3682706 w 10693106"/>
              <a:gd name="connsiteY32-30856" fmla="*/ 79942 h 5292022"/>
              <a:gd name="connsiteX33-30857" fmla="*/ 3741973 w 10693106"/>
              <a:gd name="connsiteY33-30858" fmla="*/ 86561 h 5292022"/>
              <a:gd name="connsiteX34-30859" fmla="*/ 3794678 w 10693106"/>
              <a:gd name="connsiteY34-30860" fmla="*/ 101321 h 5292022"/>
              <a:gd name="connsiteX35-30861" fmla="*/ 3833625 w 10693106"/>
              <a:gd name="connsiteY35-30862" fmla="*/ 110846 h 5292022"/>
              <a:gd name="connsiteX36-30863" fmla="*/ 3892487 w 10693106"/>
              <a:gd name="connsiteY36-30864" fmla="*/ 116984 h 5292022"/>
              <a:gd name="connsiteX37-30865" fmla="*/ 3933108 w 10693106"/>
              <a:gd name="connsiteY37-30866" fmla="*/ 128837 h 5292022"/>
              <a:gd name="connsiteX38-30867" fmla="*/ 3976923 w 10693106"/>
              <a:gd name="connsiteY38-30868" fmla="*/ 135187 h 5292022"/>
              <a:gd name="connsiteX39-30869" fmla="*/ 4021373 w 10693106"/>
              <a:gd name="connsiteY39-30870" fmla="*/ 144289 h 5292022"/>
              <a:gd name="connsiteX40-30871" fmla="*/ 4055240 w 10693106"/>
              <a:gd name="connsiteY40-30872" fmla="*/ 152756 h 5292022"/>
              <a:gd name="connsiteX41-30873" fmla="*/ 4275373 w 10693106"/>
              <a:gd name="connsiteY41-30874" fmla="*/ 195089 h 5292022"/>
              <a:gd name="connsiteX42-30875" fmla="*/ 4402373 w 10693106"/>
              <a:gd name="connsiteY42-30876" fmla="*/ 228956 h 5292022"/>
              <a:gd name="connsiteX43-30877" fmla="*/ 4529373 w 10693106"/>
              <a:gd name="connsiteY43-30878" fmla="*/ 271289 h 5292022"/>
              <a:gd name="connsiteX44-30879" fmla="*/ 5045840 w 10693106"/>
              <a:gd name="connsiteY44-30880" fmla="*/ 423689 h 5292022"/>
              <a:gd name="connsiteX45-30881" fmla="*/ 5672373 w 10693106"/>
              <a:gd name="connsiteY45-30882" fmla="*/ 931689 h 5292022"/>
              <a:gd name="connsiteX46-30883" fmla="*/ 6839926 w 10693106"/>
              <a:gd name="connsiteY46-30884" fmla="*/ 1252152 h 5292022"/>
              <a:gd name="connsiteX47-30885" fmla="*/ 7703950 w 10693106"/>
              <a:gd name="connsiteY47-30886" fmla="*/ 1069696 h 5292022"/>
              <a:gd name="connsiteX48-30887" fmla="*/ 8652640 w 10693106"/>
              <a:gd name="connsiteY48-30888" fmla="*/ 677689 h 5292022"/>
              <a:gd name="connsiteX49-30889" fmla="*/ 8982840 w 10693106"/>
              <a:gd name="connsiteY49-30890" fmla="*/ 398289 h 5292022"/>
              <a:gd name="connsiteX50-30891" fmla="*/ 9380773 w 10693106"/>
              <a:gd name="connsiteY50-30892" fmla="*/ 355956 h 5292022"/>
              <a:gd name="connsiteX51-30893" fmla="*/ 9744840 w 10693106"/>
              <a:gd name="connsiteY51-30894" fmla="*/ 466022 h 5292022"/>
              <a:gd name="connsiteX52-30895" fmla="*/ 9888773 w 10693106"/>
              <a:gd name="connsiteY52-30896" fmla="*/ 508356 h 5292022"/>
              <a:gd name="connsiteX53-30897" fmla="*/ 9998840 w 10693106"/>
              <a:gd name="connsiteY53-30898" fmla="*/ 559156 h 5292022"/>
              <a:gd name="connsiteX54-30899" fmla="*/ 10083506 w 10693106"/>
              <a:gd name="connsiteY54-30900" fmla="*/ 618422 h 5292022"/>
              <a:gd name="connsiteX55-30901" fmla="*/ 10286706 w 10693106"/>
              <a:gd name="connsiteY55-30902" fmla="*/ 686156 h 5292022"/>
              <a:gd name="connsiteX56-30903" fmla="*/ 10388306 w 10693106"/>
              <a:gd name="connsiteY56-30904" fmla="*/ 889356 h 5292022"/>
              <a:gd name="connsiteX57-30905" fmla="*/ 10540706 w 10693106"/>
              <a:gd name="connsiteY57-30906" fmla="*/ 1261889 h 5292022"/>
              <a:gd name="connsiteX58-30907" fmla="*/ 10557640 w 10693106"/>
              <a:gd name="connsiteY58-30908" fmla="*/ 1346556 h 5292022"/>
              <a:gd name="connsiteX59-30909" fmla="*/ 10583040 w 10693106"/>
              <a:gd name="connsiteY59-30910" fmla="*/ 1448156 h 5292022"/>
              <a:gd name="connsiteX60-30911" fmla="*/ 10616906 w 10693106"/>
              <a:gd name="connsiteY60-30912" fmla="*/ 1651356 h 5292022"/>
              <a:gd name="connsiteX61-30913" fmla="*/ 10633840 w 10693106"/>
              <a:gd name="connsiteY61-30914" fmla="*/ 1736022 h 5292022"/>
              <a:gd name="connsiteX62-30915" fmla="*/ 10650773 w 10693106"/>
              <a:gd name="connsiteY62-30916" fmla="*/ 1769889 h 5292022"/>
              <a:gd name="connsiteX63-30917" fmla="*/ 10676173 w 10693106"/>
              <a:gd name="connsiteY63-30918" fmla="*/ 1854556 h 5292022"/>
              <a:gd name="connsiteX64-30919" fmla="*/ 10693106 w 10693106"/>
              <a:gd name="connsiteY64-30920" fmla="*/ 2006956 h 5292022"/>
              <a:gd name="connsiteX65-30921" fmla="*/ 10625373 w 10693106"/>
              <a:gd name="connsiteY65-30922" fmla="*/ 2227089 h 5292022"/>
              <a:gd name="connsiteX66-30923" fmla="*/ 10608440 w 10693106"/>
              <a:gd name="connsiteY66-30924" fmla="*/ 2252489 h 5292022"/>
              <a:gd name="connsiteX67-30925" fmla="*/ 10540706 w 10693106"/>
              <a:gd name="connsiteY67-30926" fmla="*/ 2396422 h 5292022"/>
              <a:gd name="connsiteX68-30927" fmla="*/ 10498373 w 10693106"/>
              <a:gd name="connsiteY68-30928" fmla="*/ 2481089 h 5292022"/>
              <a:gd name="connsiteX69-30929" fmla="*/ 10439106 w 10693106"/>
              <a:gd name="connsiteY69-30930" fmla="*/ 2667356 h 5292022"/>
              <a:gd name="connsiteX70-30931" fmla="*/ 10430640 w 10693106"/>
              <a:gd name="connsiteY70-30932" fmla="*/ 2709689 h 5292022"/>
              <a:gd name="connsiteX71-30933" fmla="*/ 10405240 w 10693106"/>
              <a:gd name="connsiteY71-30934" fmla="*/ 2785889 h 5292022"/>
              <a:gd name="connsiteX72-30935" fmla="*/ 10396773 w 10693106"/>
              <a:gd name="connsiteY72-30936" fmla="*/ 2819756 h 5292022"/>
              <a:gd name="connsiteX73-30937" fmla="*/ 10362906 w 10693106"/>
              <a:gd name="connsiteY73-30938" fmla="*/ 2912889 h 5292022"/>
              <a:gd name="connsiteX74-30939" fmla="*/ 10329040 w 10693106"/>
              <a:gd name="connsiteY74-30940" fmla="*/ 2955222 h 5292022"/>
              <a:gd name="connsiteX75-30941" fmla="*/ 10227440 w 10693106"/>
              <a:gd name="connsiteY75-30942" fmla="*/ 3056822 h 5292022"/>
              <a:gd name="connsiteX76-30943" fmla="*/ 10168173 w 10693106"/>
              <a:gd name="connsiteY76-30944" fmla="*/ 3124556 h 5292022"/>
              <a:gd name="connsiteX77-30945" fmla="*/ 10117373 w 10693106"/>
              <a:gd name="connsiteY77-30946" fmla="*/ 3175356 h 5292022"/>
              <a:gd name="connsiteX78-30947" fmla="*/ 10032706 w 10693106"/>
              <a:gd name="connsiteY78-30948" fmla="*/ 3276956 h 5292022"/>
              <a:gd name="connsiteX79-30949" fmla="*/ 9948040 w 10693106"/>
              <a:gd name="connsiteY79-30950" fmla="*/ 3336222 h 5292022"/>
              <a:gd name="connsiteX80-30951" fmla="*/ 9905706 w 10693106"/>
              <a:gd name="connsiteY80-30952" fmla="*/ 3361622 h 5292022"/>
              <a:gd name="connsiteX81-30953" fmla="*/ 9829506 w 10693106"/>
              <a:gd name="connsiteY81-30954" fmla="*/ 3378556 h 5292022"/>
              <a:gd name="connsiteX82-30955" fmla="*/ 9727906 w 10693106"/>
              <a:gd name="connsiteY82-30956" fmla="*/ 3420889 h 5292022"/>
              <a:gd name="connsiteX83-30957" fmla="*/ 9634773 w 10693106"/>
              <a:gd name="connsiteY83-30958" fmla="*/ 3446289 h 5292022"/>
              <a:gd name="connsiteX84-30959" fmla="*/ 9456973 w 10693106"/>
              <a:gd name="connsiteY84-30960" fmla="*/ 3539422 h 5292022"/>
              <a:gd name="connsiteX85-30961" fmla="*/ 9313040 w 10693106"/>
              <a:gd name="connsiteY85-30962" fmla="*/ 3666422 h 5292022"/>
              <a:gd name="connsiteX86-30963" fmla="*/ 9279173 w 10693106"/>
              <a:gd name="connsiteY86-30964" fmla="*/ 3683356 h 5292022"/>
              <a:gd name="connsiteX87-30965" fmla="*/ 9067506 w 10693106"/>
              <a:gd name="connsiteY87-30966" fmla="*/ 3861156 h 5292022"/>
              <a:gd name="connsiteX88-30967" fmla="*/ 8999773 w 10693106"/>
              <a:gd name="connsiteY88-30968" fmla="*/ 3928889 h 5292022"/>
              <a:gd name="connsiteX89-30969" fmla="*/ 8813506 w 10693106"/>
              <a:gd name="connsiteY89-30970" fmla="*/ 4064356 h 5292022"/>
              <a:gd name="connsiteX90-30971" fmla="*/ 8728840 w 10693106"/>
              <a:gd name="connsiteY90-30972" fmla="*/ 4106689 h 5292022"/>
              <a:gd name="connsiteX91-30973" fmla="*/ 8373240 w 10693106"/>
              <a:gd name="connsiteY91-30974" fmla="*/ 4140556 h 5292022"/>
              <a:gd name="connsiteX92-30975" fmla="*/ 7966840 w 10693106"/>
              <a:gd name="connsiteY92-30976" fmla="*/ 4233689 h 5292022"/>
              <a:gd name="connsiteX93-30977" fmla="*/ 7687440 w 10693106"/>
              <a:gd name="connsiteY93-30978" fmla="*/ 4394556 h 5292022"/>
              <a:gd name="connsiteX94-30979" fmla="*/ 7551973 w 10693106"/>
              <a:gd name="connsiteY94-30980" fmla="*/ 4479222 h 5292022"/>
              <a:gd name="connsiteX95-30981" fmla="*/ 7374173 w 10693106"/>
              <a:gd name="connsiteY95-30982" fmla="*/ 4657022 h 5292022"/>
              <a:gd name="connsiteX96-30983" fmla="*/ 7374173 w 10693106"/>
              <a:gd name="connsiteY96-30984" fmla="*/ 4657022 h 5292022"/>
              <a:gd name="connsiteX97-30985" fmla="*/ 7221773 w 10693106"/>
              <a:gd name="connsiteY97-30986" fmla="*/ 4775556 h 5292022"/>
              <a:gd name="connsiteX98-30987" fmla="*/ 7027040 w 10693106"/>
              <a:gd name="connsiteY98-30988" fmla="*/ 4902556 h 5292022"/>
              <a:gd name="connsiteX99-30989" fmla="*/ 6883106 w 10693106"/>
              <a:gd name="connsiteY99-30990" fmla="*/ 4970289 h 5292022"/>
              <a:gd name="connsiteX100-30991" fmla="*/ 6815373 w 10693106"/>
              <a:gd name="connsiteY100-30992" fmla="*/ 5012622 h 5292022"/>
              <a:gd name="connsiteX101-30993" fmla="*/ 6646040 w 10693106"/>
              <a:gd name="connsiteY101-30994" fmla="*/ 5105756 h 5292022"/>
              <a:gd name="connsiteX102-30995" fmla="*/ 6527506 w 10693106"/>
              <a:gd name="connsiteY102-30996" fmla="*/ 5165022 h 5292022"/>
              <a:gd name="connsiteX103-30997" fmla="*/ 6298906 w 10693106"/>
              <a:gd name="connsiteY103-30998" fmla="*/ 5241222 h 5292022"/>
              <a:gd name="connsiteX104-30999" fmla="*/ 6197306 w 10693106"/>
              <a:gd name="connsiteY104-31000" fmla="*/ 5266622 h 5292022"/>
              <a:gd name="connsiteX105-31001" fmla="*/ 6061840 w 10693106"/>
              <a:gd name="connsiteY105-31002" fmla="*/ 5275089 h 5292022"/>
              <a:gd name="connsiteX106-31003" fmla="*/ 5917906 w 10693106"/>
              <a:gd name="connsiteY106-31004" fmla="*/ 5292022 h 5292022"/>
              <a:gd name="connsiteX107-31005" fmla="*/ 5748573 w 10693106"/>
              <a:gd name="connsiteY107-31006" fmla="*/ 5283556 h 5292022"/>
              <a:gd name="connsiteX108-31007" fmla="*/ 5282906 w 10693106"/>
              <a:gd name="connsiteY108-31008" fmla="*/ 5173489 h 5292022"/>
              <a:gd name="connsiteX109-31009" fmla="*/ 5138973 w 10693106"/>
              <a:gd name="connsiteY109-31010" fmla="*/ 5071889 h 5292022"/>
              <a:gd name="connsiteX110-31011" fmla="*/ 4959480 w 10693106"/>
              <a:gd name="connsiteY110-31012" fmla="*/ 4988069 h 5292022"/>
              <a:gd name="connsiteX111-31013" fmla="*/ 4842216 w 10693106"/>
              <a:gd name="connsiteY111-31014" fmla="*/ 4953779 h 5292022"/>
              <a:gd name="connsiteX112-31015" fmla="*/ 4797343 w 10693106"/>
              <a:gd name="connsiteY112-31016" fmla="*/ 4878426 h 5292022"/>
              <a:gd name="connsiteX113-31017" fmla="*/ 4686853 w 10693106"/>
              <a:gd name="connsiteY113-31018" fmla="*/ 4788256 h 5292022"/>
              <a:gd name="connsiteX114-31019" fmla="*/ 4536146 w 10693106"/>
              <a:gd name="connsiteY114-31020" fmla="*/ 4712902 h 5292022"/>
              <a:gd name="connsiteX115-31021" fmla="*/ 4365120 w 10693106"/>
              <a:gd name="connsiteY115-31022" fmla="*/ 4616382 h 5292022"/>
              <a:gd name="connsiteX116-31023" fmla="*/ 3977346 w 10693106"/>
              <a:gd name="connsiteY116-31024" fmla="*/ 4470544 h 5292022"/>
              <a:gd name="connsiteX117-31025" fmla="*/ 3741550 w 10693106"/>
              <a:gd name="connsiteY117-31026" fmla="*/ 4154102 h 5292022"/>
              <a:gd name="connsiteX118-31027" fmla="*/ 3801240 w 10693106"/>
              <a:gd name="connsiteY118-31028" fmla="*/ 3420889 h 5292022"/>
              <a:gd name="connsiteX119-31029" fmla="*/ 3733506 w 10693106"/>
              <a:gd name="connsiteY119-31030" fmla="*/ 3319289 h 5292022"/>
              <a:gd name="connsiteX120-31031" fmla="*/ 3242440 w 10693106"/>
              <a:gd name="connsiteY120-31032" fmla="*/ 3099156 h 5292022"/>
              <a:gd name="connsiteX121-31033" fmla="*/ 3123906 w 10693106"/>
              <a:gd name="connsiteY121-31034" fmla="*/ 2997556 h 5292022"/>
              <a:gd name="connsiteX122-31035" fmla="*/ 2988440 w 10693106"/>
              <a:gd name="connsiteY122-31036" fmla="*/ 2802822 h 5292022"/>
              <a:gd name="connsiteX123-31037" fmla="*/ 2971506 w 10693106"/>
              <a:gd name="connsiteY123-31038" fmla="*/ 2743556 h 5292022"/>
              <a:gd name="connsiteX124-31039" fmla="*/ 2996906 w 10693106"/>
              <a:gd name="connsiteY124-31040" fmla="*/ 2531889 h 5292022"/>
              <a:gd name="connsiteX125-31041" fmla="*/ 3013840 w 10693106"/>
              <a:gd name="connsiteY125-31042" fmla="*/ 2430289 h 5292022"/>
              <a:gd name="connsiteX126-31043" fmla="*/ 3005373 w 10693106"/>
              <a:gd name="connsiteY126-31044" fmla="*/ 2311756 h 5292022"/>
              <a:gd name="connsiteX127-31045" fmla="*/ 2988440 w 10693106"/>
              <a:gd name="connsiteY127-31046" fmla="*/ 2260956 h 5292022"/>
              <a:gd name="connsiteX128-31047" fmla="*/ 2802173 w 10693106"/>
              <a:gd name="connsiteY128-31048" fmla="*/ 2006956 h 5292022"/>
              <a:gd name="connsiteX129-31049" fmla="*/ 2641306 w 10693106"/>
              <a:gd name="connsiteY129-31050" fmla="*/ 1863022 h 5292022"/>
              <a:gd name="connsiteX130-31051" fmla="*/ 2590506 w 10693106"/>
              <a:gd name="connsiteY130-31052" fmla="*/ 1837622 h 5292022"/>
              <a:gd name="connsiteX131-31053" fmla="*/ 2531240 w 10693106"/>
              <a:gd name="connsiteY131-31054" fmla="*/ 1829156 h 5292022"/>
              <a:gd name="connsiteX132-31055" fmla="*/ 2446573 w 10693106"/>
              <a:gd name="connsiteY132-31056" fmla="*/ 1812222 h 5292022"/>
              <a:gd name="connsiteX133-31057" fmla="*/ 2251840 w 10693106"/>
              <a:gd name="connsiteY133-31058" fmla="*/ 1837622 h 5292022"/>
              <a:gd name="connsiteX134-31059" fmla="*/ 2167173 w 10693106"/>
              <a:gd name="connsiteY134-31060" fmla="*/ 1879956 h 5292022"/>
              <a:gd name="connsiteX135-31061" fmla="*/ 1980906 w 10693106"/>
              <a:gd name="connsiteY135-31062" fmla="*/ 1939222 h 5292022"/>
              <a:gd name="connsiteX136-31063" fmla="*/ 1904706 w 10693106"/>
              <a:gd name="connsiteY136-31064" fmla="*/ 1973089 h 5292022"/>
              <a:gd name="connsiteX137-31065" fmla="*/ 1828506 w 10693106"/>
              <a:gd name="connsiteY137-31066" fmla="*/ 1990022 h 5292022"/>
              <a:gd name="connsiteX138-31067" fmla="*/ 1726906 w 10693106"/>
              <a:gd name="connsiteY138-31068" fmla="*/ 2040822 h 5292022"/>
              <a:gd name="connsiteX139-31069" fmla="*/ 1659173 w 10693106"/>
              <a:gd name="connsiteY139-31070" fmla="*/ 2074689 h 5292022"/>
              <a:gd name="connsiteX140-31071" fmla="*/ 1498306 w 10693106"/>
              <a:gd name="connsiteY140-31072" fmla="*/ 2100089 h 5292022"/>
              <a:gd name="connsiteX141-31073" fmla="*/ 914106 w 10693106"/>
              <a:gd name="connsiteY141-31074" fmla="*/ 2032356 h 5292022"/>
              <a:gd name="connsiteX142-31075" fmla="*/ 617773 w 10693106"/>
              <a:gd name="connsiteY142-31076" fmla="*/ 1922289 h 5292022"/>
              <a:gd name="connsiteX143-31077" fmla="*/ 516173 w 10693106"/>
              <a:gd name="connsiteY143-31078" fmla="*/ 1837622 h 5292022"/>
              <a:gd name="connsiteX144-31079" fmla="*/ 355306 w 10693106"/>
              <a:gd name="connsiteY144-31080" fmla="*/ 1625956 h 5292022"/>
              <a:gd name="connsiteX145-31081" fmla="*/ 296040 w 10693106"/>
              <a:gd name="connsiteY145-31082" fmla="*/ 1524356 h 5292022"/>
              <a:gd name="connsiteX146-31083" fmla="*/ 253706 w 10693106"/>
              <a:gd name="connsiteY146-31084" fmla="*/ 1346556 h 5292022"/>
              <a:gd name="connsiteX147-31085" fmla="*/ 245240 w 10693106"/>
              <a:gd name="connsiteY147-31086" fmla="*/ 1219556 h 5292022"/>
              <a:gd name="connsiteX148-31087" fmla="*/ 236773 w 10693106"/>
              <a:gd name="connsiteY148-31088" fmla="*/ 1117956 h 5292022"/>
              <a:gd name="connsiteX149-31089" fmla="*/ 245240 w 10693106"/>
              <a:gd name="connsiteY149-31090" fmla="*/ 847022 h 5292022"/>
              <a:gd name="connsiteX150-31091" fmla="*/ 236773 w 10693106"/>
              <a:gd name="connsiteY150-31092" fmla="*/ 703089 h 5292022"/>
              <a:gd name="connsiteX151-31093" fmla="*/ 109773 w 10693106"/>
              <a:gd name="connsiteY151-31094" fmla="*/ 559156 h 5292022"/>
              <a:gd name="connsiteX152-31095" fmla="*/ 58973 w 10693106"/>
              <a:gd name="connsiteY152-31096" fmla="*/ 482956 h 5292022"/>
              <a:gd name="connsiteX153-31097" fmla="*/ 16640 w 10693106"/>
              <a:gd name="connsiteY153-31098" fmla="*/ 432156 h 5292022"/>
              <a:gd name="connsiteX154-31099" fmla="*/ 8173 w 10693106"/>
              <a:gd name="connsiteY154-31100" fmla="*/ 389822 h 5292022"/>
              <a:gd name="connsiteX155-31101" fmla="*/ 16640 w 10693106"/>
              <a:gd name="connsiteY155-31102" fmla="*/ 339022 h 5292022"/>
              <a:gd name="connsiteX0-31103" fmla="*/ 16640 w 10693106"/>
              <a:gd name="connsiteY0-31104" fmla="*/ 339022 h 5292022"/>
              <a:gd name="connsiteX1-31105" fmla="*/ 58973 w 10693106"/>
              <a:gd name="connsiteY1-31106" fmla="*/ 245889 h 5292022"/>
              <a:gd name="connsiteX2-31107" fmla="*/ 109773 w 10693106"/>
              <a:gd name="connsiteY2-31108" fmla="*/ 178156 h 5292022"/>
              <a:gd name="connsiteX3-31109" fmla="*/ 202906 w 10693106"/>
              <a:gd name="connsiteY3-31110" fmla="*/ 93489 h 5292022"/>
              <a:gd name="connsiteX4-31111" fmla="*/ 236773 w 10693106"/>
              <a:gd name="connsiteY4-31112" fmla="*/ 68089 h 5292022"/>
              <a:gd name="connsiteX5-31113" fmla="*/ 335410 w 10693106"/>
              <a:gd name="connsiteY5-31114" fmla="*/ 58352 h 5292022"/>
              <a:gd name="connsiteX6-31115" fmla="*/ 382400 w 10693106"/>
              <a:gd name="connsiteY6-31116" fmla="*/ 51156 h 5292022"/>
              <a:gd name="connsiteX7-31117" fmla="*/ 434912 w 10693106"/>
              <a:gd name="connsiteY7-31118" fmla="*/ 70071 h 5292022"/>
              <a:gd name="connsiteX8-31119" fmla="*/ 492697 w 10693106"/>
              <a:gd name="connsiteY8-31120" fmla="*/ 74247 h 5292022"/>
              <a:gd name="connsiteX9-31121" fmla="*/ 822897 w 10693106"/>
              <a:gd name="connsiteY9-31122" fmla="*/ 82713 h 5292022"/>
              <a:gd name="connsiteX10-31123" fmla="*/ 1091906 w 10693106"/>
              <a:gd name="connsiteY10-31124" fmla="*/ 356 h 5292022"/>
              <a:gd name="connsiteX11-31125" fmla="*/ 1235840 w 10693106"/>
              <a:gd name="connsiteY11-31126" fmla="*/ 59622 h 5292022"/>
              <a:gd name="connsiteX12-31127" fmla="*/ 1337440 w 10693106"/>
              <a:gd name="connsiteY12-31128" fmla="*/ 135822 h 5292022"/>
              <a:gd name="connsiteX13-31129" fmla="*/ 1422106 w 10693106"/>
              <a:gd name="connsiteY13-31130" fmla="*/ 245889 h 5292022"/>
              <a:gd name="connsiteX14-31131" fmla="*/ 1481373 w 10693106"/>
              <a:gd name="connsiteY14-31132" fmla="*/ 313622 h 5292022"/>
              <a:gd name="connsiteX15-31133" fmla="*/ 1532173 w 10693106"/>
              <a:gd name="connsiteY15-31134" fmla="*/ 347489 h 5292022"/>
              <a:gd name="connsiteX16-31135" fmla="*/ 1684573 w 10693106"/>
              <a:gd name="connsiteY16-31136" fmla="*/ 406756 h 5292022"/>
              <a:gd name="connsiteX17-31137" fmla="*/ 1760773 w 10693106"/>
              <a:gd name="connsiteY17-31138" fmla="*/ 423689 h 5292022"/>
              <a:gd name="connsiteX18-31139" fmla="*/ 1997840 w 10693106"/>
              <a:gd name="connsiteY18-31140" fmla="*/ 415222 h 5292022"/>
              <a:gd name="connsiteX19-31141" fmla="*/ 2116373 w 10693106"/>
              <a:gd name="connsiteY19-31142" fmla="*/ 398289 h 5292022"/>
              <a:gd name="connsiteX20-31143" fmla="*/ 2260306 w 10693106"/>
              <a:gd name="connsiteY20-31144" fmla="*/ 381356 h 5292022"/>
              <a:gd name="connsiteX21-31145" fmla="*/ 2404240 w 10693106"/>
              <a:gd name="connsiteY21-31146" fmla="*/ 355956 h 5292022"/>
              <a:gd name="connsiteX22-31147" fmla="*/ 2455040 w 10693106"/>
              <a:gd name="connsiteY22-31148" fmla="*/ 330556 h 5292022"/>
              <a:gd name="connsiteX23-31149" fmla="*/ 2531240 w 10693106"/>
              <a:gd name="connsiteY23-31150" fmla="*/ 305156 h 5292022"/>
              <a:gd name="connsiteX24-31151" fmla="*/ 2649350 w 10693106"/>
              <a:gd name="connsiteY24-31152" fmla="*/ 225781 h 5292022"/>
              <a:gd name="connsiteX25-31153" fmla="*/ 2742906 w 10693106"/>
              <a:gd name="connsiteY25-31154" fmla="*/ 186622 h 5292022"/>
              <a:gd name="connsiteX26-31155" fmla="*/ 2764920 w 10693106"/>
              <a:gd name="connsiteY26-31156" fmla="*/ 173076 h 5292022"/>
              <a:gd name="connsiteX27-31157" fmla="*/ 2832653 w 10693106"/>
              <a:gd name="connsiteY27-31158" fmla="*/ 167996 h 5292022"/>
              <a:gd name="connsiteX28-31159" fmla="*/ 3002294 w 10693106"/>
              <a:gd name="connsiteY28-31160" fmla="*/ 154680 h 5292022"/>
              <a:gd name="connsiteX29-31161" fmla="*/ 3142763 w 10693106"/>
              <a:gd name="connsiteY29-31162" fmla="*/ 110421 h 5292022"/>
              <a:gd name="connsiteX30-31163" fmla="*/ 3398918 w 10693106"/>
              <a:gd name="connsiteY30-31164" fmla="*/ 72322 h 5292022"/>
              <a:gd name="connsiteX31-31165" fmla="*/ 3606506 w 10693106"/>
              <a:gd name="connsiteY31-31166" fmla="*/ 60393 h 5292022"/>
              <a:gd name="connsiteX32-31167" fmla="*/ 3682706 w 10693106"/>
              <a:gd name="connsiteY32-31168" fmla="*/ 79942 h 5292022"/>
              <a:gd name="connsiteX33-31169" fmla="*/ 3741973 w 10693106"/>
              <a:gd name="connsiteY33-31170" fmla="*/ 86561 h 5292022"/>
              <a:gd name="connsiteX34-31171" fmla="*/ 3794678 w 10693106"/>
              <a:gd name="connsiteY34-31172" fmla="*/ 101321 h 5292022"/>
              <a:gd name="connsiteX35-31173" fmla="*/ 3833625 w 10693106"/>
              <a:gd name="connsiteY35-31174" fmla="*/ 110846 h 5292022"/>
              <a:gd name="connsiteX36-31175" fmla="*/ 3892487 w 10693106"/>
              <a:gd name="connsiteY36-31176" fmla="*/ 116984 h 5292022"/>
              <a:gd name="connsiteX37-31177" fmla="*/ 3933108 w 10693106"/>
              <a:gd name="connsiteY37-31178" fmla="*/ 128837 h 5292022"/>
              <a:gd name="connsiteX38-31179" fmla="*/ 3976923 w 10693106"/>
              <a:gd name="connsiteY38-31180" fmla="*/ 135187 h 5292022"/>
              <a:gd name="connsiteX39-31181" fmla="*/ 4021373 w 10693106"/>
              <a:gd name="connsiteY39-31182" fmla="*/ 144289 h 5292022"/>
              <a:gd name="connsiteX40-31183" fmla="*/ 4055240 w 10693106"/>
              <a:gd name="connsiteY40-31184" fmla="*/ 152756 h 5292022"/>
              <a:gd name="connsiteX41-31185" fmla="*/ 4275373 w 10693106"/>
              <a:gd name="connsiteY41-31186" fmla="*/ 195089 h 5292022"/>
              <a:gd name="connsiteX42-31187" fmla="*/ 4402373 w 10693106"/>
              <a:gd name="connsiteY42-31188" fmla="*/ 228956 h 5292022"/>
              <a:gd name="connsiteX43-31189" fmla="*/ 4529373 w 10693106"/>
              <a:gd name="connsiteY43-31190" fmla="*/ 271289 h 5292022"/>
              <a:gd name="connsiteX44-31191" fmla="*/ 5045840 w 10693106"/>
              <a:gd name="connsiteY44-31192" fmla="*/ 423689 h 5292022"/>
              <a:gd name="connsiteX45-31193" fmla="*/ 5672373 w 10693106"/>
              <a:gd name="connsiteY45-31194" fmla="*/ 931689 h 5292022"/>
              <a:gd name="connsiteX46-31195" fmla="*/ 6839926 w 10693106"/>
              <a:gd name="connsiteY46-31196" fmla="*/ 1252152 h 5292022"/>
              <a:gd name="connsiteX47-31197" fmla="*/ 7703950 w 10693106"/>
              <a:gd name="connsiteY47-31198" fmla="*/ 1069696 h 5292022"/>
              <a:gd name="connsiteX48-31199" fmla="*/ 8652640 w 10693106"/>
              <a:gd name="connsiteY48-31200" fmla="*/ 677689 h 5292022"/>
              <a:gd name="connsiteX49-31201" fmla="*/ 8982840 w 10693106"/>
              <a:gd name="connsiteY49-31202" fmla="*/ 398289 h 5292022"/>
              <a:gd name="connsiteX50-31203" fmla="*/ 9380773 w 10693106"/>
              <a:gd name="connsiteY50-31204" fmla="*/ 355956 h 5292022"/>
              <a:gd name="connsiteX51-31205" fmla="*/ 9744840 w 10693106"/>
              <a:gd name="connsiteY51-31206" fmla="*/ 466022 h 5292022"/>
              <a:gd name="connsiteX52-31207" fmla="*/ 9888773 w 10693106"/>
              <a:gd name="connsiteY52-31208" fmla="*/ 508356 h 5292022"/>
              <a:gd name="connsiteX53-31209" fmla="*/ 9998840 w 10693106"/>
              <a:gd name="connsiteY53-31210" fmla="*/ 559156 h 5292022"/>
              <a:gd name="connsiteX54-31211" fmla="*/ 10083506 w 10693106"/>
              <a:gd name="connsiteY54-31212" fmla="*/ 618422 h 5292022"/>
              <a:gd name="connsiteX55-31213" fmla="*/ 10286706 w 10693106"/>
              <a:gd name="connsiteY55-31214" fmla="*/ 686156 h 5292022"/>
              <a:gd name="connsiteX56-31215" fmla="*/ 10388306 w 10693106"/>
              <a:gd name="connsiteY56-31216" fmla="*/ 889356 h 5292022"/>
              <a:gd name="connsiteX57-31217" fmla="*/ 10540706 w 10693106"/>
              <a:gd name="connsiteY57-31218" fmla="*/ 1261889 h 5292022"/>
              <a:gd name="connsiteX58-31219" fmla="*/ 10557640 w 10693106"/>
              <a:gd name="connsiteY58-31220" fmla="*/ 1346556 h 5292022"/>
              <a:gd name="connsiteX59-31221" fmla="*/ 10583040 w 10693106"/>
              <a:gd name="connsiteY59-31222" fmla="*/ 1448156 h 5292022"/>
              <a:gd name="connsiteX60-31223" fmla="*/ 10616906 w 10693106"/>
              <a:gd name="connsiteY60-31224" fmla="*/ 1651356 h 5292022"/>
              <a:gd name="connsiteX61-31225" fmla="*/ 10633840 w 10693106"/>
              <a:gd name="connsiteY61-31226" fmla="*/ 1736022 h 5292022"/>
              <a:gd name="connsiteX62-31227" fmla="*/ 10650773 w 10693106"/>
              <a:gd name="connsiteY62-31228" fmla="*/ 1769889 h 5292022"/>
              <a:gd name="connsiteX63-31229" fmla="*/ 10676173 w 10693106"/>
              <a:gd name="connsiteY63-31230" fmla="*/ 1854556 h 5292022"/>
              <a:gd name="connsiteX64-31231" fmla="*/ 10693106 w 10693106"/>
              <a:gd name="connsiteY64-31232" fmla="*/ 2006956 h 5292022"/>
              <a:gd name="connsiteX65-31233" fmla="*/ 10625373 w 10693106"/>
              <a:gd name="connsiteY65-31234" fmla="*/ 2227089 h 5292022"/>
              <a:gd name="connsiteX66-31235" fmla="*/ 10608440 w 10693106"/>
              <a:gd name="connsiteY66-31236" fmla="*/ 2252489 h 5292022"/>
              <a:gd name="connsiteX67-31237" fmla="*/ 10540706 w 10693106"/>
              <a:gd name="connsiteY67-31238" fmla="*/ 2396422 h 5292022"/>
              <a:gd name="connsiteX68-31239" fmla="*/ 10498373 w 10693106"/>
              <a:gd name="connsiteY68-31240" fmla="*/ 2481089 h 5292022"/>
              <a:gd name="connsiteX69-31241" fmla="*/ 10439106 w 10693106"/>
              <a:gd name="connsiteY69-31242" fmla="*/ 2667356 h 5292022"/>
              <a:gd name="connsiteX70-31243" fmla="*/ 10430640 w 10693106"/>
              <a:gd name="connsiteY70-31244" fmla="*/ 2709689 h 5292022"/>
              <a:gd name="connsiteX71-31245" fmla="*/ 10405240 w 10693106"/>
              <a:gd name="connsiteY71-31246" fmla="*/ 2785889 h 5292022"/>
              <a:gd name="connsiteX72-31247" fmla="*/ 10396773 w 10693106"/>
              <a:gd name="connsiteY72-31248" fmla="*/ 2819756 h 5292022"/>
              <a:gd name="connsiteX73-31249" fmla="*/ 10362906 w 10693106"/>
              <a:gd name="connsiteY73-31250" fmla="*/ 2912889 h 5292022"/>
              <a:gd name="connsiteX74-31251" fmla="*/ 10329040 w 10693106"/>
              <a:gd name="connsiteY74-31252" fmla="*/ 2955222 h 5292022"/>
              <a:gd name="connsiteX75-31253" fmla="*/ 10227440 w 10693106"/>
              <a:gd name="connsiteY75-31254" fmla="*/ 3056822 h 5292022"/>
              <a:gd name="connsiteX76-31255" fmla="*/ 10168173 w 10693106"/>
              <a:gd name="connsiteY76-31256" fmla="*/ 3124556 h 5292022"/>
              <a:gd name="connsiteX77-31257" fmla="*/ 10117373 w 10693106"/>
              <a:gd name="connsiteY77-31258" fmla="*/ 3175356 h 5292022"/>
              <a:gd name="connsiteX78-31259" fmla="*/ 10032706 w 10693106"/>
              <a:gd name="connsiteY78-31260" fmla="*/ 3276956 h 5292022"/>
              <a:gd name="connsiteX79-31261" fmla="*/ 9948040 w 10693106"/>
              <a:gd name="connsiteY79-31262" fmla="*/ 3336222 h 5292022"/>
              <a:gd name="connsiteX80-31263" fmla="*/ 9905706 w 10693106"/>
              <a:gd name="connsiteY80-31264" fmla="*/ 3361622 h 5292022"/>
              <a:gd name="connsiteX81-31265" fmla="*/ 9829506 w 10693106"/>
              <a:gd name="connsiteY81-31266" fmla="*/ 3378556 h 5292022"/>
              <a:gd name="connsiteX82-31267" fmla="*/ 9727906 w 10693106"/>
              <a:gd name="connsiteY82-31268" fmla="*/ 3420889 h 5292022"/>
              <a:gd name="connsiteX83-31269" fmla="*/ 9634773 w 10693106"/>
              <a:gd name="connsiteY83-31270" fmla="*/ 3446289 h 5292022"/>
              <a:gd name="connsiteX84-31271" fmla="*/ 9456973 w 10693106"/>
              <a:gd name="connsiteY84-31272" fmla="*/ 3539422 h 5292022"/>
              <a:gd name="connsiteX85-31273" fmla="*/ 9313040 w 10693106"/>
              <a:gd name="connsiteY85-31274" fmla="*/ 3666422 h 5292022"/>
              <a:gd name="connsiteX86-31275" fmla="*/ 9279173 w 10693106"/>
              <a:gd name="connsiteY86-31276" fmla="*/ 3683356 h 5292022"/>
              <a:gd name="connsiteX87-31277" fmla="*/ 9067506 w 10693106"/>
              <a:gd name="connsiteY87-31278" fmla="*/ 3861156 h 5292022"/>
              <a:gd name="connsiteX88-31279" fmla="*/ 8999773 w 10693106"/>
              <a:gd name="connsiteY88-31280" fmla="*/ 3928889 h 5292022"/>
              <a:gd name="connsiteX89-31281" fmla="*/ 8813506 w 10693106"/>
              <a:gd name="connsiteY89-31282" fmla="*/ 4064356 h 5292022"/>
              <a:gd name="connsiteX90-31283" fmla="*/ 8728840 w 10693106"/>
              <a:gd name="connsiteY90-31284" fmla="*/ 4106689 h 5292022"/>
              <a:gd name="connsiteX91-31285" fmla="*/ 8373240 w 10693106"/>
              <a:gd name="connsiteY91-31286" fmla="*/ 4140556 h 5292022"/>
              <a:gd name="connsiteX92-31287" fmla="*/ 7966840 w 10693106"/>
              <a:gd name="connsiteY92-31288" fmla="*/ 4233689 h 5292022"/>
              <a:gd name="connsiteX93-31289" fmla="*/ 7687440 w 10693106"/>
              <a:gd name="connsiteY93-31290" fmla="*/ 4394556 h 5292022"/>
              <a:gd name="connsiteX94-31291" fmla="*/ 7551973 w 10693106"/>
              <a:gd name="connsiteY94-31292" fmla="*/ 4479222 h 5292022"/>
              <a:gd name="connsiteX95-31293" fmla="*/ 7374173 w 10693106"/>
              <a:gd name="connsiteY95-31294" fmla="*/ 4657022 h 5292022"/>
              <a:gd name="connsiteX96-31295" fmla="*/ 7374173 w 10693106"/>
              <a:gd name="connsiteY96-31296" fmla="*/ 4657022 h 5292022"/>
              <a:gd name="connsiteX97-31297" fmla="*/ 7221773 w 10693106"/>
              <a:gd name="connsiteY97-31298" fmla="*/ 4775556 h 5292022"/>
              <a:gd name="connsiteX98-31299" fmla="*/ 7027040 w 10693106"/>
              <a:gd name="connsiteY98-31300" fmla="*/ 4902556 h 5292022"/>
              <a:gd name="connsiteX99-31301" fmla="*/ 6883106 w 10693106"/>
              <a:gd name="connsiteY99-31302" fmla="*/ 4970289 h 5292022"/>
              <a:gd name="connsiteX100-31303" fmla="*/ 6815373 w 10693106"/>
              <a:gd name="connsiteY100-31304" fmla="*/ 5012622 h 5292022"/>
              <a:gd name="connsiteX101-31305" fmla="*/ 6646040 w 10693106"/>
              <a:gd name="connsiteY101-31306" fmla="*/ 5105756 h 5292022"/>
              <a:gd name="connsiteX102-31307" fmla="*/ 6527506 w 10693106"/>
              <a:gd name="connsiteY102-31308" fmla="*/ 5165022 h 5292022"/>
              <a:gd name="connsiteX103-31309" fmla="*/ 6298906 w 10693106"/>
              <a:gd name="connsiteY103-31310" fmla="*/ 5241222 h 5292022"/>
              <a:gd name="connsiteX104-31311" fmla="*/ 6197306 w 10693106"/>
              <a:gd name="connsiteY104-31312" fmla="*/ 5266622 h 5292022"/>
              <a:gd name="connsiteX105-31313" fmla="*/ 6061840 w 10693106"/>
              <a:gd name="connsiteY105-31314" fmla="*/ 5275089 h 5292022"/>
              <a:gd name="connsiteX106-31315" fmla="*/ 5917906 w 10693106"/>
              <a:gd name="connsiteY106-31316" fmla="*/ 5292022 h 5292022"/>
              <a:gd name="connsiteX107-31317" fmla="*/ 5748573 w 10693106"/>
              <a:gd name="connsiteY107-31318" fmla="*/ 5283556 h 5292022"/>
              <a:gd name="connsiteX108-31319" fmla="*/ 5282906 w 10693106"/>
              <a:gd name="connsiteY108-31320" fmla="*/ 5173489 h 5292022"/>
              <a:gd name="connsiteX109-31321" fmla="*/ 5138973 w 10693106"/>
              <a:gd name="connsiteY109-31322" fmla="*/ 5071889 h 5292022"/>
              <a:gd name="connsiteX110-31323" fmla="*/ 4959480 w 10693106"/>
              <a:gd name="connsiteY110-31324" fmla="*/ 4988069 h 5292022"/>
              <a:gd name="connsiteX111-31325" fmla="*/ 4842216 w 10693106"/>
              <a:gd name="connsiteY111-31326" fmla="*/ 4953779 h 5292022"/>
              <a:gd name="connsiteX112-31327" fmla="*/ 4797343 w 10693106"/>
              <a:gd name="connsiteY112-31328" fmla="*/ 4878426 h 5292022"/>
              <a:gd name="connsiteX113-31329" fmla="*/ 4686853 w 10693106"/>
              <a:gd name="connsiteY113-31330" fmla="*/ 4788256 h 5292022"/>
              <a:gd name="connsiteX114-31331" fmla="*/ 4536146 w 10693106"/>
              <a:gd name="connsiteY114-31332" fmla="*/ 4712902 h 5292022"/>
              <a:gd name="connsiteX115-31333" fmla="*/ 4365120 w 10693106"/>
              <a:gd name="connsiteY115-31334" fmla="*/ 4616382 h 5292022"/>
              <a:gd name="connsiteX116-31335" fmla="*/ 3977346 w 10693106"/>
              <a:gd name="connsiteY116-31336" fmla="*/ 4470544 h 5292022"/>
              <a:gd name="connsiteX117-31337" fmla="*/ 3741550 w 10693106"/>
              <a:gd name="connsiteY117-31338" fmla="*/ 4154102 h 5292022"/>
              <a:gd name="connsiteX118-31339" fmla="*/ 3733506 w 10693106"/>
              <a:gd name="connsiteY118-31340" fmla="*/ 3319289 h 5292022"/>
              <a:gd name="connsiteX119-31341" fmla="*/ 3242440 w 10693106"/>
              <a:gd name="connsiteY119-31342" fmla="*/ 3099156 h 5292022"/>
              <a:gd name="connsiteX120-31343" fmla="*/ 3123906 w 10693106"/>
              <a:gd name="connsiteY120-31344" fmla="*/ 2997556 h 5292022"/>
              <a:gd name="connsiteX121-31345" fmla="*/ 2988440 w 10693106"/>
              <a:gd name="connsiteY121-31346" fmla="*/ 2802822 h 5292022"/>
              <a:gd name="connsiteX122-31347" fmla="*/ 2971506 w 10693106"/>
              <a:gd name="connsiteY122-31348" fmla="*/ 2743556 h 5292022"/>
              <a:gd name="connsiteX123-31349" fmla="*/ 2996906 w 10693106"/>
              <a:gd name="connsiteY123-31350" fmla="*/ 2531889 h 5292022"/>
              <a:gd name="connsiteX124-31351" fmla="*/ 3013840 w 10693106"/>
              <a:gd name="connsiteY124-31352" fmla="*/ 2430289 h 5292022"/>
              <a:gd name="connsiteX125-31353" fmla="*/ 3005373 w 10693106"/>
              <a:gd name="connsiteY125-31354" fmla="*/ 2311756 h 5292022"/>
              <a:gd name="connsiteX126-31355" fmla="*/ 2988440 w 10693106"/>
              <a:gd name="connsiteY126-31356" fmla="*/ 2260956 h 5292022"/>
              <a:gd name="connsiteX127-31357" fmla="*/ 2802173 w 10693106"/>
              <a:gd name="connsiteY127-31358" fmla="*/ 2006956 h 5292022"/>
              <a:gd name="connsiteX128-31359" fmla="*/ 2641306 w 10693106"/>
              <a:gd name="connsiteY128-31360" fmla="*/ 1863022 h 5292022"/>
              <a:gd name="connsiteX129-31361" fmla="*/ 2590506 w 10693106"/>
              <a:gd name="connsiteY129-31362" fmla="*/ 1837622 h 5292022"/>
              <a:gd name="connsiteX130-31363" fmla="*/ 2531240 w 10693106"/>
              <a:gd name="connsiteY130-31364" fmla="*/ 1829156 h 5292022"/>
              <a:gd name="connsiteX131-31365" fmla="*/ 2446573 w 10693106"/>
              <a:gd name="connsiteY131-31366" fmla="*/ 1812222 h 5292022"/>
              <a:gd name="connsiteX132-31367" fmla="*/ 2251840 w 10693106"/>
              <a:gd name="connsiteY132-31368" fmla="*/ 1837622 h 5292022"/>
              <a:gd name="connsiteX133-31369" fmla="*/ 2167173 w 10693106"/>
              <a:gd name="connsiteY133-31370" fmla="*/ 1879956 h 5292022"/>
              <a:gd name="connsiteX134-31371" fmla="*/ 1980906 w 10693106"/>
              <a:gd name="connsiteY134-31372" fmla="*/ 1939222 h 5292022"/>
              <a:gd name="connsiteX135-31373" fmla="*/ 1904706 w 10693106"/>
              <a:gd name="connsiteY135-31374" fmla="*/ 1973089 h 5292022"/>
              <a:gd name="connsiteX136-31375" fmla="*/ 1828506 w 10693106"/>
              <a:gd name="connsiteY136-31376" fmla="*/ 1990022 h 5292022"/>
              <a:gd name="connsiteX137-31377" fmla="*/ 1726906 w 10693106"/>
              <a:gd name="connsiteY137-31378" fmla="*/ 2040822 h 5292022"/>
              <a:gd name="connsiteX138-31379" fmla="*/ 1659173 w 10693106"/>
              <a:gd name="connsiteY138-31380" fmla="*/ 2074689 h 5292022"/>
              <a:gd name="connsiteX139-31381" fmla="*/ 1498306 w 10693106"/>
              <a:gd name="connsiteY139-31382" fmla="*/ 2100089 h 5292022"/>
              <a:gd name="connsiteX140-31383" fmla="*/ 914106 w 10693106"/>
              <a:gd name="connsiteY140-31384" fmla="*/ 2032356 h 5292022"/>
              <a:gd name="connsiteX141-31385" fmla="*/ 617773 w 10693106"/>
              <a:gd name="connsiteY141-31386" fmla="*/ 1922289 h 5292022"/>
              <a:gd name="connsiteX142-31387" fmla="*/ 516173 w 10693106"/>
              <a:gd name="connsiteY142-31388" fmla="*/ 1837622 h 5292022"/>
              <a:gd name="connsiteX143-31389" fmla="*/ 355306 w 10693106"/>
              <a:gd name="connsiteY143-31390" fmla="*/ 1625956 h 5292022"/>
              <a:gd name="connsiteX144-31391" fmla="*/ 296040 w 10693106"/>
              <a:gd name="connsiteY144-31392" fmla="*/ 1524356 h 5292022"/>
              <a:gd name="connsiteX145-31393" fmla="*/ 253706 w 10693106"/>
              <a:gd name="connsiteY145-31394" fmla="*/ 1346556 h 5292022"/>
              <a:gd name="connsiteX146-31395" fmla="*/ 245240 w 10693106"/>
              <a:gd name="connsiteY146-31396" fmla="*/ 1219556 h 5292022"/>
              <a:gd name="connsiteX147-31397" fmla="*/ 236773 w 10693106"/>
              <a:gd name="connsiteY147-31398" fmla="*/ 1117956 h 5292022"/>
              <a:gd name="connsiteX148-31399" fmla="*/ 245240 w 10693106"/>
              <a:gd name="connsiteY148-31400" fmla="*/ 847022 h 5292022"/>
              <a:gd name="connsiteX149-31401" fmla="*/ 236773 w 10693106"/>
              <a:gd name="connsiteY149-31402" fmla="*/ 703089 h 5292022"/>
              <a:gd name="connsiteX150-31403" fmla="*/ 109773 w 10693106"/>
              <a:gd name="connsiteY150-31404" fmla="*/ 559156 h 5292022"/>
              <a:gd name="connsiteX151-31405" fmla="*/ 58973 w 10693106"/>
              <a:gd name="connsiteY151-31406" fmla="*/ 482956 h 5292022"/>
              <a:gd name="connsiteX152-31407" fmla="*/ 16640 w 10693106"/>
              <a:gd name="connsiteY152-31408" fmla="*/ 432156 h 5292022"/>
              <a:gd name="connsiteX153-31409" fmla="*/ 8173 w 10693106"/>
              <a:gd name="connsiteY153-31410" fmla="*/ 389822 h 5292022"/>
              <a:gd name="connsiteX154-31411" fmla="*/ 16640 w 10693106"/>
              <a:gd name="connsiteY154-31412" fmla="*/ 339022 h 5292022"/>
              <a:gd name="connsiteX0-31413" fmla="*/ 16640 w 10693106"/>
              <a:gd name="connsiteY0-31414" fmla="*/ 339022 h 5292022"/>
              <a:gd name="connsiteX1-31415" fmla="*/ 58973 w 10693106"/>
              <a:gd name="connsiteY1-31416" fmla="*/ 245889 h 5292022"/>
              <a:gd name="connsiteX2-31417" fmla="*/ 109773 w 10693106"/>
              <a:gd name="connsiteY2-31418" fmla="*/ 178156 h 5292022"/>
              <a:gd name="connsiteX3-31419" fmla="*/ 202906 w 10693106"/>
              <a:gd name="connsiteY3-31420" fmla="*/ 93489 h 5292022"/>
              <a:gd name="connsiteX4-31421" fmla="*/ 236773 w 10693106"/>
              <a:gd name="connsiteY4-31422" fmla="*/ 68089 h 5292022"/>
              <a:gd name="connsiteX5-31423" fmla="*/ 335410 w 10693106"/>
              <a:gd name="connsiteY5-31424" fmla="*/ 58352 h 5292022"/>
              <a:gd name="connsiteX6-31425" fmla="*/ 382400 w 10693106"/>
              <a:gd name="connsiteY6-31426" fmla="*/ 51156 h 5292022"/>
              <a:gd name="connsiteX7-31427" fmla="*/ 434912 w 10693106"/>
              <a:gd name="connsiteY7-31428" fmla="*/ 70071 h 5292022"/>
              <a:gd name="connsiteX8-31429" fmla="*/ 492697 w 10693106"/>
              <a:gd name="connsiteY8-31430" fmla="*/ 74247 h 5292022"/>
              <a:gd name="connsiteX9-31431" fmla="*/ 822897 w 10693106"/>
              <a:gd name="connsiteY9-31432" fmla="*/ 82713 h 5292022"/>
              <a:gd name="connsiteX10-31433" fmla="*/ 1091906 w 10693106"/>
              <a:gd name="connsiteY10-31434" fmla="*/ 356 h 5292022"/>
              <a:gd name="connsiteX11-31435" fmla="*/ 1235840 w 10693106"/>
              <a:gd name="connsiteY11-31436" fmla="*/ 59622 h 5292022"/>
              <a:gd name="connsiteX12-31437" fmla="*/ 1337440 w 10693106"/>
              <a:gd name="connsiteY12-31438" fmla="*/ 135822 h 5292022"/>
              <a:gd name="connsiteX13-31439" fmla="*/ 1422106 w 10693106"/>
              <a:gd name="connsiteY13-31440" fmla="*/ 245889 h 5292022"/>
              <a:gd name="connsiteX14-31441" fmla="*/ 1481373 w 10693106"/>
              <a:gd name="connsiteY14-31442" fmla="*/ 313622 h 5292022"/>
              <a:gd name="connsiteX15-31443" fmla="*/ 1532173 w 10693106"/>
              <a:gd name="connsiteY15-31444" fmla="*/ 347489 h 5292022"/>
              <a:gd name="connsiteX16-31445" fmla="*/ 1684573 w 10693106"/>
              <a:gd name="connsiteY16-31446" fmla="*/ 406756 h 5292022"/>
              <a:gd name="connsiteX17-31447" fmla="*/ 1760773 w 10693106"/>
              <a:gd name="connsiteY17-31448" fmla="*/ 423689 h 5292022"/>
              <a:gd name="connsiteX18-31449" fmla="*/ 1997840 w 10693106"/>
              <a:gd name="connsiteY18-31450" fmla="*/ 415222 h 5292022"/>
              <a:gd name="connsiteX19-31451" fmla="*/ 2116373 w 10693106"/>
              <a:gd name="connsiteY19-31452" fmla="*/ 398289 h 5292022"/>
              <a:gd name="connsiteX20-31453" fmla="*/ 2260306 w 10693106"/>
              <a:gd name="connsiteY20-31454" fmla="*/ 381356 h 5292022"/>
              <a:gd name="connsiteX21-31455" fmla="*/ 2404240 w 10693106"/>
              <a:gd name="connsiteY21-31456" fmla="*/ 355956 h 5292022"/>
              <a:gd name="connsiteX22-31457" fmla="*/ 2455040 w 10693106"/>
              <a:gd name="connsiteY22-31458" fmla="*/ 330556 h 5292022"/>
              <a:gd name="connsiteX23-31459" fmla="*/ 2531240 w 10693106"/>
              <a:gd name="connsiteY23-31460" fmla="*/ 305156 h 5292022"/>
              <a:gd name="connsiteX24-31461" fmla="*/ 2649350 w 10693106"/>
              <a:gd name="connsiteY24-31462" fmla="*/ 225781 h 5292022"/>
              <a:gd name="connsiteX25-31463" fmla="*/ 2742906 w 10693106"/>
              <a:gd name="connsiteY25-31464" fmla="*/ 186622 h 5292022"/>
              <a:gd name="connsiteX26-31465" fmla="*/ 2764920 w 10693106"/>
              <a:gd name="connsiteY26-31466" fmla="*/ 173076 h 5292022"/>
              <a:gd name="connsiteX27-31467" fmla="*/ 2832653 w 10693106"/>
              <a:gd name="connsiteY27-31468" fmla="*/ 167996 h 5292022"/>
              <a:gd name="connsiteX28-31469" fmla="*/ 3002294 w 10693106"/>
              <a:gd name="connsiteY28-31470" fmla="*/ 154680 h 5292022"/>
              <a:gd name="connsiteX29-31471" fmla="*/ 3142763 w 10693106"/>
              <a:gd name="connsiteY29-31472" fmla="*/ 110421 h 5292022"/>
              <a:gd name="connsiteX30-31473" fmla="*/ 3398918 w 10693106"/>
              <a:gd name="connsiteY30-31474" fmla="*/ 72322 h 5292022"/>
              <a:gd name="connsiteX31-31475" fmla="*/ 3606506 w 10693106"/>
              <a:gd name="connsiteY31-31476" fmla="*/ 60393 h 5292022"/>
              <a:gd name="connsiteX32-31477" fmla="*/ 3682706 w 10693106"/>
              <a:gd name="connsiteY32-31478" fmla="*/ 79942 h 5292022"/>
              <a:gd name="connsiteX33-31479" fmla="*/ 3741973 w 10693106"/>
              <a:gd name="connsiteY33-31480" fmla="*/ 86561 h 5292022"/>
              <a:gd name="connsiteX34-31481" fmla="*/ 3794678 w 10693106"/>
              <a:gd name="connsiteY34-31482" fmla="*/ 101321 h 5292022"/>
              <a:gd name="connsiteX35-31483" fmla="*/ 3833625 w 10693106"/>
              <a:gd name="connsiteY35-31484" fmla="*/ 110846 h 5292022"/>
              <a:gd name="connsiteX36-31485" fmla="*/ 3892487 w 10693106"/>
              <a:gd name="connsiteY36-31486" fmla="*/ 116984 h 5292022"/>
              <a:gd name="connsiteX37-31487" fmla="*/ 3933108 w 10693106"/>
              <a:gd name="connsiteY37-31488" fmla="*/ 128837 h 5292022"/>
              <a:gd name="connsiteX38-31489" fmla="*/ 3976923 w 10693106"/>
              <a:gd name="connsiteY38-31490" fmla="*/ 135187 h 5292022"/>
              <a:gd name="connsiteX39-31491" fmla="*/ 4021373 w 10693106"/>
              <a:gd name="connsiteY39-31492" fmla="*/ 144289 h 5292022"/>
              <a:gd name="connsiteX40-31493" fmla="*/ 4055240 w 10693106"/>
              <a:gd name="connsiteY40-31494" fmla="*/ 152756 h 5292022"/>
              <a:gd name="connsiteX41-31495" fmla="*/ 4275373 w 10693106"/>
              <a:gd name="connsiteY41-31496" fmla="*/ 195089 h 5292022"/>
              <a:gd name="connsiteX42-31497" fmla="*/ 4402373 w 10693106"/>
              <a:gd name="connsiteY42-31498" fmla="*/ 228956 h 5292022"/>
              <a:gd name="connsiteX43-31499" fmla="*/ 4529373 w 10693106"/>
              <a:gd name="connsiteY43-31500" fmla="*/ 271289 h 5292022"/>
              <a:gd name="connsiteX44-31501" fmla="*/ 5045840 w 10693106"/>
              <a:gd name="connsiteY44-31502" fmla="*/ 423689 h 5292022"/>
              <a:gd name="connsiteX45-31503" fmla="*/ 5672373 w 10693106"/>
              <a:gd name="connsiteY45-31504" fmla="*/ 931689 h 5292022"/>
              <a:gd name="connsiteX46-31505" fmla="*/ 6839926 w 10693106"/>
              <a:gd name="connsiteY46-31506" fmla="*/ 1252152 h 5292022"/>
              <a:gd name="connsiteX47-31507" fmla="*/ 7703950 w 10693106"/>
              <a:gd name="connsiteY47-31508" fmla="*/ 1069696 h 5292022"/>
              <a:gd name="connsiteX48-31509" fmla="*/ 8652640 w 10693106"/>
              <a:gd name="connsiteY48-31510" fmla="*/ 677689 h 5292022"/>
              <a:gd name="connsiteX49-31511" fmla="*/ 8982840 w 10693106"/>
              <a:gd name="connsiteY49-31512" fmla="*/ 398289 h 5292022"/>
              <a:gd name="connsiteX50-31513" fmla="*/ 9380773 w 10693106"/>
              <a:gd name="connsiteY50-31514" fmla="*/ 355956 h 5292022"/>
              <a:gd name="connsiteX51-31515" fmla="*/ 9744840 w 10693106"/>
              <a:gd name="connsiteY51-31516" fmla="*/ 466022 h 5292022"/>
              <a:gd name="connsiteX52-31517" fmla="*/ 9888773 w 10693106"/>
              <a:gd name="connsiteY52-31518" fmla="*/ 508356 h 5292022"/>
              <a:gd name="connsiteX53-31519" fmla="*/ 9998840 w 10693106"/>
              <a:gd name="connsiteY53-31520" fmla="*/ 559156 h 5292022"/>
              <a:gd name="connsiteX54-31521" fmla="*/ 10083506 w 10693106"/>
              <a:gd name="connsiteY54-31522" fmla="*/ 618422 h 5292022"/>
              <a:gd name="connsiteX55-31523" fmla="*/ 10286706 w 10693106"/>
              <a:gd name="connsiteY55-31524" fmla="*/ 686156 h 5292022"/>
              <a:gd name="connsiteX56-31525" fmla="*/ 10388306 w 10693106"/>
              <a:gd name="connsiteY56-31526" fmla="*/ 889356 h 5292022"/>
              <a:gd name="connsiteX57-31527" fmla="*/ 10540706 w 10693106"/>
              <a:gd name="connsiteY57-31528" fmla="*/ 1261889 h 5292022"/>
              <a:gd name="connsiteX58-31529" fmla="*/ 10557640 w 10693106"/>
              <a:gd name="connsiteY58-31530" fmla="*/ 1346556 h 5292022"/>
              <a:gd name="connsiteX59-31531" fmla="*/ 10583040 w 10693106"/>
              <a:gd name="connsiteY59-31532" fmla="*/ 1448156 h 5292022"/>
              <a:gd name="connsiteX60-31533" fmla="*/ 10616906 w 10693106"/>
              <a:gd name="connsiteY60-31534" fmla="*/ 1651356 h 5292022"/>
              <a:gd name="connsiteX61-31535" fmla="*/ 10633840 w 10693106"/>
              <a:gd name="connsiteY61-31536" fmla="*/ 1736022 h 5292022"/>
              <a:gd name="connsiteX62-31537" fmla="*/ 10650773 w 10693106"/>
              <a:gd name="connsiteY62-31538" fmla="*/ 1769889 h 5292022"/>
              <a:gd name="connsiteX63-31539" fmla="*/ 10676173 w 10693106"/>
              <a:gd name="connsiteY63-31540" fmla="*/ 1854556 h 5292022"/>
              <a:gd name="connsiteX64-31541" fmla="*/ 10693106 w 10693106"/>
              <a:gd name="connsiteY64-31542" fmla="*/ 2006956 h 5292022"/>
              <a:gd name="connsiteX65-31543" fmla="*/ 10625373 w 10693106"/>
              <a:gd name="connsiteY65-31544" fmla="*/ 2227089 h 5292022"/>
              <a:gd name="connsiteX66-31545" fmla="*/ 10608440 w 10693106"/>
              <a:gd name="connsiteY66-31546" fmla="*/ 2252489 h 5292022"/>
              <a:gd name="connsiteX67-31547" fmla="*/ 10540706 w 10693106"/>
              <a:gd name="connsiteY67-31548" fmla="*/ 2396422 h 5292022"/>
              <a:gd name="connsiteX68-31549" fmla="*/ 10498373 w 10693106"/>
              <a:gd name="connsiteY68-31550" fmla="*/ 2481089 h 5292022"/>
              <a:gd name="connsiteX69-31551" fmla="*/ 10439106 w 10693106"/>
              <a:gd name="connsiteY69-31552" fmla="*/ 2667356 h 5292022"/>
              <a:gd name="connsiteX70-31553" fmla="*/ 10430640 w 10693106"/>
              <a:gd name="connsiteY70-31554" fmla="*/ 2709689 h 5292022"/>
              <a:gd name="connsiteX71-31555" fmla="*/ 10405240 w 10693106"/>
              <a:gd name="connsiteY71-31556" fmla="*/ 2785889 h 5292022"/>
              <a:gd name="connsiteX72-31557" fmla="*/ 10396773 w 10693106"/>
              <a:gd name="connsiteY72-31558" fmla="*/ 2819756 h 5292022"/>
              <a:gd name="connsiteX73-31559" fmla="*/ 10362906 w 10693106"/>
              <a:gd name="connsiteY73-31560" fmla="*/ 2912889 h 5292022"/>
              <a:gd name="connsiteX74-31561" fmla="*/ 10329040 w 10693106"/>
              <a:gd name="connsiteY74-31562" fmla="*/ 2955222 h 5292022"/>
              <a:gd name="connsiteX75-31563" fmla="*/ 10227440 w 10693106"/>
              <a:gd name="connsiteY75-31564" fmla="*/ 3056822 h 5292022"/>
              <a:gd name="connsiteX76-31565" fmla="*/ 10168173 w 10693106"/>
              <a:gd name="connsiteY76-31566" fmla="*/ 3124556 h 5292022"/>
              <a:gd name="connsiteX77-31567" fmla="*/ 10117373 w 10693106"/>
              <a:gd name="connsiteY77-31568" fmla="*/ 3175356 h 5292022"/>
              <a:gd name="connsiteX78-31569" fmla="*/ 10032706 w 10693106"/>
              <a:gd name="connsiteY78-31570" fmla="*/ 3276956 h 5292022"/>
              <a:gd name="connsiteX79-31571" fmla="*/ 9948040 w 10693106"/>
              <a:gd name="connsiteY79-31572" fmla="*/ 3336222 h 5292022"/>
              <a:gd name="connsiteX80-31573" fmla="*/ 9905706 w 10693106"/>
              <a:gd name="connsiteY80-31574" fmla="*/ 3361622 h 5292022"/>
              <a:gd name="connsiteX81-31575" fmla="*/ 9829506 w 10693106"/>
              <a:gd name="connsiteY81-31576" fmla="*/ 3378556 h 5292022"/>
              <a:gd name="connsiteX82-31577" fmla="*/ 9727906 w 10693106"/>
              <a:gd name="connsiteY82-31578" fmla="*/ 3420889 h 5292022"/>
              <a:gd name="connsiteX83-31579" fmla="*/ 9634773 w 10693106"/>
              <a:gd name="connsiteY83-31580" fmla="*/ 3446289 h 5292022"/>
              <a:gd name="connsiteX84-31581" fmla="*/ 9456973 w 10693106"/>
              <a:gd name="connsiteY84-31582" fmla="*/ 3539422 h 5292022"/>
              <a:gd name="connsiteX85-31583" fmla="*/ 9313040 w 10693106"/>
              <a:gd name="connsiteY85-31584" fmla="*/ 3666422 h 5292022"/>
              <a:gd name="connsiteX86-31585" fmla="*/ 9279173 w 10693106"/>
              <a:gd name="connsiteY86-31586" fmla="*/ 3683356 h 5292022"/>
              <a:gd name="connsiteX87-31587" fmla="*/ 9067506 w 10693106"/>
              <a:gd name="connsiteY87-31588" fmla="*/ 3861156 h 5292022"/>
              <a:gd name="connsiteX88-31589" fmla="*/ 8999773 w 10693106"/>
              <a:gd name="connsiteY88-31590" fmla="*/ 3928889 h 5292022"/>
              <a:gd name="connsiteX89-31591" fmla="*/ 8813506 w 10693106"/>
              <a:gd name="connsiteY89-31592" fmla="*/ 4064356 h 5292022"/>
              <a:gd name="connsiteX90-31593" fmla="*/ 8728840 w 10693106"/>
              <a:gd name="connsiteY90-31594" fmla="*/ 4106689 h 5292022"/>
              <a:gd name="connsiteX91-31595" fmla="*/ 8373240 w 10693106"/>
              <a:gd name="connsiteY91-31596" fmla="*/ 4140556 h 5292022"/>
              <a:gd name="connsiteX92-31597" fmla="*/ 7966840 w 10693106"/>
              <a:gd name="connsiteY92-31598" fmla="*/ 4233689 h 5292022"/>
              <a:gd name="connsiteX93-31599" fmla="*/ 7687440 w 10693106"/>
              <a:gd name="connsiteY93-31600" fmla="*/ 4394556 h 5292022"/>
              <a:gd name="connsiteX94-31601" fmla="*/ 7551973 w 10693106"/>
              <a:gd name="connsiteY94-31602" fmla="*/ 4479222 h 5292022"/>
              <a:gd name="connsiteX95-31603" fmla="*/ 7374173 w 10693106"/>
              <a:gd name="connsiteY95-31604" fmla="*/ 4657022 h 5292022"/>
              <a:gd name="connsiteX96-31605" fmla="*/ 7374173 w 10693106"/>
              <a:gd name="connsiteY96-31606" fmla="*/ 4657022 h 5292022"/>
              <a:gd name="connsiteX97-31607" fmla="*/ 7221773 w 10693106"/>
              <a:gd name="connsiteY97-31608" fmla="*/ 4775556 h 5292022"/>
              <a:gd name="connsiteX98-31609" fmla="*/ 7027040 w 10693106"/>
              <a:gd name="connsiteY98-31610" fmla="*/ 4902556 h 5292022"/>
              <a:gd name="connsiteX99-31611" fmla="*/ 6883106 w 10693106"/>
              <a:gd name="connsiteY99-31612" fmla="*/ 4970289 h 5292022"/>
              <a:gd name="connsiteX100-31613" fmla="*/ 6815373 w 10693106"/>
              <a:gd name="connsiteY100-31614" fmla="*/ 5012622 h 5292022"/>
              <a:gd name="connsiteX101-31615" fmla="*/ 6646040 w 10693106"/>
              <a:gd name="connsiteY101-31616" fmla="*/ 5105756 h 5292022"/>
              <a:gd name="connsiteX102-31617" fmla="*/ 6527506 w 10693106"/>
              <a:gd name="connsiteY102-31618" fmla="*/ 5165022 h 5292022"/>
              <a:gd name="connsiteX103-31619" fmla="*/ 6298906 w 10693106"/>
              <a:gd name="connsiteY103-31620" fmla="*/ 5241222 h 5292022"/>
              <a:gd name="connsiteX104-31621" fmla="*/ 6197306 w 10693106"/>
              <a:gd name="connsiteY104-31622" fmla="*/ 5266622 h 5292022"/>
              <a:gd name="connsiteX105-31623" fmla="*/ 6061840 w 10693106"/>
              <a:gd name="connsiteY105-31624" fmla="*/ 5275089 h 5292022"/>
              <a:gd name="connsiteX106-31625" fmla="*/ 5917906 w 10693106"/>
              <a:gd name="connsiteY106-31626" fmla="*/ 5292022 h 5292022"/>
              <a:gd name="connsiteX107-31627" fmla="*/ 5748573 w 10693106"/>
              <a:gd name="connsiteY107-31628" fmla="*/ 5283556 h 5292022"/>
              <a:gd name="connsiteX108-31629" fmla="*/ 5282906 w 10693106"/>
              <a:gd name="connsiteY108-31630" fmla="*/ 5173489 h 5292022"/>
              <a:gd name="connsiteX109-31631" fmla="*/ 5138973 w 10693106"/>
              <a:gd name="connsiteY109-31632" fmla="*/ 5071889 h 5292022"/>
              <a:gd name="connsiteX110-31633" fmla="*/ 4959480 w 10693106"/>
              <a:gd name="connsiteY110-31634" fmla="*/ 4988069 h 5292022"/>
              <a:gd name="connsiteX111-31635" fmla="*/ 4842216 w 10693106"/>
              <a:gd name="connsiteY111-31636" fmla="*/ 4953779 h 5292022"/>
              <a:gd name="connsiteX112-31637" fmla="*/ 4797343 w 10693106"/>
              <a:gd name="connsiteY112-31638" fmla="*/ 4878426 h 5292022"/>
              <a:gd name="connsiteX113-31639" fmla="*/ 4686853 w 10693106"/>
              <a:gd name="connsiteY113-31640" fmla="*/ 4788256 h 5292022"/>
              <a:gd name="connsiteX114-31641" fmla="*/ 4536146 w 10693106"/>
              <a:gd name="connsiteY114-31642" fmla="*/ 4712902 h 5292022"/>
              <a:gd name="connsiteX115-31643" fmla="*/ 4365120 w 10693106"/>
              <a:gd name="connsiteY115-31644" fmla="*/ 4616382 h 5292022"/>
              <a:gd name="connsiteX116-31645" fmla="*/ 3977346 w 10693106"/>
              <a:gd name="connsiteY116-31646" fmla="*/ 4470544 h 5292022"/>
              <a:gd name="connsiteX117-31647" fmla="*/ 3741550 w 10693106"/>
              <a:gd name="connsiteY117-31648" fmla="*/ 4154102 h 5292022"/>
              <a:gd name="connsiteX118-31649" fmla="*/ 3562056 w 10693106"/>
              <a:gd name="connsiteY118-31650" fmla="*/ 3406919 h 5292022"/>
              <a:gd name="connsiteX119-31651" fmla="*/ 3242440 w 10693106"/>
              <a:gd name="connsiteY119-31652" fmla="*/ 3099156 h 5292022"/>
              <a:gd name="connsiteX120-31653" fmla="*/ 3123906 w 10693106"/>
              <a:gd name="connsiteY120-31654" fmla="*/ 2997556 h 5292022"/>
              <a:gd name="connsiteX121-31655" fmla="*/ 2988440 w 10693106"/>
              <a:gd name="connsiteY121-31656" fmla="*/ 2802822 h 5292022"/>
              <a:gd name="connsiteX122-31657" fmla="*/ 2971506 w 10693106"/>
              <a:gd name="connsiteY122-31658" fmla="*/ 2743556 h 5292022"/>
              <a:gd name="connsiteX123-31659" fmla="*/ 2996906 w 10693106"/>
              <a:gd name="connsiteY123-31660" fmla="*/ 2531889 h 5292022"/>
              <a:gd name="connsiteX124-31661" fmla="*/ 3013840 w 10693106"/>
              <a:gd name="connsiteY124-31662" fmla="*/ 2430289 h 5292022"/>
              <a:gd name="connsiteX125-31663" fmla="*/ 3005373 w 10693106"/>
              <a:gd name="connsiteY125-31664" fmla="*/ 2311756 h 5292022"/>
              <a:gd name="connsiteX126-31665" fmla="*/ 2988440 w 10693106"/>
              <a:gd name="connsiteY126-31666" fmla="*/ 2260956 h 5292022"/>
              <a:gd name="connsiteX127-31667" fmla="*/ 2802173 w 10693106"/>
              <a:gd name="connsiteY127-31668" fmla="*/ 2006956 h 5292022"/>
              <a:gd name="connsiteX128-31669" fmla="*/ 2641306 w 10693106"/>
              <a:gd name="connsiteY128-31670" fmla="*/ 1863022 h 5292022"/>
              <a:gd name="connsiteX129-31671" fmla="*/ 2590506 w 10693106"/>
              <a:gd name="connsiteY129-31672" fmla="*/ 1837622 h 5292022"/>
              <a:gd name="connsiteX130-31673" fmla="*/ 2531240 w 10693106"/>
              <a:gd name="connsiteY130-31674" fmla="*/ 1829156 h 5292022"/>
              <a:gd name="connsiteX131-31675" fmla="*/ 2446573 w 10693106"/>
              <a:gd name="connsiteY131-31676" fmla="*/ 1812222 h 5292022"/>
              <a:gd name="connsiteX132-31677" fmla="*/ 2251840 w 10693106"/>
              <a:gd name="connsiteY132-31678" fmla="*/ 1837622 h 5292022"/>
              <a:gd name="connsiteX133-31679" fmla="*/ 2167173 w 10693106"/>
              <a:gd name="connsiteY133-31680" fmla="*/ 1879956 h 5292022"/>
              <a:gd name="connsiteX134-31681" fmla="*/ 1980906 w 10693106"/>
              <a:gd name="connsiteY134-31682" fmla="*/ 1939222 h 5292022"/>
              <a:gd name="connsiteX135-31683" fmla="*/ 1904706 w 10693106"/>
              <a:gd name="connsiteY135-31684" fmla="*/ 1973089 h 5292022"/>
              <a:gd name="connsiteX136-31685" fmla="*/ 1828506 w 10693106"/>
              <a:gd name="connsiteY136-31686" fmla="*/ 1990022 h 5292022"/>
              <a:gd name="connsiteX137-31687" fmla="*/ 1726906 w 10693106"/>
              <a:gd name="connsiteY137-31688" fmla="*/ 2040822 h 5292022"/>
              <a:gd name="connsiteX138-31689" fmla="*/ 1659173 w 10693106"/>
              <a:gd name="connsiteY138-31690" fmla="*/ 2074689 h 5292022"/>
              <a:gd name="connsiteX139-31691" fmla="*/ 1498306 w 10693106"/>
              <a:gd name="connsiteY139-31692" fmla="*/ 2100089 h 5292022"/>
              <a:gd name="connsiteX140-31693" fmla="*/ 914106 w 10693106"/>
              <a:gd name="connsiteY140-31694" fmla="*/ 2032356 h 5292022"/>
              <a:gd name="connsiteX141-31695" fmla="*/ 617773 w 10693106"/>
              <a:gd name="connsiteY141-31696" fmla="*/ 1922289 h 5292022"/>
              <a:gd name="connsiteX142-31697" fmla="*/ 516173 w 10693106"/>
              <a:gd name="connsiteY142-31698" fmla="*/ 1837622 h 5292022"/>
              <a:gd name="connsiteX143-31699" fmla="*/ 355306 w 10693106"/>
              <a:gd name="connsiteY143-31700" fmla="*/ 1625956 h 5292022"/>
              <a:gd name="connsiteX144-31701" fmla="*/ 296040 w 10693106"/>
              <a:gd name="connsiteY144-31702" fmla="*/ 1524356 h 5292022"/>
              <a:gd name="connsiteX145-31703" fmla="*/ 253706 w 10693106"/>
              <a:gd name="connsiteY145-31704" fmla="*/ 1346556 h 5292022"/>
              <a:gd name="connsiteX146-31705" fmla="*/ 245240 w 10693106"/>
              <a:gd name="connsiteY146-31706" fmla="*/ 1219556 h 5292022"/>
              <a:gd name="connsiteX147-31707" fmla="*/ 236773 w 10693106"/>
              <a:gd name="connsiteY147-31708" fmla="*/ 1117956 h 5292022"/>
              <a:gd name="connsiteX148-31709" fmla="*/ 245240 w 10693106"/>
              <a:gd name="connsiteY148-31710" fmla="*/ 847022 h 5292022"/>
              <a:gd name="connsiteX149-31711" fmla="*/ 236773 w 10693106"/>
              <a:gd name="connsiteY149-31712" fmla="*/ 703089 h 5292022"/>
              <a:gd name="connsiteX150-31713" fmla="*/ 109773 w 10693106"/>
              <a:gd name="connsiteY150-31714" fmla="*/ 559156 h 5292022"/>
              <a:gd name="connsiteX151-31715" fmla="*/ 58973 w 10693106"/>
              <a:gd name="connsiteY151-31716" fmla="*/ 482956 h 5292022"/>
              <a:gd name="connsiteX152-31717" fmla="*/ 16640 w 10693106"/>
              <a:gd name="connsiteY152-31718" fmla="*/ 432156 h 5292022"/>
              <a:gd name="connsiteX153-31719" fmla="*/ 8173 w 10693106"/>
              <a:gd name="connsiteY153-31720" fmla="*/ 389822 h 5292022"/>
              <a:gd name="connsiteX154-31721" fmla="*/ 16640 w 10693106"/>
              <a:gd name="connsiteY154-31722" fmla="*/ 339022 h 5292022"/>
              <a:gd name="connsiteX0-31723" fmla="*/ 16640 w 10693106"/>
              <a:gd name="connsiteY0-31724" fmla="*/ 339022 h 5292022"/>
              <a:gd name="connsiteX1-31725" fmla="*/ 58973 w 10693106"/>
              <a:gd name="connsiteY1-31726" fmla="*/ 245889 h 5292022"/>
              <a:gd name="connsiteX2-31727" fmla="*/ 109773 w 10693106"/>
              <a:gd name="connsiteY2-31728" fmla="*/ 178156 h 5292022"/>
              <a:gd name="connsiteX3-31729" fmla="*/ 202906 w 10693106"/>
              <a:gd name="connsiteY3-31730" fmla="*/ 93489 h 5292022"/>
              <a:gd name="connsiteX4-31731" fmla="*/ 236773 w 10693106"/>
              <a:gd name="connsiteY4-31732" fmla="*/ 68089 h 5292022"/>
              <a:gd name="connsiteX5-31733" fmla="*/ 335410 w 10693106"/>
              <a:gd name="connsiteY5-31734" fmla="*/ 58352 h 5292022"/>
              <a:gd name="connsiteX6-31735" fmla="*/ 382400 w 10693106"/>
              <a:gd name="connsiteY6-31736" fmla="*/ 51156 h 5292022"/>
              <a:gd name="connsiteX7-31737" fmla="*/ 434912 w 10693106"/>
              <a:gd name="connsiteY7-31738" fmla="*/ 70071 h 5292022"/>
              <a:gd name="connsiteX8-31739" fmla="*/ 492697 w 10693106"/>
              <a:gd name="connsiteY8-31740" fmla="*/ 74247 h 5292022"/>
              <a:gd name="connsiteX9-31741" fmla="*/ 822897 w 10693106"/>
              <a:gd name="connsiteY9-31742" fmla="*/ 82713 h 5292022"/>
              <a:gd name="connsiteX10-31743" fmla="*/ 1091906 w 10693106"/>
              <a:gd name="connsiteY10-31744" fmla="*/ 356 h 5292022"/>
              <a:gd name="connsiteX11-31745" fmla="*/ 1235840 w 10693106"/>
              <a:gd name="connsiteY11-31746" fmla="*/ 59622 h 5292022"/>
              <a:gd name="connsiteX12-31747" fmla="*/ 1337440 w 10693106"/>
              <a:gd name="connsiteY12-31748" fmla="*/ 135822 h 5292022"/>
              <a:gd name="connsiteX13-31749" fmla="*/ 1422106 w 10693106"/>
              <a:gd name="connsiteY13-31750" fmla="*/ 245889 h 5292022"/>
              <a:gd name="connsiteX14-31751" fmla="*/ 1481373 w 10693106"/>
              <a:gd name="connsiteY14-31752" fmla="*/ 313622 h 5292022"/>
              <a:gd name="connsiteX15-31753" fmla="*/ 1532173 w 10693106"/>
              <a:gd name="connsiteY15-31754" fmla="*/ 347489 h 5292022"/>
              <a:gd name="connsiteX16-31755" fmla="*/ 1684573 w 10693106"/>
              <a:gd name="connsiteY16-31756" fmla="*/ 406756 h 5292022"/>
              <a:gd name="connsiteX17-31757" fmla="*/ 1760773 w 10693106"/>
              <a:gd name="connsiteY17-31758" fmla="*/ 423689 h 5292022"/>
              <a:gd name="connsiteX18-31759" fmla="*/ 1997840 w 10693106"/>
              <a:gd name="connsiteY18-31760" fmla="*/ 415222 h 5292022"/>
              <a:gd name="connsiteX19-31761" fmla="*/ 2116373 w 10693106"/>
              <a:gd name="connsiteY19-31762" fmla="*/ 398289 h 5292022"/>
              <a:gd name="connsiteX20-31763" fmla="*/ 2260306 w 10693106"/>
              <a:gd name="connsiteY20-31764" fmla="*/ 381356 h 5292022"/>
              <a:gd name="connsiteX21-31765" fmla="*/ 2404240 w 10693106"/>
              <a:gd name="connsiteY21-31766" fmla="*/ 355956 h 5292022"/>
              <a:gd name="connsiteX22-31767" fmla="*/ 2455040 w 10693106"/>
              <a:gd name="connsiteY22-31768" fmla="*/ 330556 h 5292022"/>
              <a:gd name="connsiteX23-31769" fmla="*/ 2531240 w 10693106"/>
              <a:gd name="connsiteY23-31770" fmla="*/ 305156 h 5292022"/>
              <a:gd name="connsiteX24-31771" fmla="*/ 2649350 w 10693106"/>
              <a:gd name="connsiteY24-31772" fmla="*/ 225781 h 5292022"/>
              <a:gd name="connsiteX25-31773" fmla="*/ 2742906 w 10693106"/>
              <a:gd name="connsiteY25-31774" fmla="*/ 186622 h 5292022"/>
              <a:gd name="connsiteX26-31775" fmla="*/ 2764920 w 10693106"/>
              <a:gd name="connsiteY26-31776" fmla="*/ 173076 h 5292022"/>
              <a:gd name="connsiteX27-31777" fmla="*/ 2832653 w 10693106"/>
              <a:gd name="connsiteY27-31778" fmla="*/ 167996 h 5292022"/>
              <a:gd name="connsiteX28-31779" fmla="*/ 3002294 w 10693106"/>
              <a:gd name="connsiteY28-31780" fmla="*/ 154680 h 5292022"/>
              <a:gd name="connsiteX29-31781" fmla="*/ 3142763 w 10693106"/>
              <a:gd name="connsiteY29-31782" fmla="*/ 110421 h 5292022"/>
              <a:gd name="connsiteX30-31783" fmla="*/ 3398918 w 10693106"/>
              <a:gd name="connsiteY30-31784" fmla="*/ 72322 h 5292022"/>
              <a:gd name="connsiteX31-31785" fmla="*/ 3606506 w 10693106"/>
              <a:gd name="connsiteY31-31786" fmla="*/ 60393 h 5292022"/>
              <a:gd name="connsiteX32-31787" fmla="*/ 3682706 w 10693106"/>
              <a:gd name="connsiteY32-31788" fmla="*/ 79942 h 5292022"/>
              <a:gd name="connsiteX33-31789" fmla="*/ 3741973 w 10693106"/>
              <a:gd name="connsiteY33-31790" fmla="*/ 86561 h 5292022"/>
              <a:gd name="connsiteX34-31791" fmla="*/ 3794678 w 10693106"/>
              <a:gd name="connsiteY34-31792" fmla="*/ 101321 h 5292022"/>
              <a:gd name="connsiteX35-31793" fmla="*/ 3833625 w 10693106"/>
              <a:gd name="connsiteY35-31794" fmla="*/ 110846 h 5292022"/>
              <a:gd name="connsiteX36-31795" fmla="*/ 3892487 w 10693106"/>
              <a:gd name="connsiteY36-31796" fmla="*/ 116984 h 5292022"/>
              <a:gd name="connsiteX37-31797" fmla="*/ 3933108 w 10693106"/>
              <a:gd name="connsiteY37-31798" fmla="*/ 128837 h 5292022"/>
              <a:gd name="connsiteX38-31799" fmla="*/ 3976923 w 10693106"/>
              <a:gd name="connsiteY38-31800" fmla="*/ 135187 h 5292022"/>
              <a:gd name="connsiteX39-31801" fmla="*/ 4021373 w 10693106"/>
              <a:gd name="connsiteY39-31802" fmla="*/ 144289 h 5292022"/>
              <a:gd name="connsiteX40-31803" fmla="*/ 4055240 w 10693106"/>
              <a:gd name="connsiteY40-31804" fmla="*/ 152756 h 5292022"/>
              <a:gd name="connsiteX41-31805" fmla="*/ 4275373 w 10693106"/>
              <a:gd name="connsiteY41-31806" fmla="*/ 195089 h 5292022"/>
              <a:gd name="connsiteX42-31807" fmla="*/ 4402373 w 10693106"/>
              <a:gd name="connsiteY42-31808" fmla="*/ 228956 h 5292022"/>
              <a:gd name="connsiteX43-31809" fmla="*/ 4529373 w 10693106"/>
              <a:gd name="connsiteY43-31810" fmla="*/ 271289 h 5292022"/>
              <a:gd name="connsiteX44-31811" fmla="*/ 5045840 w 10693106"/>
              <a:gd name="connsiteY44-31812" fmla="*/ 423689 h 5292022"/>
              <a:gd name="connsiteX45-31813" fmla="*/ 5672373 w 10693106"/>
              <a:gd name="connsiteY45-31814" fmla="*/ 931689 h 5292022"/>
              <a:gd name="connsiteX46-31815" fmla="*/ 6839926 w 10693106"/>
              <a:gd name="connsiteY46-31816" fmla="*/ 1252152 h 5292022"/>
              <a:gd name="connsiteX47-31817" fmla="*/ 7703950 w 10693106"/>
              <a:gd name="connsiteY47-31818" fmla="*/ 1069696 h 5292022"/>
              <a:gd name="connsiteX48-31819" fmla="*/ 8652640 w 10693106"/>
              <a:gd name="connsiteY48-31820" fmla="*/ 677689 h 5292022"/>
              <a:gd name="connsiteX49-31821" fmla="*/ 8982840 w 10693106"/>
              <a:gd name="connsiteY49-31822" fmla="*/ 398289 h 5292022"/>
              <a:gd name="connsiteX50-31823" fmla="*/ 9380773 w 10693106"/>
              <a:gd name="connsiteY50-31824" fmla="*/ 355956 h 5292022"/>
              <a:gd name="connsiteX51-31825" fmla="*/ 9744840 w 10693106"/>
              <a:gd name="connsiteY51-31826" fmla="*/ 466022 h 5292022"/>
              <a:gd name="connsiteX52-31827" fmla="*/ 9888773 w 10693106"/>
              <a:gd name="connsiteY52-31828" fmla="*/ 508356 h 5292022"/>
              <a:gd name="connsiteX53-31829" fmla="*/ 9998840 w 10693106"/>
              <a:gd name="connsiteY53-31830" fmla="*/ 559156 h 5292022"/>
              <a:gd name="connsiteX54-31831" fmla="*/ 10083506 w 10693106"/>
              <a:gd name="connsiteY54-31832" fmla="*/ 618422 h 5292022"/>
              <a:gd name="connsiteX55-31833" fmla="*/ 10286706 w 10693106"/>
              <a:gd name="connsiteY55-31834" fmla="*/ 686156 h 5292022"/>
              <a:gd name="connsiteX56-31835" fmla="*/ 10388306 w 10693106"/>
              <a:gd name="connsiteY56-31836" fmla="*/ 889356 h 5292022"/>
              <a:gd name="connsiteX57-31837" fmla="*/ 10540706 w 10693106"/>
              <a:gd name="connsiteY57-31838" fmla="*/ 1261889 h 5292022"/>
              <a:gd name="connsiteX58-31839" fmla="*/ 10557640 w 10693106"/>
              <a:gd name="connsiteY58-31840" fmla="*/ 1346556 h 5292022"/>
              <a:gd name="connsiteX59-31841" fmla="*/ 10583040 w 10693106"/>
              <a:gd name="connsiteY59-31842" fmla="*/ 1448156 h 5292022"/>
              <a:gd name="connsiteX60-31843" fmla="*/ 10616906 w 10693106"/>
              <a:gd name="connsiteY60-31844" fmla="*/ 1651356 h 5292022"/>
              <a:gd name="connsiteX61-31845" fmla="*/ 10633840 w 10693106"/>
              <a:gd name="connsiteY61-31846" fmla="*/ 1736022 h 5292022"/>
              <a:gd name="connsiteX62-31847" fmla="*/ 10650773 w 10693106"/>
              <a:gd name="connsiteY62-31848" fmla="*/ 1769889 h 5292022"/>
              <a:gd name="connsiteX63-31849" fmla="*/ 10676173 w 10693106"/>
              <a:gd name="connsiteY63-31850" fmla="*/ 1854556 h 5292022"/>
              <a:gd name="connsiteX64-31851" fmla="*/ 10693106 w 10693106"/>
              <a:gd name="connsiteY64-31852" fmla="*/ 2006956 h 5292022"/>
              <a:gd name="connsiteX65-31853" fmla="*/ 10625373 w 10693106"/>
              <a:gd name="connsiteY65-31854" fmla="*/ 2227089 h 5292022"/>
              <a:gd name="connsiteX66-31855" fmla="*/ 10608440 w 10693106"/>
              <a:gd name="connsiteY66-31856" fmla="*/ 2252489 h 5292022"/>
              <a:gd name="connsiteX67-31857" fmla="*/ 10540706 w 10693106"/>
              <a:gd name="connsiteY67-31858" fmla="*/ 2396422 h 5292022"/>
              <a:gd name="connsiteX68-31859" fmla="*/ 10498373 w 10693106"/>
              <a:gd name="connsiteY68-31860" fmla="*/ 2481089 h 5292022"/>
              <a:gd name="connsiteX69-31861" fmla="*/ 10439106 w 10693106"/>
              <a:gd name="connsiteY69-31862" fmla="*/ 2667356 h 5292022"/>
              <a:gd name="connsiteX70-31863" fmla="*/ 10430640 w 10693106"/>
              <a:gd name="connsiteY70-31864" fmla="*/ 2709689 h 5292022"/>
              <a:gd name="connsiteX71-31865" fmla="*/ 10405240 w 10693106"/>
              <a:gd name="connsiteY71-31866" fmla="*/ 2785889 h 5292022"/>
              <a:gd name="connsiteX72-31867" fmla="*/ 10396773 w 10693106"/>
              <a:gd name="connsiteY72-31868" fmla="*/ 2819756 h 5292022"/>
              <a:gd name="connsiteX73-31869" fmla="*/ 10362906 w 10693106"/>
              <a:gd name="connsiteY73-31870" fmla="*/ 2912889 h 5292022"/>
              <a:gd name="connsiteX74-31871" fmla="*/ 10329040 w 10693106"/>
              <a:gd name="connsiteY74-31872" fmla="*/ 2955222 h 5292022"/>
              <a:gd name="connsiteX75-31873" fmla="*/ 10227440 w 10693106"/>
              <a:gd name="connsiteY75-31874" fmla="*/ 3056822 h 5292022"/>
              <a:gd name="connsiteX76-31875" fmla="*/ 10168173 w 10693106"/>
              <a:gd name="connsiteY76-31876" fmla="*/ 3124556 h 5292022"/>
              <a:gd name="connsiteX77-31877" fmla="*/ 10117373 w 10693106"/>
              <a:gd name="connsiteY77-31878" fmla="*/ 3175356 h 5292022"/>
              <a:gd name="connsiteX78-31879" fmla="*/ 10032706 w 10693106"/>
              <a:gd name="connsiteY78-31880" fmla="*/ 3276956 h 5292022"/>
              <a:gd name="connsiteX79-31881" fmla="*/ 9948040 w 10693106"/>
              <a:gd name="connsiteY79-31882" fmla="*/ 3336222 h 5292022"/>
              <a:gd name="connsiteX80-31883" fmla="*/ 9905706 w 10693106"/>
              <a:gd name="connsiteY80-31884" fmla="*/ 3361622 h 5292022"/>
              <a:gd name="connsiteX81-31885" fmla="*/ 9829506 w 10693106"/>
              <a:gd name="connsiteY81-31886" fmla="*/ 3378556 h 5292022"/>
              <a:gd name="connsiteX82-31887" fmla="*/ 9727906 w 10693106"/>
              <a:gd name="connsiteY82-31888" fmla="*/ 3420889 h 5292022"/>
              <a:gd name="connsiteX83-31889" fmla="*/ 9634773 w 10693106"/>
              <a:gd name="connsiteY83-31890" fmla="*/ 3446289 h 5292022"/>
              <a:gd name="connsiteX84-31891" fmla="*/ 9456973 w 10693106"/>
              <a:gd name="connsiteY84-31892" fmla="*/ 3539422 h 5292022"/>
              <a:gd name="connsiteX85-31893" fmla="*/ 9313040 w 10693106"/>
              <a:gd name="connsiteY85-31894" fmla="*/ 3666422 h 5292022"/>
              <a:gd name="connsiteX86-31895" fmla="*/ 9279173 w 10693106"/>
              <a:gd name="connsiteY86-31896" fmla="*/ 3683356 h 5292022"/>
              <a:gd name="connsiteX87-31897" fmla="*/ 9067506 w 10693106"/>
              <a:gd name="connsiteY87-31898" fmla="*/ 3861156 h 5292022"/>
              <a:gd name="connsiteX88-31899" fmla="*/ 8999773 w 10693106"/>
              <a:gd name="connsiteY88-31900" fmla="*/ 3928889 h 5292022"/>
              <a:gd name="connsiteX89-31901" fmla="*/ 8813506 w 10693106"/>
              <a:gd name="connsiteY89-31902" fmla="*/ 4064356 h 5292022"/>
              <a:gd name="connsiteX90-31903" fmla="*/ 8728840 w 10693106"/>
              <a:gd name="connsiteY90-31904" fmla="*/ 4106689 h 5292022"/>
              <a:gd name="connsiteX91-31905" fmla="*/ 8373240 w 10693106"/>
              <a:gd name="connsiteY91-31906" fmla="*/ 4140556 h 5292022"/>
              <a:gd name="connsiteX92-31907" fmla="*/ 7966840 w 10693106"/>
              <a:gd name="connsiteY92-31908" fmla="*/ 4233689 h 5292022"/>
              <a:gd name="connsiteX93-31909" fmla="*/ 7687440 w 10693106"/>
              <a:gd name="connsiteY93-31910" fmla="*/ 4394556 h 5292022"/>
              <a:gd name="connsiteX94-31911" fmla="*/ 7551973 w 10693106"/>
              <a:gd name="connsiteY94-31912" fmla="*/ 4479222 h 5292022"/>
              <a:gd name="connsiteX95-31913" fmla="*/ 7374173 w 10693106"/>
              <a:gd name="connsiteY95-31914" fmla="*/ 4657022 h 5292022"/>
              <a:gd name="connsiteX96-31915" fmla="*/ 7374173 w 10693106"/>
              <a:gd name="connsiteY96-31916" fmla="*/ 4657022 h 5292022"/>
              <a:gd name="connsiteX97-31917" fmla="*/ 7221773 w 10693106"/>
              <a:gd name="connsiteY97-31918" fmla="*/ 4775556 h 5292022"/>
              <a:gd name="connsiteX98-31919" fmla="*/ 7027040 w 10693106"/>
              <a:gd name="connsiteY98-31920" fmla="*/ 4902556 h 5292022"/>
              <a:gd name="connsiteX99-31921" fmla="*/ 6883106 w 10693106"/>
              <a:gd name="connsiteY99-31922" fmla="*/ 4970289 h 5292022"/>
              <a:gd name="connsiteX100-31923" fmla="*/ 6815373 w 10693106"/>
              <a:gd name="connsiteY100-31924" fmla="*/ 5012622 h 5292022"/>
              <a:gd name="connsiteX101-31925" fmla="*/ 6646040 w 10693106"/>
              <a:gd name="connsiteY101-31926" fmla="*/ 5105756 h 5292022"/>
              <a:gd name="connsiteX102-31927" fmla="*/ 6527506 w 10693106"/>
              <a:gd name="connsiteY102-31928" fmla="*/ 5165022 h 5292022"/>
              <a:gd name="connsiteX103-31929" fmla="*/ 6298906 w 10693106"/>
              <a:gd name="connsiteY103-31930" fmla="*/ 5241222 h 5292022"/>
              <a:gd name="connsiteX104-31931" fmla="*/ 6197306 w 10693106"/>
              <a:gd name="connsiteY104-31932" fmla="*/ 5266622 h 5292022"/>
              <a:gd name="connsiteX105-31933" fmla="*/ 6061840 w 10693106"/>
              <a:gd name="connsiteY105-31934" fmla="*/ 5275089 h 5292022"/>
              <a:gd name="connsiteX106-31935" fmla="*/ 5917906 w 10693106"/>
              <a:gd name="connsiteY106-31936" fmla="*/ 5292022 h 5292022"/>
              <a:gd name="connsiteX107-31937" fmla="*/ 5748573 w 10693106"/>
              <a:gd name="connsiteY107-31938" fmla="*/ 5283556 h 5292022"/>
              <a:gd name="connsiteX108-31939" fmla="*/ 5282906 w 10693106"/>
              <a:gd name="connsiteY108-31940" fmla="*/ 5173489 h 5292022"/>
              <a:gd name="connsiteX109-31941" fmla="*/ 5138973 w 10693106"/>
              <a:gd name="connsiteY109-31942" fmla="*/ 5071889 h 5292022"/>
              <a:gd name="connsiteX110-31943" fmla="*/ 4959480 w 10693106"/>
              <a:gd name="connsiteY110-31944" fmla="*/ 4988069 h 5292022"/>
              <a:gd name="connsiteX111-31945" fmla="*/ 4842216 w 10693106"/>
              <a:gd name="connsiteY111-31946" fmla="*/ 4953779 h 5292022"/>
              <a:gd name="connsiteX112-31947" fmla="*/ 4797343 w 10693106"/>
              <a:gd name="connsiteY112-31948" fmla="*/ 4878426 h 5292022"/>
              <a:gd name="connsiteX113-31949" fmla="*/ 4686853 w 10693106"/>
              <a:gd name="connsiteY113-31950" fmla="*/ 4788256 h 5292022"/>
              <a:gd name="connsiteX114-31951" fmla="*/ 4365120 w 10693106"/>
              <a:gd name="connsiteY114-31952" fmla="*/ 4616382 h 5292022"/>
              <a:gd name="connsiteX115-31953" fmla="*/ 3977346 w 10693106"/>
              <a:gd name="connsiteY115-31954" fmla="*/ 4470544 h 5292022"/>
              <a:gd name="connsiteX116-31955" fmla="*/ 3741550 w 10693106"/>
              <a:gd name="connsiteY116-31956" fmla="*/ 4154102 h 5292022"/>
              <a:gd name="connsiteX117-31957" fmla="*/ 3562056 w 10693106"/>
              <a:gd name="connsiteY117-31958" fmla="*/ 3406919 h 5292022"/>
              <a:gd name="connsiteX118-31959" fmla="*/ 3242440 w 10693106"/>
              <a:gd name="connsiteY118-31960" fmla="*/ 3099156 h 5292022"/>
              <a:gd name="connsiteX119-31961" fmla="*/ 3123906 w 10693106"/>
              <a:gd name="connsiteY119-31962" fmla="*/ 2997556 h 5292022"/>
              <a:gd name="connsiteX120-31963" fmla="*/ 2988440 w 10693106"/>
              <a:gd name="connsiteY120-31964" fmla="*/ 2802822 h 5292022"/>
              <a:gd name="connsiteX121-31965" fmla="*/ 2971506 w 10693106"/>
              <a:gd name="connsiteY121-31966" fmla="*/ 2743556 h 5292022"/>
              <a:gd name="connsiteX122-31967" fmla="*/ 2996906 w 10693106"/>
              <a:gd name="connsiteY122-31968" fmla="*/ 2531889 h 5292022"/>
              <a:gd name="connsiteX123-31969" fmla="*/ 3013840 w 10693106"/>
              <a:gd name="connsiteY123-31970" fmla="*/ 2430289 h 5292022"/>
              <a:gd name="connsiteX124-31971" fmla="*/ 3005373 w 10693106"/>
              <a:gd name="connsiteY124-31972" fmla="*/ 2311756 h 5292022"/>
              <a:gd name="connsiteX125-31973" fmla="*/ 2988440 w 10693106"/>
              <a:gd name="connsiteY125-31974" fmla="*/ 2260956 h 5292022"/>
              <a:gd name="connsiteX126-31975" fmla="*/ 2802173 w 10693106"/>
              <a:gd name="connsiteY126-31976" fmla="*/ 2006956 h 5292022"/>
              <a:gd name="connsiteX127-31977" fmla="*/ 2641306 w 10693106"/>
              <a:gd name="connsiteY127-31978" fmla="*/ 1863022 h 5292022"/>
              <a:gd name="connsiteX128-31979" fmla="*/ 2590506 w 10693106"/>
              <a:gd name="connsiteY128-31980" fmla="*/ 1837622 h 5292022"/>
              <a:gd name="connsiteX129-31981" fmla="*/ 2531240 w 10693106"/>
              <a:gd name="connsiteY129-31982" fmla="*/ 1829156 h 5292022"/>
              <a:gd name="connsiteX130-31983" fmla="*/ 2446573 w 10693106"/>
              <a:gd name="connsiteY130-31984" fmla="*/ 1812222 h 5292022"/>
              <a:gd name="connsiteX131-31985" fmla="*/ 2251840 w 10693106"/>
              <a:gd name="connsiteY131-31986" fmla="*/ 1837622 h 5292022"/>
              <a:gd name="connsiteX132-31987" fmla="*/ 2167173 w 10693106"/>
              <a:gd name="connsiteY132-31988" fmla="*/ 1879956 h 5292022"/>
              <a:gd name="connsiteX133-31989" fmla="*/ 1980906 w 10693106"/>
              <a:gd name="connsiteY133-31990" fmla="*/ 1939222 h 5292022"/>
              <a:gd name="connsiteX134-31991" fmla="*/ 1904706 w 10693106"/>
              <a:gd name="connsiteY134-31992" fmla="*/ 1973089 h 5292022"/>
              <a:gd name="connsiteX135-31993" fmla="*/ 1828506 w 10693106"/>
              <a:gd name="connsiteY135-31994" fmla="*/ 1990022 h 5292022"/>
              <a:gd name="connsiteX136-31995" fmla="*/ 1726906 w 10693106"/>
              <a:gd name="connsiteY136-31996" fmla="*/ 2040822 h 5292022"/>
              <a:gd name="connsiteX137-31997" fmla="*/ 1659173 w 10693106"/>
              <a:gd name="connsiteY137-31998" fmla="*/ 2074689 h 5292022"/>
              <a:gd name="connsiteX138-31999" fmla="*/ 1498306 w 10693106"/>
              <a:gd name="connsiteY138-32000" fmla="*/ 2100089 h 5292022"/>
              <a:gd name="connsiteX139-32001" fmla="*/ 914106 w 10693106"/>
              <a:gd name="connsiteY139-32002" fmla="*/ 2032356 h 5292022"/>
              <a:gd name="connsiteX140-32003" fmla="*/ 617773 w 10693106"/>
              <a:gd name="connsiteY140-32004" fmla="*/ 1922289 h 5292022"/>
              <a:gd name="connsiteX141-32005" fmla="*/ 516173 w 10693106"/>
              <a:gd name="connsiteY141-32006" fmla="*/ 1837622 h 5292022"/>
              <a:gd name="connsiteX142-32007" fmla="*/ 355306 w 10693106"/>
              <a:gd name="connsiteY142-32008" fmla="*/ 1625956 h 5292022"/>
              <a:gd name="connsiteX143-32009" fmla="*/ 296040 w 10693106"/>
              <a:gd name="connsiteY143-32010" fmla="*/ 1524356 h 5292022"/>
              <a:gd name="connsiteX144-32011" fmla="*/ 253706 w 10693106"/>
              <a:gd name="connsiteY144-32012" fmla="*/ 1346556 h 5292022"/>
              <a:gd name="connsiteX145-32013" fmla="*/ 245240 w 10693106"/>
              <a:gd name="connsiteY145-32014" fmla="*/ 1219556 h 5292022"/>
              <a:gd name="connsiteX146-32015" fmla="*/ 236773 w 10693106"/>
              <a:gd name="connsiteY146-32016" fmla="*/ 1117956 h 5292022"/>
              <a:gd name="connsiteX147-32017" fmla="*/ 245240 w 10693106"/>
              <a:gd name="connsiteY147-32018" fmla="*/ 847022 h 5292022"/>
              <a:gd name="connsiteX148-32019" fmla="*/ 236773 w 10693106"/>
              <a:gd name="connsiteY148-32020" fmla="*/ 703089 h 5292022"/>
              <a:gd name="connsiteX149-32021" fmla="*/ 109773 w 10693106"/>
              <a:gd name="connsiteY149-32022" fmla="*/ 559156 h 5292022"/>
              <a:gd name="connsiteX150-32023" fmla="*/ 58973 w 10693106"/>
              <a:gd name="connsiteY150-32024" fmla="*/ 482956 h 5292022"/>
              <a:gd name="connsiteX151-32025" fmla="*/ 16640 w 10693106"/>
              <a:gd name="connsiteY151-32026" fmla="*/ 432156 h 5292022"/>
              <a:gd name="connsiteX152-32027" fmla="*/ 8173 w 10693106"/>
              <a:gd name="connsiteY152-32028" fmla="*/ 389822 h 5292022"/>
              <a:gd name="connsiteX153-32029" fmla="*/ 16640 w 10693106"/>
              <a:gd name="connsiteY153-32030" fmla="*/ 339022 h 5292022"/>
              <a:gd name="connsiteX0-32031" fmla="*/ 16640 w 10693106"/>
              <a:gd name="connsiteY0-32032" fmla="*/ 339022 h 5292022"/>
              <a:gd name="connsiteX1-32033" fmla="*/ 58973 w 10693106"/>
              <a:gd name="connsiteY1-32034" fmla="*/ 245889 h 5292022"/>
              <a:gd name="connsiteX2-32035" fmla="*/ 109773 w 10693106"/>
              <a:gd name="connsiteY2-32036" fmla="*/ 178156 h 5292022"/>
              <a:gd name="connsiteX3-32037" fmla="*/ 202906 w 10693106"/>
              <a:gd name="connsiteY3-32038" fmla="*/ 93489 h 5292022"/>
              <a:gd name="connsiteX4-32039" fmla="*/ 236773 w 10693106"/>
              <a:gd name="connsiteY4-32040" fmla="*/ 68089 h 5292022"/>
              <a:gd name="connsiteX5-32041" fmla="*/ 335410 w 10693106"/>
              <a:gd name="connsiteY5-32042" fmla="*/ 58352 h 5292022"/>
              <a:gd name="connsiteX6-32043" fmla="*/ 382400 w 10693106"/>
              <a:gd name="connsiteY6-32044" fmla="*/ 51156 h 5292022"/>
              <a:gd name="connsiteX7-32045" fmla="*/ 434912 w 10693106"/>
              <a:gd name="connsiteY7-32046" fmla="*/ 70071 h 5292022"/>
              <a:gd name="connsiteX8-32047" fmla="*/ 492697 w 10693106"/>
              <a:gd name="connsiteY8-32048" fmla="*/ 74247 h 5292022"/>
              <a:gd name="connsiteX9-32049" fmla="*/ 822897 w 10693106"/>
              <a:gd name="connsiteY9-32050" fmla="*/ 82713 h 5292022"/>
              <a:gd name="connsiteX10-32051" fmla="*/ 1091906 w 10693106"/>
              <a:gd name="connsiteY10-32052" fmla="*/ 356 h 5292022"/>
              <a:gd name="connsiteX11-32053" fmla="*/ 1235840 w 10693106"/>
              <a:gd name="connsiteY11-32054" fmla="*/ 59622 h 5292022"/>
              <a:gd name="connsiteX12-32055" fmla="*/ 1337440 w 10693106"/>
              <a:gd name="connsiteY12-32056" fmla="*/ 135822 h 5292022"/>
              <a:gd name="connsiteX13-32057" fmla="*/ 1422106 w 10693106"/>
              <a:gd name="connsiteY13-32058" fmla="*/ 245889 h 5292022"/>
              <a:gd name="connsiteX14-32059" fmla="*/ 1481373 w 10693106"/>
              <a:gd name="connsiteY14-32060" fmla="*/ 313622 h 5292022"/>
              <a:gd name="connsiteX15-32061" fmla="*/ 1532173 w 10693106"/>
              <a:gd name="connsiteY15-32062" fmla="*/ 347489 h 5292022"/>
              <a:gd name="connsiteX16-32063" fmla="*/ 1684573 w 10693106"/>
              <a:gd name="connsiteY16-32064" fmla="*/ 406756 h 5292022"/>
              <a:gd name="connsiteX17-32065" fmla="*/ 1760773 w 10693106"/>
              <a:gd name="connsiteY17-32066" fmla="*/ 423689 h 5292022"/>
              <a:gd name="connsiteX18-32067" fmla="*/ 1997840 w 10693106"/>
              <a:gd name="connsiteY18-32068" fmla="*/ 415222 h 5292022"/>
              <a:gd name="connsiteX19-32069" fmla="*/ 2116373 w 10693106"/>
              <a:gd name="connsiteY19-32070" fmla="*/ 398289 h 5292022"/>
              <a:gd name="connsiteX20-32071" fmla="*/ 2260306 w 10693106"/>
              <a:gd name="connsiteY20-32072" fmla="*/ 381356 h 5292022"/>
              <a:gd name="connsiteX21-32073" fmla="*/ 2404240 w 10693106"/>
              <a:gd name="connsiteY21-32074" fmla="*/ 355956 h 5292022"/>
              <a:gd name="connsiteX22-32075" fmla="*/ 2455040 w 10693106"/>
              <a:gd name="connsiteY22-32076" fmla="*/ 330556 h 5292022"/>
              <a:gd name="connsiteX23-32077" fmla="*/ 2531240 w 10693106"/>
              <a:gd name="connsiteY23-32078" fmla="*/ 305156 h 5292022"/>
              <a:gd name="connsiteX24-32079" fmla="*/ 2649350 w 10693106"/>
              <a:gd name="connsiteY24-32080" fmla="*/ 225781 h 5292022"/>
              <a:gd name="connsiteX25-32081" fmla="*/ 2742906 w 10693106"/>
              <a:gd name="connsiteY25-32082" fmla="*/ 186622 h 5292022"/>
              <a:gd name="connsiteX26-32083" fmla="*/ 2764920 w 10693106"/>
              <a:gd name="connsiteY26-32084" fmla="*/ 173076 h 5292022"/>
              <a:gd name="connsiteX27-32085" fmla="*/ 2832653 w 10693106"/>
              <a:gd name="connsiteY27-32086" fmla="*/ 167996 h 5292022"/>
              <a:gd name="connsiteX28-32087" fmla="*/ 3002294 w 10693106"/>
              <a:gd name="connsiteY28-32088" fmla="*/ 154680 h 5292022"/>
              <a:gd name="connsiteX29-32089" fmla="*/ 3142763 w 10693106"/>
              <a:gd name="connsiteY29-32090" fmla="*/ 110421 h 5292022"/>
              <a:gd name="connsiteX30-32091" fmla="*/ 3398918 w 10693106"/>
              <a:gd name="connsiteY30-32092" fmla="*/ 72322 h 5292022"/>
              <a:gd name="connsiteX31-32093" fmla="*/ 3606506 w 10693106"/>
              <a:gd name="connsiteY31-32094" fmla="*/ 60393 h 5292022"/>
              <a:gd name="connsiteX32-32095" fmla="*/ 3682706 w 10693106"/>
              <a:gd name="connsiteY32-32096" fmla="*/ 79942 h 5292022"/>
              <a:gd name="connsiteX33-32097" fmla="*/ 3741973 w 10693106"/>
              <a:gd name="connsiteY33-32098" fmla="*/ 86561 h 5292022"/>
              <a:gd name="connsiteX34-32099" fmla="*/ 3794678 w 10693106"/>
              <a:gd name="connsiteY34-32100" fmla="*/ 101321 h 5292022"/>
              <a:gd name="connsiteX35-32101" fmla="*/ 3833625 w 10693106"/>
              <a:gd name="connsiteY35-32102" fmla="*/ 110846 h 5292022"/>
              <a:gd name="connsiteX36-32103" fmla="*/ 3892487 w 10693106"/>
              <a:gd name="connsiteY36-32104" fmla="*/ 116984 h 5292022"/>
              <a:gd name="connsiteX37-32105" fmla="*/ 3933108 w 10693106"/>
              <a:gd name="connsiteY37-32106" fmla="*/ 128837 h 5292022"/>
              <a:gd name="connsiteX38-32107" fmla="*/ 3976923 w 10693106"/>
              <a:gd name="connsiteY38-32108" fmla="*/ 135187 h 5292022"/>
              <a:gd name="connsiteX39-32109" fmla="*/ 4021373 w 10693106"/>
              <a:gd name="connsiteY39-32110" fmla="*/ 144289 h 5292022"/>
              <a:gd name="connsiteX40-32111" fmla="*/ 4055240 w 10693106"/>
              <a:gd name="connsiteY40-32112" fmla="*/ 152756 h 5292022"/>
              <a:gd name="connsiteX41-32113" fmla="*/ 4275373 w 10693106"/>
              <a:gd name="connsiteY41-32114" fmla="*/ 195089 h 5292022"/>
              <a:gd name="connsiteX42-32115" fmla="*/ 4402373 w 10693106"/>
              <a:gd name="connsiteY42-32116" fmla="*/ 228956 h 5292022"/>
              <a:gd name="connsiteX43-32117" fmla="*/ 4529373 w 10693106"/>
              <a:gd name="connsiteY43-32118" fmla="*/ 271289 h 5292022"/>
              <a:gd name="connsiteX44-32119" fmla="*/ 5045840 w 10693106"/>
              <a:gd name="connsiteY44-32120" fmla="*/ 423689 h 5292022"/>
              <a:gd name="connsiteX45-32121" fmla="*/ 5672373 w 10693106"/>
              <a:gd name="connsiteY45-32122" fmla="*/ 931689 h 5292022"/>
              <a:gd name="connsiteX46-32123" fmla="*/ 6839926 w 10693106"/>
              <a:gd name="connsiteY46-32124" fmla="*/ 1252152 h 5292022"/>
              <a:gd name="connsiteX47-32125" fmla="*/ 7703950 w 10693106"/>
              <a:gd name="connsiteY47-32126" fmla="*/ 1069696 h 5292022"/>
              <a:gd name="connsiteX48-32127" fmla="*/ 8652640 w 10693106"/>
              <a:gd name="connsiteY48-32128" fmla="*/ 677689 h 5292022"/>
              <a:gd name="connsiteX49-32129" fmla="*/ 8982840 w 10693106"/>
              <a:gd name="connsiteY49-32130" fmla="*/ 398289 h 5292022"/>
              <a:gd name="connsiteX50-32131" fmla="*/ 9380773 w 10693106"/>
              <a:gd name="connsiteY50-32132" fmla="*/ 355956 h 5292022"/>
              <a:gd name="connsiteX51-32133" fmla="*/ 9744840 w 10693106"/>
              <a:gd name="connsiteY51-32134" fmla="*/ 466022 h 5292022"/>
              <a:gd name="connsiteX52-32135" fmla="*/ 9888773 w 10693106"/>
              <a:gd name="connsiteY52-32136" fmla="*/ 508356 h 5292022"/>
              <a:gd name="connsiteX53-32137" fmla="*/ 9998840 w 10693106"/>
              <a:gd name="connsiteY53-32138" fmla="*/ 559156 h 5292022"/>
              <a:gd name="connsiteX54-32139" fmla="*/ 10083506 w 10693106"/>
              <a:gd name="connsiteY54-32140" fmla="*/ 618422 h 5292022"/>
              <a:gd name="connsiteX55-32141" fmla="*/ 10286706 w 10693106"/>
              <a:gd name="connsiteY55-32142" fmla="*/ 686156 h 5292022"/>
              <a:gd name="connsiteX56-32143" fmla="*/ 10388306 w 10693106"/>
              <a:gd name="connsiteY56-32144" fmla="*/ 889356 h 5292022"/>
              <a:gd name="connsiteX57-32145" fmla="*/ 10540706 w 10693106"/>
              <a:gd name="connsiteY57-32146" fmla="*/ 1261889 h 5292022"/>
              <a:gd name="connsiteX58-32147" fmla="*/ 10557640 w 10693106"/>
              <a:gd name="connsiteY58-32148" fmla="*/ 1346556 h 5292022"/>
              <a:gd name="connsiteX59-32149" fmla="*/ 10583040 w 10693106"/>
              <a:gd name="connsiteY59-32150" fmla="*/ 1448156 h 5292022"/>
              <a:gd name="connsiteX60-32151" fmla="*/ 10616906 w 10693106"/>
              <a:gd name="connsiteY60-32152" fmla="*/ 1651356 h 5292022"/>
              <a:gd name="connsiteX61-32153" fmla="*/ 10633840 w 10693106"/>
              <a:gd name="connsiteY61-32154" fmla="*/ 1736022 h 5292022"/>
              <a:gd name="connsiteX62-32155" fmla="*/ 10650773 w 10693106"/>
              <a:gd name="connsiteY62-32156" fmla="*/ 1769889 h 5292022"/>
              <a:gd name="connsiteX63-32157" fmla="*/ 10676173 w 10693106"/>
              <a:gd name="connsiteY63-32158" fmla="*/ 1854556 h 5292022"/>
              <a:gd name="connsiteX64-32159" fmla="*/ 10693106 w 10693106"/>
              <a:gd name="connsiteY64-32160" fmla="*/ 2006956 h 5292022"/>
              <a:gd name="connsiteX65-32161" fmla="*/ 10625373 w 10693106"/>
              <a:gd name="connsiteY65-32162" fmla="*/ 2227089 h 5292022"/>
              <a:gd name="connsiteX66-32163" fmla="*/ 10608440 w 10693106"/>
              <a:gd name="connsiteY66-32164" fmla="*/ 2252489 h 5292022"/>
              <a:gd name="connsiteX67-32165" fmla="*/ 10540706 w 10693106"/>
              <a:gd name="connsiteY67-32166" fmla="*/ 2396422 h 5292022"/>
              <a:gd name="connsiteX68-32167" fmla="*/ 10498373 w 10693106"/>
              <a:gd name="connsiteY68-32168" fmla="*/ 2481089 h 5292022"/>
              <a:gd name="connsiteX69-32169" fmla="*/ 10439106 w 10693106"/>
              <a:gd name="connsiteY69-32170" fmla="*/ 2667356 h 5292022"/>
              <a:gd name="connsiteX70-32171" fmla="*/ 10430640 w 10693106"/>
              <a:gd name="connsiteY70-32172" fmla="*/ 2709689 h 5292022"/>
              <a:gd name="connsiteX71-32173" fmla="*/ 10405240 w 10693106"/>
              <a:gd name="connsiteY71-32174" fmla="*/ 2785889 h 5292022"/>
              <a:gd name="connsiteX72-32175" fmla="*/ 10396773 w 10693106"/>
              <a:gd name="connsiteY72-32176" fmla="*/ 2819756 h 5292022"/>
              <a:gd name="connsiteX73-32177" fmla="*/ 10362906 w 10693106"/>
              <a:gd name="connsiteY73-32178" fmla="*/ 2912889 h 5292022"/>
              <a:gd name="connsiteX74-32179" fmla="*/ 10329040 w 10693106"/>
              <a:gd name="connsiteY74-32180" fmla="*/ 2955222 h 5292022"/>
              <a:gd name="connsiteX75-32181" fmla="*/ 10227440 w 10693106"/>
              <a:gd name="connsiteY75-32182" fmla="*/ 3056822 h 5292022"/>
              <a:gd name="connsiteX76-32183" fmla="*/ 10168173 w 10693106"/>
              <a:gd name="connsiteY76-32184" fmla="*/ 3124556 h 5292022"/>
              <a:gd name="connsiteX77-32185" fmla="*/ 10117373 w 10693106"/>
              <a:gd name="connsiteY77-32186" fmla="*/ 3175356 h 5292022"/>
              <a:gd name="connsiteX78-32187" fmla="*/ 10032706 w 10693106"/>
              <a:gd name="connsiteY78-32188" fmla="*/ 3276956 h 5292022"/>
              <a:gd name="connsiteX79-32189" fmla="*/ 9948040 w 10693106"/>
              <a:gd name="connsiteY79-32190" fmla="*/ 3336222 h 5292022"/>
              <a:gd name="connsiteX80-32191" fmla="*/ 9905706 w 10693106"/>
              <a:gd name="connsiteY80-32192" fmla="*/ 3361622 h 5292022"/>
              <a:gd name="connsiteX81-32193" fmla="*/ 9829506 w 10693106"/>
              <a:gd name="connsiteY81-32194" fmla="*/ 3378556 h 5292022"/>
              <a:gd name="connsiteX82-32195" fmla="*/ 9727906 w 10693106"/>
              <a:gd name="connsiteY82-32196" fmla="*/ 3420889 h 5292022"/>
              <a:gd name="connsiteX83-32197" fmla="*/ 9634773 w 10693106"/>
              <a:gd name="connsiteY83-32198" fmla="*/ 3446289 h 5292022"/>
              <a:gd name="connsiteX84-32199" fmla="*/ 9456973 w 10693106"/>
              <a:gd name="connsiteY84-32200" fmla="*/ 3539422 h 5292022"/>
              <a:gd name="connsiteX85-32201" fmla="*/ 9313040 w 10693106"/>
              <a:gd name="connsiteY85-32202" fmla="*/ 3666422 h 5292022"/>
              <a:gd name="connsiteX86-32203" fmla="*/ 9279173 w 10693106"/>
              <a:gd name="connsiteY86-32204" fmla="*/ 3683356 h 5292022"/>
              <a:gd name="connsiteX87-32205" fmla="*/ 9067506 w 10693106"/>
              <a:gd name="connsiteY87-32206" fmla="*/ 3861156 h 5292022"/>
              <a:gd name="connsiteX88-32207" fmla="*/ 8999773 w 10693106"/>
              <a:gd name="connsiteY88-32208" fmla="*/ 3928889 h 5292022"/>
              <a:gd name="connsiteX89-32209" fmla="*/ 8813506 w 10693106"/>
              <a:gd name="connsiteY89-32210" fmla="*/ 4064356 h 5292022"/>
              <a:gd name="connsiteX90-32211" fmla="*/ 8728840 w 10693106"/>
              <a:gd name="connsiteY90-32212" fmla="*/ 4106689 h 5292022"/>
              <a:gd name="connsiteX91-32213" fmla="*/ 8373240 w 10693106"/>
              <a:gd name="connsiteY91-32214" fmla="*/ 4140556 h 5292022"/>
              <a:gd name="connsiteX92-32215" fmla="*/ 7966840 w 10693106"/>
              <a:gd name="connsiteY92-32216" fmla="*/ 4233689 h 5292022"/>
              <a:gd name="connsiteX93-32217" fmla="*/ 7687440 w 10693106"/>
              <a:gd name="connsiteY93-32218" fmla="*/ 4394556 h 5292022"/>
              <a:gd name="connsiteX94-32219" fmla="*/ 7551973 w 10693106"/>
              <a:gd name="connsiteY94-32220" fmla="*/ 4479222 h 5292022"/>
              <a:gd name="connsiteX95-32221" fmla="*/ 7374173 w 10693106"/>
              <a:gd name="connsiteY95-32222" fmla="*/ 4657022 h 5292022"/>
              <a:gd name="connsiteX96-32223" fmla="*/ 7374173 w 10693106"/>
              <a:gd name="connsiteY96-32224" fmla="*/ 4657022 h 5292022"/>
              <a:gd name="connsiteX97-32225" fmla="*/ 7221773 w 10693106"/>
              <a:gd name="connsiteY97-32226" fmla="*/ 4775556 h 5292022"/>
              <a:gd name="connsiteX98-32227" fmla="*/ 7027040 w 10693106"/>
              <a:gd name="connsiteY98-32228" fmla="*/ 4902556 h 5292022"/>
              <a:gd name="connsiteX99-32229" fmla="*/ 6883106 w 10693106"/>
              <a:gd name="connsiteY99-32230" fmla="*/ 4970289 h 5292022"/>
              <a:gd name="connsiteX100-32231" fmla="*/ 6815373 w 10693106"/>
              <a:gd name="connsiteY100-32232" fmla="*/ 5012622 h 5292022"/>
              <a:gd name="connsiteX101-32233" fmla="*/ 6646040 w 10693106"/>
              <a:gd name="connsiteY101-32234" fmla="*/ 5105756 h 5292022"/>
              <a:gd name="connsiteX102-32235" fmla="*/ 6527506 w 10693106"/>
              <a:gd name="connsiteY102-32236" fmla="*/ 5165022 h 5292022"/>
              <a:gd name="connsiteX103-32237" fmla="*/ 6298906 w 10693106"/>
              <a:gd name="connsiteY103-32238" fmla="*/ 5241222 h 5292022"/>
              <a:gd name="connsiteX104-32239" fmla="*/ 6197306 w 10693106"/>
              <a:gd name="connsiteY104-32240" fmla="*/ 5266622 h 5292022"/>
              <a:gd name="connsiteX105-32241" fmla="*/ 6061840 w 10693106"/>
              <a:gd name="connsiteY105-32242" fmla="*/ 5275089 h 5292022"/>
              <a:gd name="connsiteX106-32243" fmla="*/ 5917906 w 10693106"/>
              <a:gd name="connsiteY106-32244" fmla="*/ 5292022 h 5292022"/>
              <a:gd name="connsiteX107-32245" fmla="*/ 5748573 w 10693106"/>
              <a:gd name="connsiteY107-32246" fmla="*/ 5283556 h 5292022"/>
              <a:gd name="connsiteX108-32247" fmla="*/ 5282906 w 10693106"/>
              <a:gd name="connsiteY108-32248" fmla="*/ 5173489 h 5292022"/>
              <a:gd name="connsiteX109-32249" fmla="*/ 5138973 w 10693106"/>
              <a:gd name="connsiteY109-32250" fmla="*/ 5071889 h 5292022"/>
              <a:gd name="connsiteX110-32251" fmla="*/ 4959480 w 10693106"/>
              <a:gd name="connsiteY110-32252" fmla="*/ 4988069 h 5292022"/>
              <a:gd name="connsiteX111-32253" fmla="*/ 4842216 w 10693106"/>
              <a:gd name="connsiteY111-32254" fmla="*/ 4953779 h 5292022"/>
              <a:gd name="connsiteX112-32255" fmla="*/ 4797343 w 10693106"/>
              <a:gd name="connsiteY112-32256" fmla="*/ 4878426 h 5292022"/>
              <a:gd name="connsiteX113-32257" fmla="*/ 4686853 w 10693106"/>
              <a:gd name="connsiteY113-32258" fmla="*/ 4788256 h 5292022"/>
              <a:gd name="connsiteX114-32259" fmla="*/ 3977346 w 10693106"/>
              <a:gd name="connsiteY114-32260" fmla="*/ 4470544 h 5292022"/>
              <a:gd name="connsiteX115-32261" fmla="*/ 3741550 w 10693106"/>
              <a:gd name="connsiteY115-32262" fmla="*/ 4154102 h 5292022"/>
              <a:gd name="connsiteX116-32263" fmla="*/ 3562056 w 10693106"/>
              <a:gd name="connsiteY116-32264" fmla="*/ 3406919 h 5292022"/>
              <a:gd name="connsiteX117-32265" fmla="*/ 3242440 w 10693106"/>
              <a:gd name="connsiteY117-32266" fmla="*/ 3099156 h 5292022"/>
              <a:gd name="connsiteX118-32267" fmla="*/ 3123906 w 10693106"/>
              <a:gd name="connsiteY118-32268" fmla="*/ 2997556 h 5292022"/>
              <a:gd name="connsiteX119-32269" fmla="*/ 2988440 w 10693106"/>
              <a:gd name="connsiteY119-32270" fmla="*/ 2802822 h 5292022"/>
              <a:gd name="connsiteX120-32271" fmla="*/ 2971506 w 10693106"/>
              <a:gd name="connsiteY120-32272" fmla="*/ 2743556 h 5292022"/>
              <a:gd name="connsiteX121-32273" fmla="*/ 2996906 w 10693106"/>
              <a:gd name="connsiteY121-32274" fmla="*/ 2531889 h 5292022"/>
              <a:gd name="connsiteX122-32275" fmla="*/ 3013840 w 10693106"/>
              <a:gd name="connsiteY122-32276" fmla="*/ 2430289 h 5292022"/>
              <a:gd name="connsiteX123-32277" fmla="*/ 3005373 w 10693106"/>
              <a:gd name="connsiteY123-32278" fmla="*/ 2311756 h 5292022"/>
              <a:gd name="connsiteX124-32279" fmla="*/ 2988440 w 10693106"/>
              <a:gd name="connsiteY124-32280" fmla="*/ 2260956 h 5292022"/>
              <a:gd name="connsiteX125-32281" fmla="*/ 2802173 w 10693106"/>
              <a:gd name="connsiteY125-32282" fmla="*/ 2006956 h 5292022"/>
              <a:gd name="connsiteX126-32283" fmla="*/ 2641306 w 10693106"/>
              <a:gd name="connsiteY126-32284" fmla="*/ 1863022 h 5292022"/>
              <a:gd name="connsiteX127-32285" fmla="*/ 2590506 w 10693106"/>
              <a:gd name="connsiteY127-32286" fmla="*/ 1837622 h 5292022"/>
              <a:gd name="connsiteX128-32287" fmla="*/ 2531240 w 10693106"/>
              <a:gd name="connsiteY128-32288" fmla="*/ 1829156 h 5292022"/>
              <a:gd name="connsiteX129-32289" fmla="*/ 2446573 w 10693106"/>
              <a:gd name="connsiteY129-32290" fmla="*/ 1812222 h 5292022"/>
              <a:gd name="connsiteX130-32291" fmla="*/ 2251840 w 10693106"/>
              <a:gd name="connsiteY130-32292" fmla="*/ 1837622 h 5292022"/>
              <a:gd name="connsiteX131-32293" fmla="*/ 2167173 w 10693106"/>
              <a:gd name="connsiteY131-32294" fmla="*/ 1879956 h 5292022"/>
              <a:gd name="connsiteX132-32295" fmla="*/ 1980906 w 10693106"/>
              <a:gd name="connsiteY132-32296" fmla="*/ 1939222 h 5292022"/>
              <a:gd name="connsiteX133-32297" fmla="*/ 1904706 w 10693106"/>
              <a:gd name="connsiteY133-32298" fmla="*/ 1973089 h 5292022"/>
              <a:gd name="connsiteX134-32299" fmla="*/ 1828506 w 10693106"/>
              <a:gd name="connsiteY134-32300" fmla="*/ 1990022 h 5292022"/>
              <a:gd name="connsiteX135-32301" fmla="*/ 1726906 w 10693106"/>
              <a:gd name="connsiteY135-32302" fmla="*/ 2040822 h 5292022"/>
              <a:gd name="connsiteX136-32303" fmla="*/ 1659173 w 10693106"/>
              <a:gd name="connsiteY136-32304" fmla="*/ 2074689 h 5292022"/>
              <a:gd name="connsiteX137-32305" fmla="*/ 1498306 w 10693106"/>
              <a:gd name="connsiteY137-32306" fmla="*/ 2100089 h 5292022"/>
              <a:gd name="connsiteX138-32307" fmla="*/ 914106 w 10693106"/>
              <a:gd name="connsiteY138-32308" fmla="*/ 2032356 h 5292022"/>
              <a:gd name="connsiteX139-32309" fmla="*/ 617773 w 10693106"/>
              <a:gd name="connsiteY139-32310" fmla="*/ 1922289 h 5292022"/>
              <a:gd name="connsiteX140-32311" fmla="*/ 516173 w 10693106"/>
              <a:gd name="connsiteY140-32312" fmla="*/ 1837622 h 5292022"/>
              <a:gd name="connsiteX141-32313" fmla="*/ 355306 w 10693106"/>
              <a:gd name="connsiteY141-32314" fmla="*/ 1625956 h 5292022"/>
              <a:gd name="connsiteX142-32315" fmla="*/ 296040 w 10693106"/>
              <a:gd name="connsiteY142-32316" fmla="*/ 1524356 h 5292022"/>
              <a:gd name="connsiteX143-32317" fmla="*/ 253706 w 10693106"/>
              <a:gd name="connsiteY143-32318" fmla="*/ 1346556 h 5292022"/>
              <a:gd name="connsiteX144-32319" fmla="*/ 245240 w 10693106"/>
              <a:gd name="connsiteY144-32320" fmla="*/ 1219556 h 5292022"/>
              <a:gd name="connsiteX145-32321" fmla="*/ 236773 w 10693106"/>
              <a:gd name="connsiteY145-32322" fmla="*/ 1117956 h 5292022"/>
              <a:gd name="connsiteX146-32323" fmla="*/ 245240 w 10693106"/>
              <a:gd name="connsiteY146-32324" fmla="*/ 847022 h 5292022"/>
              <a:gd name="connsiteX147-32325" fmla="*/ 236773 w 10693106"/>
              <a:gd name="connsiteY147-32326" fmla="*/ 703089 h 5292022"/>
              <a:gd name="connsiteX148-32327" fmla="*/ 109773 w 10693106"/>
              <a:gd name="connsiteY148-32328" fmla="*/ 559156 h 5292022"/>
              <a:gd name="connsiteX149-32329" fmla="*/ 58973 w 10693106"/>
              <a:gd name="connsiteY149-32330" fmla="*/ 482956 h 5292022"/>
              <a:gd name="connsiteX150-32331" fmla="*/ 16640 w 10693106"/>
              <a:gd name="connsiteY150-32332" fmla="*/ 432156 h 5292022"/>
              <a:gd name="connsiteX151-32333" fmla="*/ 8173 w 10693106"/>
              <a:gd name="connsiteY151-32334" fmla="*/ 389822 h 5292022"/>
              <a:gd name="connsiteX152-32335" fmla="*/ 16640 w 10693106"/>
              <a:gd name="connsiteY152-32336" fmla="*/ 339022 h 5292022"/>
              <a:gd name="connsiteX0-32337" fmla="*/ 16640 w 10693106"/>
              <a:gd name="connsiteY0-32338" fmla="*/ 339022 h 5292022"/>
              <a:gd name="connsiteX1-32339" fmla="*/ 58973 w 10693106"/>
              <a:gd name="connsiteY1-32340" fmla="*/ 245889 h 5292022"/>
              <a:gd name="connsiteX2-32341" fmla="*/ 109773 w 10693106"/>
              <a:gd name="connsiteY2-32342" fmla="*/ 178156 h 5292022"/>
              <a:gd name="connsiteX3-32343" fmla="*/ 202906 w 10693106"/>
              <a:gd name="connsiteY3-32344" fmla="*/ 93489 h 5292022"/>
              <a:gd name="connsiteX4-32345" fmla="*/ 236773 w 10693106"/>
              <a:gd name="connsiteY4-32346" fmla="*/ 68089 h 5292022"/>
              <a:gd name="connsiteX5-32347" fmla="*/ 335410 w 10693106"/>
              <a:gd name="connsiteY5-32348" fmla="*/ 58352 h 5292022"/>
              <a:gd name="connsiteX6-32349" fmla="*/ 382400 w 10693106"/>
              <a:gd name="connsiteY6-32350" fmla="*/ 51156 h 5292022"/>
              <a:gd name="connsiteX7-32351" fmla="*/ 434912 w 10693106"/>
              <a:gd name="connsiteY7-32352" fmla="*/ 70071 h 5292022"/>
              <a:gd name="connsiteX8-32353" fmla="*/ 492697 w 10693106"/>
              <a:gd name="connsiteY8-32354" fmla="*/ 74247 h 5292022"/>
              <a:gd name="connsiteX9-32355" fmla="*/ 822897 w 10693106"/>
              <a:gd name="connsiteY9-32356" fmla="*/ 82713 h 5292022"/>
              <a:gd name="connsiteX10-32357" fmla="*/ 1091906 w 10693106"/>
              <a:gd name="connsiteY10-32358" fmla="*/ 356 h 5292022"/>
              <a:gd name="connsiteX11-32359" fmla="*/ 1235840 w 10693106"/>
              <a:gd name="connsiteY11-32360" fmla="*/ 59622 h 5292022"/>
              <a:gd name="connsiteX12-32361" fmla="*/ 1337440 w 10693106"/>
              <a:gd name="connsiteY12-32362" fmla="*/ 135822 h 5292022"/>
              <a:gd name="connsiteX13-32363" fmla="*/ 1422106 w 10693106"/>
              <a:gd name="connsiteY13-32364" fmla="*/ 245889 h 5292022"/>
              <a:gd name="connsiteX14-32365" fmla="*/ 1481373 w 10693106"/>
              <a:gd name="connsiteY14-32366" fmla="*/ 313622 h 5292022"/>
              <a:gd name="connsiteX15-32367" fmla="*/ 1532173 w 10693106"/>
              <a:gd name="connsiteY15-32368" fmla="*/ 347489 h 5292022"/>
              <a:gd name="connsiteX16-32369" fmla="*/ 1684573 w 10693106"/>
              <a:gd name="connsiteY16-32370" fmla="*/ 406756 h 5292022"/>
              <a:gd name="connsiteX17-32371" fmla="*/ 1760773 w 10693106"/>
              <a:gd name="connsiteY17-32372" fmla="*/ 423689 h 5292022"/>
              <a:gd name="connsiteX18-32373" fmla="*/ 1997840 w 10693106"/>
              <a:gd name="connsiteY18-32374" fmla="*/ 415222 h 5292022"/>
              <a:gd name="connsiteX19-32375" fmla="*/ 2116373 w 10693106"/>
              <a:gd name="connsiteY19-32376" fmla="*/ 398289 h 5292022"/>
              <a:gd name="connsiteX20-32377" fmla="*/ 2260306 w 10693106"/>
              <a:gd name="connsiteY20-32378" fmla="*/ 381356 h 5292022"/>
              <a:gd name="connsiteX21-32379" fmla="*/ 2404240 w 10693106"/>
              <a:gd name="connsiteY21-32380" fmla="*/ 355956 h 5292022"/>
              <a:gd name="connsiteX22-32381" fmla="*/ 2455040 w 10693106"/>
              <a:gd name="connsiteY22-32382" fmla="*/ 330556 h 5292022"/>
              <a:gd name="connsiteX23-32383" fmla="*/ 2531240 w 10693106"/>
              <a:gd name="connsiteY23-32384" fmla="*/ 305156 h 5292022"/>
              <a:gd name="connsiteX24-32385" fmla="*/ 2649350 w 10693106"/>
              <a:gd name="connsiteY24-32386" fmla="*/ 225781 h 5292022"/>
              <a:gd name="connsiteX25-32387" fmla="*/ 2742906 w 10693106"/>
              <a:gd name="connsiteY25-32388" fmla="*/ 186622 h 5292022"/>
              <a:gd name="connsiteX26-32389" fmla="*/ 2764920 w 10693106"/>
              <a:gd name="connsiteY26-32390" fmla="*/ 173076 h 5292022"/>
              <a:gd name="connsiteX27-32391" fmla="*/ 2832653 w 10693106"/>
              <a:gd name="connsiteY27-32392" fmla="*/ 167996 h 5292022"/>
              <a:gd name="connsiteX28-32393" fmla="*/ 3002294 w 10693106"/>
              <a:gd name="connsiteY28-32394" fmla="*/ 154680 h 5292022"/>
              <a:gd name="connsiteX29-32395" fmla="*/ 3142763 w 10693106"/>
              <a:gd name="connsiteY29-32396" fmla="*/ 110421 h 5292022"/>
              <a:gd name="connsiteX30-32397" fmla="*/ 3398918 w 10693106"/>
              <a:gd name="connsiteY30-32398" fmla="*/ 72322 h 5292022"/>
              <a:gd name="connsiteX31-32399" fmla="*/ 3606506 w 10693106"/>
              <a:gd name="connsiteY31-32400" fmla="*/ 60393 h 5292022"/>
              <a:gd name="connsiteX32-32401" fmla="*/ 3682706 w 10693106"/>
              <a:gd name="connsiteY32-32402" fmla="*/ 79942 h 5292022"/>
              <a:gd name="connsiteX33-32403" fmla="*/ 3741973 w 10693106"/>
              <a:gd name="connsiteY33-32404" fmla="*/ 86561 h 5292022"/>
              <a:gd name="connsiteX34-32405" fmla="*/ 3794678 w 10693106"/>
              <a:gd name="connsiteY34-32406" fmla="*/ 101321 h 5292022"/>
              <a:gd name="connsiteX35-32407" fmla="*/ 3833625 w 10693106"/>
              <a:gd name="connsiteY35-32408" fmla="*/ 110846 h 5292022"/>
              <a:gd name="connsiteX36-32409" fmla="*/ 3892487 w 10693106"/>
              <a:gd name="connsiteY36-32410" fmla="*/ 116984 h 5292022"/>
              <a:gd name="connsiteX37-32411" fmla="*/ 3933108 w 10693106"/>
              <a:gd name="connsiteY37-32412" fmla="*/ 128837 h 5292022"/>
              <a:gd name="connsiteX38-32413" fmla="*/ 3976923 w 10693106"/>
              <a:gd name="connsiteY38-32414" fmla="*/ 135187 h 5292022"/>
              <a:gd name="connsiteX39-32415" fmla="*/ 4021373 w 10693106"/>
              <a:gd name="connsiteY39-32416" fmla="*/ 144289 h 5292022"/>
              <a:gd name="connsiteX40-32417" fmla="*/ 4055240 w 10693106"/>
              <a:gd name="connsiteY40-32418" fmla="*/ 152756 h 5292022"/>
              <a:gd name="connsiteX41-32419" fmla="*/ 4275373 w 10693106"/>
              <a:gd name="connsiteY41-32420" fmla="*/ 195089 h 5292022"/>
              <a:gd name="connsiteX42-32421" fmla="*/ 4402373 w 10693106"/>
              <a:gd name="connsiteY42-32422" fmla="*/ 228956 h 5292022"/>
              <a:gd name="connsiteX43-32423" fmla="*/ 4529373 w 10693106"/>
              <a:gd name="connsiteY43-32424" fmla="*/ 271289 h 5292022"/>
              <a:gd name="connsiteX44-32425" fmla="*/ 5045840 w 10693106"/>
              <a:gd name="connsiteY44-32426" fmla="*/ 423689 h 5292022"/>
              <a:gd name="connsiteX45-32427" fmla="*/ 5672373 w 10693106"/>
              <a:gd name="connsiteY45-32428" fmla="*/ 931689 h 5292022"/>
              <a:gd name="connsiteX46-32429" fmla="*/ 6839926 w 10693106"/>
              <a:gd name="connsiteY46-32430" fmla="*/ 1252152 h 5292022"/>
              <a:gd name="connsiteX47-32431" fmla="*/ 7703950 w 10693106"/>
              <a:gd name="connsiteY47-32432" fmla="*/ 1069696 h 5292022"/>
              <a:gd name="connsiteX48-32433" fmla="*/ 8652640 w 10693106"/>
              <a:gd name="connsiteY48-32434" fmla="*/ 677689 h 5292022"/>
              <a:gd name="connsiteX49-32435" fmla="*/ 8982840 w 10693106"/>
              <a:gd name="connsiteY49-32436" fmla="*/ 398289 h 5292022"/>
              <a:gd name="connsiteX50-32437" fmla="*/ 9380773 w 10693106"/>
              <a:gd name="connsiteY50-32438" fmla="*/ 355956 h 5292022"/>
              <a:gd name="connsiteX51-32439" fmla="*/ 9744840 w 10693106"/>
              <a:gd name="connsiteY51-32440" fmla="*/ 466022 h 5292022"/>
              <a:gd name="connsiteX52-32441" fmla="*/ 9888773 w 10693106"/>
              <a:gd name="connsiteY52-32442" fmla="*/ 508356 h 5292022"/>
              <a:gd name="connsiteX53-32443" fmla="*/ 9998840 w 10693106"/>
              <a:gd name="connsiteY53-32444" fmla="*/ 559156 h 5292022"/>
              <a:gd name="connsiteX54-32445" fmla="*/ 10083506 w 10693106"/>
              <a:gd name="connsiteY54-32446" fmla="*/ 618422 h 5292022"/>
              <a:gd name="connsiteX55-32447" fmla="*/ 10286706 w 10693106"/>
              <a:gd name="connsiteY55-32448" fmla="*/ 686156 h 5292022"/>
              <a:gd name="connsiteX56-32449" fmla="*/ 10388306 w 10693106"/>
              <a:gd name="connsiteY56-32450" fmla="*/ 889356 h 5292022"/>
              <a:gd name="connsiteX57-32451" fmla="*/ 10540706 w 10693106"/>
              <a:gd name="connsiteY57-32452" fmla="*/ 1261889 h 5292022"/>
              <a:gd name="connsiteX58-32453" fmla="*/ 10557640 w 10693106"/>
              <a:gd name="connsiteY58-32454" fmla="*/ 1346556 h 5292022"/>
              <a:gd name="connsiteX59-32455" fmla="*/ 10583040 w 10693106"/>
              <a:gd name="connsiteY59-32456" fmla="*/ 1448156 h 5292022"/>
              <a:gd name="connsiteX60-32457" fmla="*/ 10616906 w 10693106"/>
              <a:gd name="connsiteY60-32458" fmla="*/ 1651356 h 5292022"/>
              <a:gd name="connsiteX61-32459" fmla="*/ 10633840 w 10693106"/>
              <a:gd name="connsiteY61-32460" fmla="*/ 1736022 h 5292022"/>
              <a:gd name="connsiteX62-32461" fmla="*/ 10650773 w 10693106"/>
              <a:gd name="connsiteY62-32462" fmla="*/ 1769889 h 5292022"/>
              <a:gd name="connsiteX63-32463" fmla="*/ 10676173 w 10693106"/>
              <a:gd name="connsiteY63-32464" fmla="*/ 1854556 h 5292022"/>
              <a:gd name="connsiteX64-32465" fmla="*/ 10693106 w 10693106"/>
              <a:gd name="connsiteY64-32466" fmla="*/ 2006956 h 5292022"/>
              <a:gd name="connsiteX65-32467" fmla="*/ 10625373 w 10693106"/>
              <a:gd name="connsiteY65-32468" fmla="*/ 2227089 h 5292022"/>
              <a:gd name="connsiteX66-32469" fmla="*/ 10608440 w 10693106"/>
              <a:gd name="connsiteY66-32470" fmla="*/ 2252489 h 5292022"/>
              <a:gd name="connsiteX67-32471" fmla="*/ 10540706 w 10693106"/>
              <a:gd name="connsiteY67-32472" fmla="*/ 2396422 h 5292022"/>
              <a:gd name="connsiteX68-32473" fmla="*/ 10498373 w 10693106"/>
              <a:gd name="connsiteY68-32474" fmla="*/ 2481089 h 5292022"/>
              <a:gd name="connsiteX69-32475" fmla="*/ 10439106 w 10693106"/>
              <a:gd name="connsiteY69-32476" fmla="*/ 2667356 h 5292022"/>
              <a:gd name="connsiteX70-32477" fmla="*/ 10430640 w 10693106"/>
              <a:gd name="connsiteY70-32478" fmla="*/ 2709689 h 5292022"/>
              <a:gd name="connsiteX71-32479" fmla="*/ 10405240 w 10693106"/>
              <a:gd name="connsiteY71-32480" fmla="*/ 2785889 h 5292022"/>
              <a:gd name="connsiteX72-32481" fmla="*/ 10396773 w 10693106"/>
              <a:gd name="connsiteY72-32482" fmla="*/ 2819756 h 5292022"/>
              <a:gd name="connsiteX73-32483" fmla="*/ 10362906 w 10693106"/>
              <a:gd name="connsiteY73-32484" fmla="*/ 2912889 h 5292022"/>
              <a:gd name="connsiteX74-32485" fmla="*/ 10329040 w 10693106"/>
              <a:gd name="connsiteY74-32486" fmla="*/ 2955222 h 5292022"/>
              <a:gd name="connsiteX75-32487" fmla="*/ 10227440 w 10693106"/>
              <a:gd name="connsiteY75-32488" fmla="*/ 3056822 h 5292022"/>
              <a:gd name="connsiteX76-32489" fmla="*/ 10168173 w 10693106"/>
              <a:gd name="connsiteY76-32490" fmla="*/ 3124556 h 5292022"/>
              <a:gd name="connsiteX77-32491" fmla="*/ 10117373 w 10693106"/>
              <a:gd name="connsiteY77-32492" fmla="*/ 3175356 h 5292022"/>
              <a:gd name="connsiteX78-32493" fmla="*/ 10032706 w 10693106"/>
              <a:gd name="connsiteY78-32494" fmla="*/ 3276956 h 5292022"/>
              <a:gd name="connsiteX79-32495" fmla="*/ 9948040 w 10693106"/>
              <a:gd name="connsiteY79-32496" fmla="*/ 3336222 h 5292022"/>
              <a:gd name="connsiteX80-32497" fmla="*/ 9905706 w 10693106"/>
              <a:gd name="connsiteY80-32498" fmla="*/ 3361622 h 5292022"/>
              <a:gd name="connsiteX81-32499" fmla="*/ 9829506 w 10693106"/>
              <a:gd name="connsiteY81-32500" fmla="*/ 3378556 h 5292022"/>
              <a:gd name="connsiteX82-32501" fmla="*/ 9727906 w 10693106"/>
              <a:gd name="connsiteY82-32502" fmla="*/ 3420889 h 5292022"/>
              <a:gd name="connsiteX83-32503" fmla="*/ 9634773 w 10693106"/>
              <a:gd name="connsiteY83-32504" fmla="*/ 3446289 h 5292022"/>
              <a:gd name="connsiteX84-32505" fmla="*/ 9456973 w 10693106"/>
              <a:gd name="connsiteY84-32506" fmla="*/ 3539422 h 5292022"/>
              <a:gd name="connsiteX85-32507" fmla="*/ 9313040 w 10693106"/>
              <a:gd name="connsiteY85-32508" fmla="*/ 3666422 h 5292022"/>
              <a:gd name="connsiteX86-32509" fmla="*/ 9279173 w 10693106"/>
              <a:gd name="connsiteY86-32510" fmla="*/ 3683356 h 5292022"/>
              <a:gd name="connsiteX87-32511" fmla="*/ 9067506 w 10693106"/>
              <a:gd name="connsiteY87-32512" fmla="*/ 3861156 h 5292022"/>
              <a:gd name="connsiteX88-32513" fmla="*/ 8999773 w 10693106"/>
              <a:gd name="connsiteY88-32514" fmla="*/ 3928889 h 5292022"/>
              <a:gd name="connsiteX89-32515" fmla="*/ 8813506 w 10693106"/>
              <a:gd name="connsiteY89-32516" fmla="*/ 4064356 h 5292022"/>
              <a:gd name="connsiteX90-32517" fmla="*/ 8728840 w 10693106"/>
              <a:gd name="connsiteY90-32518" fmla="*/ 4106689 h 5292022"/>
              <a:gd name="connsiteX91-32519" fmla="*/ 8373240 w 10693106"/>
              <a:gd name="connsiteY91-32520" fmla="*/ 4140556 h 5292022"/>
              <a:gd name="connsiteX92-32521" fmla="*/ 7966840 w 10693106"/>
              <a:gd name="connsiteY92-32522" fmla="*/ 4233689 h 5292022"/>
              <a:gd name="connsiteX93-32523" fmla="*/ 7687440 w 10693106"/>
              <a:gd name="connsiteY93-32524" fmla="*/ 4394556 h 5292022"/>
              <a:gd name="connsiteX94-32525" fmla="*/ 7551973 w 10693106"/>
              <a:gd name="connsiteY94-32526" fmla="*/ 4479222 h 5292022"/>
              <a:gd name="connsiteX95-32527" fmla="*/ 7374173 w 10693106"/>
              <a:gd name="connsiteY95-32528" fmla="*/ 4657022 h 5292022"/>
              <a:gd name="connsiteX96-32529" fmla="*/ 7374173 w 10693106"/>
              <a:gd name="connsiteY96-32530" fmla="*/ 4657022 h 5292022"/>
              <a:gd name="connsiteX97-32531" fmla="*/ 7221773 w 10693106"/>
              <a:gd name="connsiteY97-32532" fmla="*/ 4775556 h 5292022"/>
              <a:gd name="connsiteX98-32533" fmla="*/ 7027040 w 10693106"/>
              <a:gd name="connsiteY98-32534" fmla="*/ 4902556 h 5292022"/>
              <a:gd name="connsiteX99-32535" fmla="*/ 6883106 w 10693106"/>
              <a:gd name="connsiteY99-32536" fmla="*/ 4970289 h 5292022"/>
              <a:gd name="connsiteX100-32537" fmla="*/ 6815373 w 10693106"/>
              <a:gd name="connsiteY100-32538" fmla="*/ 5012622 h 5292022"/>
              <a:gd name="connsiteX101-32539" fmla="*/ 6646040 w 10693106"/>
              <a:gd name="connsiteY101-32540" fmla="*/ 5105756 h 5292022"/>
              <a:gd name="connsiteX102-32541" fmla="*/ 6527506 w 10693106"/>
              <a:gd name="connsiteY102-32542" fmla="*/ 5165022 h 5292022"/>
              <a:gd name="connsiteX103-32543" fmla="*/ 6298906 w 10693106"/>
              <a:gd name="connsiteY103-32544" fmla="*/ 5241222 h 5292022"/>
              <a:gd name="connsiteX104-32545" fmla="*/ 6197306 w 10693106"/>
              <a:gd name="connsiteY104-32546" fmla="*/ 5266622 h 5292022"/>
              <a:gd name="connsiteX105-32547" fmla="*/ 6061840 w 10693106"/>
              <a:gd name="connsiteY105-32548" fmla="*/ 5275089 h 5292022"/>
              <a:gd name="connsiteX106-32549" fmla="*/ 5917906 w 10693106"/>
              <a:gd name="connsiteY106-32550" fmla="*/ 5292022 h 5292022"/>
              <a:gd name="connsiteX107-32551" fmla="*/ 5748573 w 10693106"/>
              <a:gd name="connsiteY107-32552" fmla="*/ 5283556 h 5292022"/>
              <a:gd name="connsiteX108-32553" fmla="*/ 5282906 w 10693106"/>
              <a:gd name="connsiteY108-32554" fmla="*/ 5173489 h 5292022"/>
              <a:gd name="connsiteX109-32555" fmla="*/ 5138973 w 10693106"/>
              <a:gd name="connsiteY109-32556" fmla="*/ 5071889 h 5292022"/>
              <a:gd name="connsiteX110-32557" fmla="*/ 4959480 w 10693106"/>
              <a:gd name="connsiteY110-32558" fmla="*/ 4988069 h 5292022"/>
              <a:gd name="connsiteX111-32559" fmla="*/ 4797343 w 10693106"/>
              <a:gd name="connsiteY111-32560" fmla="*/ 4878426 h 5292022"/>
              <a:gd name="connsiteX112-32561" fmla="*/ 4686853 w 10693106"/>
              <a:gd name="connsiteY112-32562" fmla="*/ 4788256 h 5292022"/>
              <a:gd name="connsiteX113-32563" fmla="*/ 3977346 w 10693106"/>
              <a:gd name="connsiteY113-32564" fmla="*/ 4470544 h 5292022"/>
              <a:gd name="connsiteX114-32565" fmla="*/ 3741550 w 10693106"/>
              <a:gd name="connsiteY114-32566" fmla="*/ 4154102 h 5292022"/>
              <a:gd name="connsiteX115-32567" fmla="*/ 3562056 w 10693106"/>
              <a:gd name="connsiteY115-32568" fmla="*/ 3406919 h 5292022"/>
              <a:gd name="connsiteX116-32569" fmla="*/ 3242440 w 10693106"/>
              <a:gd name="connsiteY116-32570" fmla="*/ 3099156 h 5292022"/>
              <a:gd name="connsiteX117-32571" fmla="*/ 3123906 w 10693106"/>
              <a:gd name="connsiteY117-32572" fmla="*/ 2997556 h 5292022"/>
              <a:gd name="connsiteX118-32573" fmla="*/ 2988440 w 10693106"/>
              <a:gd name="connsiteY118-32574" fmla="*/ 2802822 h 5292022"/>
              <a:gd name="connsiteX119-32575" fmla="*/ 2971506 w 10693106"/>
              <a:gd name="connsiteY119-32576" fmla="*/ 2743556 h 5292022"/>
              <a:gd name="connsiteX120-32577" fmla="*/ 2996906 w 10693106"/>
              <a:gd name="connsiteY120-32578" fmla="*/ 2531889 h 5292022"/>
              <a:gd name="connsiteX121-32579" fmla="*/ 3013840 w 10693106"/>
              <a:gd name="connsiteY121-32580" fmla="*/ 2430289 h 5292022"/>
              <a:gd name="connsiteX122-32581" fmla="*/ 3005373 w 10693106"/>
              <a:gd name="connsiteY122-32582" fmla="*/ 2311756 h 5292022"/>
              <a:gd name="connsiteX123-32583" fmla="*/ 2988440 w 10693106"/>
              <a:gd name="connsiteY123-32584" fmla="*/ 2260956 h 5292022"/>
              <a:gd name="connsiteX124-32585" fmla="*/ 2802173 w 10693106"/>
              <a:gd name="connsiteY124-32586" fmla="*/ 2006956 h 5292022"/>
              <a:gd name="connsiteX125-32587" fmla="*/ 2641306 w 10693106"/>
              <a:gd name="connsiteY125-32588" fmla="*/ 1863022 h 5292022"/>
              <a:gd name="connsiteX126-32589" fmla="*/ 2590506 w 10693106"/>
              <a:gd name="connsiteY126-32590" fmla="*/ 1837622 h 5292022"/>
              <a:gd name="connsiteX127-32591" fmla="*/ 2531240 w 10693106"/>
              <a:gd name="connsiteY127-32592" fmla="*/ 1829156 h 5292022"/>
              <a:gd name="connsiteX128-32593" fmla="*/ 2446573 w 10693106"/>
              <a:gd name="connsiteY128-32594" fmla="*/ 1812222 h 5292022"/>
              <a:gd name="connsiteX129-32595" fmla="*/ 2251840 w 10693106"/>
              <a:gd name="connsiteY129-32596" fmla="*/ 1837622 h 5292022"/>
              <a:gd name="connsiteX130-32597" fmla="*/ 2167173 w 10693106"/>
              <a:gd name="connsiteY130-32598" fmla="*/ 1879956 h 5292022"/>
              <a:gd name="connsiteX131-32599" fmla="*/ 1980906 w 10693106"/>
              <a:gd name="connsiteY131-32600" fmla="*/ 1939222 h 5292022"/>
              <a:gd name="connsiteX132-32601" fmla="*/ 1904706 w 10693106"/>
              <a:gd name="connsiteY132-32602" fmla="*/ 1973089 h 5292022"/>
              <a:gd name="connsiteX133-32603" fmla="*/ 1828506 w 10693106"/>
              <a:gd name="connsiteY133-32604" fmla="*/ 1990022 h 5292022"/>
              <a:gd name="connsiteX134-32605" fmla="*/ 1726906 w 10693106"/>
              <a:gd name="connsiteY134-32606" fmla="*/ 2040822 h 5292022"/>
              <a:gd name="connsiteX135-32607" fmla="*/ 1659173 w 10693106"/>
              <a:gd name="connsiteY135-32608" fmla="*/ 2074689 h 5292022"/>
              <a:gd name="connsiteX136-32609" fmla="*/ 1498306 w 10693106"/>
              <a:gd name="connsiteY136-32610" fmla="*/ 2100089 h 5292022"/>
              <a:gd name="connsiteX137-32611" fmla="*/ 914106 w 10693106"/>
              <a:gd name="connsiteY137-32612" fmla="*/ 2032356 h 5292022"/>
              <a:gd name="connsiteX138-32613" fmla="*/ 617773 w 10693106"/>
              <a:gd name="connsiteY138-32614" fmla="*/ 1922289 h 5292022"/>
              <a:gd name="connsiteX139-32615" fmla="*/ 516173 w 10693106"/>
              <a:gd name="connsiteY139-32616" fmla="*/ 1837622 h 5292022"/>
              <a:gd name="connsiteX140-32617" fmla="*/ 355306 w 10693106"/>
              <a:gd name="connsiteY140-32618" fmla="*/ 1625956 h 5292022"/>
              <a:gd name="connsiteX141-32619" fmla="*/ 296040 w 10693106"/>
              <a:gd name="connsiteY141-32620" fmla="*/ 1524356 h 5292022"/>
              <a:gd name="connsiteX142-32621" fmla="*/ 253706 w 10693106"/>
              <a:gd name="connsiteY142-32622" fmla="*/ 1346556 h 5292022"/>
              <a:gd name="connsiteX143-32623" fmla="*/ 245240 w 10693106"/>
              <a:gd name="connsiteY143-32624" fmla="*/ 1219556 h 5292022"/>
              <a:gd name="connsiteX144-32625" fmla="*/ 236773 w 10693106"/>
              <a:gd name="connsiteY144-32626" fmla="*/ 1117956 h 5292022"/>
              <a:gd name="connsiteX145-32627" fmla="*/ 245240 w 10693106"/>
              <a:gd name="connsiteY145-32628" fmla="*/ 847022 h 5292022"/>
              <a:gd name="connsiteX146-32629" fmla="*/ 236773 w 10693106"/>
              <a:gd name="connsiteY146-32630" fmla="*/ 703089 h 5292022"/>
              <a:gd name="connsiteX147-32631" fmla="*/ 109773 w 10693106"/>
              <a:gd name="connsiteY147-32632" fmla="*/ 559156 h 5292022"/>
              <a:gd name="connsiteX148-32633" fmla="*/ 58973 w 10693106"/>
              <a:gd name="connsiteY148-32634" fmla="*/ 482956 h 5292022"/>
              <a:gd name="connsiteX149-32635" fmla="*/ 16640 w 10693106"/>
              <a:gd name="connsiteY149-32636" fmla="*/ 432156 h 5292022"/>
              <a:gd name="connsiteX150-32637" fmla="*/ 8173 w 10693106"/>
              <a:gd name="connsiteY150-32638" fmla="*/ 389822 h 5292022"/>
              <a:gd name="connsiteX151-32639" fmla="*/ 16640 w 10693106"/>
              <a:gd name="connsiteY151-32640" fmla="*/ 339022 h 5292022"/>
              <a:gd name="connsiteX0-32641" fmla="*/ 16640 w 10693106"/>
              <a:gd name="connsiteY0-32642" fmla="*/ 339022 h 5292022"/>
              <a:gd name="connsiteX1-32643" fmla="*/ 58973 w 10693106"/>
              <a:gd name="connsiteY1-32644" fmla="*/ 245889 h 5292022"/>
              <a:gd name="connsiteX2-32645" fmla="*/ 109773 w 10693106"/>
              <a:gd name="connsiteY2-32646" fmla="*/ 178156 h 5292022"/>
              <a:gd name="connsiteX3-32647" fmla="*/ 202906 w 10693106"/>
              <a:gd name="connsiteY3-32648" fmla="*/ 93489 h 5292022"/>
              <a:gd name="connsiteX4-32649" fmla="*/ 236773 w 10693106"/>
              <a:gd name="connsiteY4-32650" fmla="*/ 68089 h 5292022"/>
              <a:gd name="connsiteX5-32651" fmla="*/ 335410 w 10693106"/>
              <a:gd name="connsiteY5-32652" fmla="*/ 58352 h 5292022"/>
              <a:gd name="connsiteX6-32653" fmla="*/ 382400 w 10693106"/>
              <a:gd name="connsiteY6-32654" fmla="*/ 51156 h 5292022"/>
              <a:gd name="connsiteX7-32655" fmla="*/ 434912 w 10693106"/>
              <a:gd name="connsiteY7-32656" fmla="*/ 70071 h 5292022"/>
              <a:gd name="connsiteX8-32657" fmla="*/ 492697 w 10693106"/>
              <a:gd name="connsiteY8-32658" fmla="*/ 74247 h 5292022"/>
              <a:gd name="connsiteX9-32659" fmla="*/ 822897 w 10693106"/>
              <a:gd name="connsiteY9-32660" fmla="*/ 82713 h 5292022"/>
              <a:gd name="connsiteX10-32661" fmla="*/ 1091906 w 10693106"/>
              <a:gd name="connsiteY10-32662" fmla="*/ 356 h 5292022"/>
              <a:gd name="connsiteX11-32663" fmla="*/ 1235840 w 10693106"/>
              <a:gd name="connsiteY11-32664" fmla="*/ 59622 h 5292022"/>
              <a:gd name="connsiteX12-32665" fmla="*/ 1337440 w 10693106"/>
              <a:gd name="connsiteY12-32666" fmla="*/ 135822 h 5292022"/>
              <a:gd name="connsiteX13-32667" fmla="*/ 1422106 w 10693106"/>
              <a:gd name="connsiteY13-32668" fmla="*/ 245889 h 5292022"/>
              <a:gd name="connsiteX14-32669" fmla="*/ 1481373 w 10693106"/>
              <a:gd name="connsiteY14-32670" fmla="*/ 313622 h 5292022"/>
              <a:gd name="connsiteX15-32671" fmla="*/ 1532173 w 10693106"/>
              <a:gd name="connsiteY15-32672" fmla="*/ 347489 h 5292022"/>
              <a:gd name="connsiteX16-32673" fmla="*/ 1684573 w 10693106"/>
              <a:gd name="connsiteY16-32674" fmla="*/ 406756 h 5292022"/>
              <a:gd name="connsiteX17-32675" fmla="*/ 1760773 w 10693106"/>
              <a:gd name="connsiteY17-32676" fmla="*/ 423689 h 5292022"/>
              <a:gd name="connsiteX18-32677" fmla="*/ 1997840 w 10693106"/>
              <a:gd name="connsiteY18-32678" fmla="*/ 415222 h 5292022"/>
              <a:gd name="connsiteX19-32679" fmla="*/ 2116373 w 10693106"/>
              <a:gd name="connsiteY19-32680" fmla="*/ 398289 h 5292022"/>
              <a:gd name="connsiteX20-32681" fmla="*/ 2260306 w 10693106"/>
              <a:gd name="connsiteY20-32682" fmla="*/ 381356 h 5292022"/>
              <a:gd name="connsiteX21-32683" fmla="*/ 2404240 w 10693106"/>
              <a:gd name="connsiteY21-32684" fmla="*/ 355956 h 5292022"/>
              <a:gd name="connsiteX22-32685" fmla="*/ 2455040 w 10693106"/>
              <a:gd name="connsiteY22-32686" fmla="*/ 330556 h 5292022"/>
              <a:gd name="connsiteX23-32687" fmla="*/ 2531240 w 10693106"/>
              <a:gd name="connsiteY23-32688" fmla="*/ 305156 h 5292022"/>
              <a:gd name="connsiteX24-32689" fmla="*/ 2649350 w 10693106"/>
              <a:gd name="connsiteY24-32690" fmla="*/ 225781 h 5292022"/>
              <a:gd name="connsiteX25-32691" fmla="*/ 2742906 w 10693106"/>
              <a:gd name="connsiteY25-32692" fmla="*/ 186622 h 5292022"/>
              <a:gd name="connsiteX26-32693" fmla="*/ 2764920 w 10693106"/>
              <a:gd name="connsiteY26-32694" fmla="*/ 173076 h 5292022"/>
              <a:gd name="connsiteX27-32695" fmla="*/ 2832653 w 10693106"/>
              <a:gd name="connsiteY27-32696" fmla="*/ 167996 h 5292022"/>
              <a:gd name="connsiteX28-32697" fmla="*/ 3002294 w 10693106"/>
              <a:gd name="connsiteY28-32698" fmla="*/ 154680 h 5292022"/>
              <a:gd name="connsiteX29-32699" fmla="*/ 3142763 w 10693106"/>
              <a:gd name="connsiteY29-32700" fmla="*/ 110421 h 5292022"/>
              <a:gd name="connsiteX30-32701" fmla="*/ 3398918 w 10693106"/>
              <a:gd name="connsiteY30-32702" fmla="*/ 72322 h 5292022"/>
              <a:gd name="connsiteX31-32703" fmla="*/ 3606506 w 10693106"/>
              <a:gd name="connsiteY31-32704" fmla="*/ 60393 h 5292022"/>
              <a:gd name="connsiteX32-32705" fmla="*/ 3682706 w 10693106"/>
              <a:gd name="connsiteY32-32706" fmla="*/ 79942 h 5292022"/>
              <a:gd name="connsiteX33-32707" fmla="*/ 3741973 w 10693106"/>
              <a:gd name="connsiteY33-32708" fmla="*/ 86561 h 5292022"/>
              <a:gd name="connsiteX34-32709" fmla="*/ 3794678 w 10693106"/>
              <a:gd name="connsiteY34-32710" fmla="*/ 101321 h 5292022"/>
              <a:gd name="connsiteX35-32711" fmla="*/ 3833625 w 10693106"/>
              <a:gd name="connsiteY35-32712" fmla="*/ 110846 h 5292022"/>
              <a:gd name="connsiteX36-32713" fmla="*/ 3892487 w 10693106"/>
              <a:gd name="connsiteY36-32714" fmla="*/ 116984 h 5292022"/>
              <a:gd name="connsiteX37-32715" fmla="*/ 3933108 w 10693106"/>
              <a:gd name="connsiteY37-32716" fmla="*/ 128837 h 5292022"/>
              <a:gd name="connsiteX38-32717" fmla="*/ 3976923 w 10693106"/>
              <a:gd name="connsiteY38-32718" fmla="*/ 135187 h 5292022"/>
              <a:gd name="connsiteX39-32719" fmla="*/ 4021373 w 10693106"/>
              <a:gd name="connsiteY39-32720" fmla="*/ 144289 h 5292022"/>
              <a:gd name="connsiteX40-32721" fmla="*/ 4055240 w 10693106"/>
              <a:gd name="connsiteY40-32722" fmla="*/ 152756 h 5292022"/>
              <a:gd name="connsiteX41-32723" fmla="*/ 4275373 w 10693106"/>
              <a:gd name="connsiteY41-32724" fmla="*/ 195089 h 5292022"/>
              <a:gd name="connsiteX42-32725" fmla="*/ 4402373 w 10693106"/>
              <a:gd name="connsiteY42-32726" fmla="*/ 228956 h 5292022"/>
              <a:gd name="connsiteX43-32727" fmla="*/ 4529373 w 10693106"/>
              <a:gd name="connsiteY43-32728" fmla="*/ 271289 h 5292022"/>
              <a:gd name="connsiteX44-32729" fmla="*/ 5045840 w 10693106"/>
              <a:gd name="connsiteY44-32730" fmla="*/ 423689 h 5292022"/>
              <a:gd name="connsiteX45-32731" fmla="*/ 5672373 w 10693106"/>
              <a:gd name="connsiteY45-32732" fmla="*/ 931689 h 5292022"/>
              <a:gd name="connsiteX46-32733" fmla="*/ 6839926 w 10693106"/>
              <a:gd name="connsiteY46-32734" fmla="*/ 1252152 h 5292022"/>
              <a:gd name="connsiteX47-32735" fmla="*/ 7703950 w 10693106"/>
              <a:gd name="connsiteY47-32736" fmla="*/ 1069696 h 5292022"/>
              <a:gd name="connsiteX48-32737" fmla="*/ 8652640 w 10693106"/>
              <a:gd name="connsiteY48-32738" fmla="*/ 677689 h 5292022"/>
              <a:gd name="connsiteX49-32739" fmla="*/ 8982840 w 10693106"/>
              <a:gd name="connsiteY49-32740" fmla="*/ 398289 h 5292022"/>
              <a:gd name="connsiteX50-32741" fmla="*/ 9380773 w 10693106"/>
              <a:gd name="connsiteY50-32742" fmla="*/ 355956 h 5292022"/>
              <a:gd name="connsiteX51-32743" fmla="*/ 9744840 w 10693106"/>
              <a:gd name="connsiteY51-32744" fmla="*/ 466022 h 5292022"/>
              <a:gd name="connsiteX52-32745" fmla="*/ 9888773 w 10693106"/>
              <a:gd name="connsiteY52-32746" fmla="*/ 508356 h 5292022"/>
              <a:gd name="connsiteX53-32747" fmla="*/ 9998840 w 10693106"/>
              <a:gd name="connsiteY53-32748" fmla="*/ 559156 h 5292022"/>
              <a:gd name="connsiteX54-32749" fmla="*/ 10083506 w 10693106"/>
              <a:gd name="connsiteY54-32750" fmla="*/ 618422 h 5292022"/>
              <a:gd name="connsiteX55-32751" fmla="*/ 10286706 w 10693106"/>
              <a:gd name="connsiteY55-32752" fmla="*/ 686156 h 5292022"/>
              <a:gd name="connsiteX56-32753" fmla="*/ 10388306 w 10693106"/>
              <a:gd name="connsiteY56-32754" fmla="*/ 889356 h 5292022"/>
              <a:gd name="connsiteX57-32755" fmla="*/ 10540706 w 10693106"/>
              <a:gd name="connsiteY57-32756" fmla="*/ 1261889 h 5292022"/>
              <a:gd name="connsiteX58-32757" fmla="*/ 10557640 w 10693106"/>
              <a:gd name="connsiteY58-32758" fmla="*/ 1346556 h 5292022"/>
              <a:gd name="connsiteX59-32759" fmla="*/ 10583040 w 10693106"/>
              <a:gd name="connsiteY59-32760" fmla="*/ 1448156 h 5292022"/>
              <a:gd name="connsiteX60-32761" fmla="*/ 10616906 w 10693106"/>
              <a:gd name="connsiteY60-32762" fmla="*/ 1651356 h 5292022"/>
              <a:gd name="connsiteX61-32763" fmla="*/ 10633840 w 10693106"/>
              <a:gd name="connsiteY61-32764" fmla="*/ 1736022 h 5292022"/>
              <a:gd name="connsiteX62-32765" fmla="*/ 10650773 w 10693106"/>
              <a:gd name="connsiteY62-32766" fmla="*/ 1769889 h 5292022"/>
              <a:gd name="connsiteX63-32767" fmla="*/ 10676173 w 10693106"/>
              <a:gd name="connsiteY63-32768" fmla="*/ 1854556 h 5292022"/>
              <a:gd name="connsiteX64-32769" fmla="*/ 10693106 w 10693106"/>
              <a:gd name="connsiteY64-32770" fmla="*/ 2006956 h 5292022"/>
              <a:gd name="connsiteX65-32771" fmla="*/ 10625373 w 10693106"/>
              <a:gd name="connsiteY65-32772" fmla="*/ 2227089 h 5292022"/>
              <a:gd name="connsiteX66-32773" fmla="*/ 10608440 w 10693106"/>
              <a:gd name="connsiteY66-32774" fmla="*/ 2252489 h 5292022"/>
              <a:gd name="connsiteX67-32775" fmla="*/ 10540706 w 10693106"/>
              <a:gd name="connsiteY67-32776" fmla="*/ 2396422 h 5292022"/>
              <a:gd name="connsiteX68-32777" fmla="*/ 10498373 w 10693106"/>
              <a:gd name="connsiteY68-32778" fmla="*/ 2481089 h 5292022"/>
              <a:gd name="connsiteX69-32779" fmla="*/ 10439106 w 10693106"/>
              <a:gd name="connsiteY69-32780" fmla="*/ 2667356 h 5292022"/>
              <a:gd name="connsiteX70-32781" fmla="*/ 10430640 w 10693106"/>
              <a:gd name="connsiteY70-32782" fmla="*/ 2709689 h 5292022"/>
              <a:gd name="connsiteX71-32783" fmla="*/ 10405240 w 10693106"/>
              <a:gd name="connsiteY71-32784" fmla="*/ 2785889 h 5292022"/>
              <a:gd name="connsiteX72-32785" fmla="*/ 10396773 w 10693106"/>
              <a:gd name="connsiteY72-32786" fmla="*/ 2819756 h 5292022"/>
              <a:gd name="connsiteX73-32787" fmla="*/ 10362906 w 10693106"/>
              <a:gd name="connsiteY73-32788" fmla="*/ 2912889 h 5292022"/>
              <a:gd name="connsiteX74-32789" fmla="*/ 10329040 w 10693106"/>
              <a:gd name="connsiteY74-32790" fmla="*/ 2955222 h 5292022"/>
              <a:gd name="connsiteX75-32791" fmla="*/ 10227440 w 10693106"/>
              <a:gd name="connsiteY75-32792" fmla="*/ 3056822 h 5292022"/>
              <a:gd name="connsiteX76-32793" fmla="*/ 10168173 w 10693106"/>
              <a:gd name="connsiteY76-32794" fmla="*/ 3124556 h 5292022"/>
              <a:gd name="connsiteX77-32795" fmla="*/ 10117373 w 10693106"/>
              <a:gd name="connsiteY77-32796" fmla="*/ 3175356 h 5292022"/>
              <a:gd name="connsiteX78-32797" fmla="*/ 10032706 w 10693106"/>
              <a:gd name="connsiteY78-32798" fmla="*/ 3276956 h 5292022"/>
              <a:gd name="connsiteX79-32799" fmla="*/ 9948040 w 10693106"/>
              <a:gd name="connsiteY79-32800" fmla="*/ 3336222 h 5292022"/>
              <a:gd name="connsiteX80-32801" fmla="*/ 9905706 w 10693106"/>
              <a:gd name="connsiteY80-32802" fmla="*/ 3361622 h 5292022"/>
              <a:gd name="connsiteX81-32803" fmla="*/ 9829506 w 10693106"/>
              <a:gd name="connsiteY81-32804" fmla="*/ 3378556 h 5292022"/>
              <a:gd name="connsiteX82-32805" fmla="*/ 9727906 w 10693106"/>
              <a:gd name="connsiteY82-32806" fmla="*/ 3420889 h 5292022"/>
              <a:gd name="connsiteX83-32807" fmla="*/ 9634773 w 10693106"/>
              <a:gd name="connsiteY83-32808" fmla="*/ 3446289 h 5292022"/>
              <a:gd name="connsiteX84-32809" fmla="*/ 9456973 w 10693106"/>
              <a:gd name="connsiteY84-32810" fmla="*/ 3539422 h 5292022"/>
              <a:gd name="connsiteX85-32811" fmla="*/ 9313040 w 10693106"/>
              <a:gd name="connsiteY85-32812" fmla="*/ 3666422 h 5292022"/>
              <a:gd name="connsiteX86-32813" fmla="*/ 9279173 w 10693106"/>
              <a:gd name="connsiteY86-32814" fmla="*/ 3683356 h 5292022"/>
              <a:gd name="connsiteX87-32815" fmla="*/ 9067506 w 10693106"/>
              <a:gd name="connsiteY87-32816" fmla="*/ 3861156 h 5292022"/>
              <a:gd name="connsiteX88-32817" fmla="*/ 8999773 w 10693106"/>
              <a:gd name="connsiteY88-32818" fmla="*/ 3928889 h 5292022"/>
              <a:gd name="connsiteX89-32819" fmla="*/ 8813506 w 10693106"/>
              <a:gd name="connsiteY89-32820" fmla="*/ 4064356 h 5292022"/>
              <a:gd name="connsiteX90-32821" fmla="*/ 8728840 w 10693106"/>
              <a:gd name="connsiteY90-32822" fmla="*/ 4106689 h 5292022"/>
              <a:gd name="connsiteX91-32823" fmla="*/ 8373240 w 10693106"/>
              <a:gd name="connsiteY91-32824" fmla="*/ 4140556 h 5292022"/>
              <a:gd name="connsiteX92-32825" fmla="*/ 7966840 w 10693106"/>
              <a:gd name="connsiteY92-32826" fmla="*/ 4233689 h 5292022"/>
              <a:gd name="connsiteX93-32827" fmla="*/ 7687440 w 10693106"/>
              <a:gd name="connsiteY93-32828" fmla="*/ 4394556 h 5292022"/>
              <a:gd name="connsiteX94-32829" fmla="*/ 7551973 w 10693106"/>
              <a:gd name="connsiteY94-32830" fmla="*/ 4479222 h 5292022"/>
              <a:gd name="connsiteX95-32831" fmla="*/ 7374173 w 10693106"/>
              <a:gd name="connsiteY95-32832" fmla="*/ 4657022 h 5292022"/>
              <a:gd name="connsiteX96-32833" fmla="*/ 7374173 w 10693106"/>
              <a:gd name="connsiteY96-32834" fmla="*/ 4657022 h 5292022"/>
              <a:gd name="connsiteX97-32835" fmla="*/ 7221773 w 10693106"/>
              <a:gd name="connsiteY97-32836" fmla="*/ 4775556 h 5292022"/>
              <a:gd name="connsiteX98-32837" fmla="*/ 7027040 w 10693106"/>
              <a:gd name="connsiteY98-32838" fmla="*/ 4902556 h 5292022"/>
              <a:gd name="connsiteX99-32839" fmla="*/ 6883106 w 10693106"/>
              <a:gd name="connsiteY99-32840" fmla="*/ 4970289 h 5292022"/>
              <a:gd name="connsiteX100-32841" fmla="*/ 6815373 w 10693106"/>
              <a:gd name="connsiteY100-32842" fmla="*/ 5012622 h 5292022"/>
              <a:gd name="connsiteX101-32843" fmla="*/ 6646040 w 10693106"/>
              <a:gd name="connsiteY101-32844" fmla="*/ 5105756 h 5292022"/>
              <a:gd name="connsiteX102-32845" fmla="*/ 6527506 w 10693106"/>
              <a:gd name="connsiteY102-32846" fmla="*/ 5165022 h 5292022"/>
              <a:gd name="connsiteX103-32847" fmla="*/ 6298906 w 10693106"/>
              <a:gd name="connsiteY103-32848" fmla="*/ 5241222 h 5292022"/>
              <a:gd name="connsiteX104-32849" fmla="*/ 6197306 w 10693106"/>
              <a:gd name="connsiteY104-32850" fmla="*/ 5266622 h 5292022"/>
              <a:gd name="connsiteX105-32851" fmla="*/ 6061840 w 10693106"/>
              <a:gd name="connsiteY105-32852" fmla="*/ 5275089 h 5292022"/>
              <a:gd name="connsiteX106-32853" fmla="*/ 5917906 w 10693106"/>
              <a:gd name="connsiteY106-32854" fmla="*/ 5292022 h 5292022"/>
              <a:gd name="connsiteX107-32855" fmla="*/ 5748573 w 10693106"/>
              <a:gd name="connsiteY107-32856" fmla="*/ 5283556 h 5292022"/>
              <a:gd name="connsiteX108-32857" fmla="*/ 5282906 w 10693106"/>
              <a:gd name="connsiteY108-32858" fmla="*/ 5173489 h 5292022"/>
              <a:gd name="connsiteX109-32859" fmla="*/ 5138973 w 10693106"/>
              <a:gd name="connsiteY109-32860" fmla="*/ 5071889 h 5292022"/>
              <a:gd name="connsiteX110-32861" fmla="*/ 4959480 w 10693106"/>
              <a:gd name="connsiteY110-32862" fmla="*/ 4988069 h 5292022"/>
              <a:gd name="connsiteX111-32863" fmla="*/ 4686853 w 10693106"/>
              <a:gd name="connsiteY111-32864" fmla="*/ 4788256 h 5292022"/>
              <a:gd name="connsiteX112-32865" fmla="*/ 3977346 w 10693106"/>
              <a:gd name="connsiteY112-32866" fmla="*/ 4470544 h 5292022"/>
              <a:gd name="connsiteX113-32867" fmla="*/ 3741550 w 10693106"/>
              <a:gd name="connsiteY113-32868" fmla="*/ 4154102 h 5292022"/>
              <a:gd name="connsiteX114-32869" fmla="*/ 3562056 w 10693106"/>
              <a:gd name="connsiteY114-32870" fmla="*/ 3406919 h 5292022"/>
              <a:gd name="connsiteX115-32871" fmla="*/ 3242440 w 10693106"/>
              <a:gd name="connsiteY115-32872" fmla="*/ 3099156 h 5292022"/>
              <a:gd name="connsiteX116-32873" fmla="*/ 3123906 w 10693106"/>
              <a:gd name="connsiteY116-32874" fmla="*/ 2997556 h 5292022"/>
              <a:gd name="connsiteX117-32875" fmla="*/ 2988440 w 10693106"/>
              <a:gd name="connsiteY117-32876" fmla="*/ 2802822 h 5292022"/>
              <a:gd name="connsiteX118-32877" fmla="*/ 2971506 w 10693106"/>
              <a:gd name="connsiteY118-32878" fmla="*/ 2743556 h 5292022"/>
              <a:gd name="connsiteX119-32879" fmla="*/ 2996906 w 10693106"/>
              <a:gd name="connsiteY119-32880" fmla="*/ 2531889 h 5292022"/>
              <a:gd name="connsiteX120-32881" fmla="*/ 3013840 w 10693106"/>
              <a:gd name="connsiteY120-32882" fmla="*/ 2430289 h 5292022"/>
              <a:gd name="connsiteX121-32883" fmla="*/ 3005373 w 10693106"/>
              <a:gd name="connsiteY121-32884" fmla="*/ 2311756 h 5292022"/>
              <a:gd name="connsiteX122-32885" fmla="*/ 2988440 w 10693106"/>
              <a:gd name="connsiteY122-32886" fmla="*/ 2260956 h 5292022"/>
              <a:gd name="connsiteX123-32887" fmla="*/ 2802173 w 10693106"/>
              <a:gd name="connsiteY123-32888" fmla="*/ 2006956 h 5292022"/>
              <a:gd name="connsiteX124-32889" fmla="*/ 2641306 w 10693106"/>
              <a:gd name="connsiteY124-32890" fmla="*/ 1863022 h 5292022"/>
              <a:gd name="connsiteX125-32891" fmla="*/ 2590506 w 10693106"/>
              <a:gd name="connsiteY125-32892" fmla="*/ 1837622 h 5292022"/>
              <a:gd name="connsiteX126-32893" fmla="*/ 2531240 w 10693106"/>
              <a:gd name="connsiteY126-32894" fmla="*/ 1829156 h 5292022"/>
              <a:gd name="connsiteX127-32895" fmla="*/ 2446573 w 10693106"/>
              <a:gd name="connsiteY127-32896" fmla="*/ 1812222 h 5292022"/>
              <a:gd name="connsiteX128-32897" fmla="*/ 2251840 w 10693106"/>
              <a:gd name="connsiteY128-32898" fmla="*/ 1837622 h 5292022"/>
              <a:gd name="connsiteX129-32899" fmla="*/ 2167173 w 10693106"/>
              <a:gd name="connsiteY129-32900" fmla="*/ 1879956 h 5292022"/>
              <a:gd name="connsiteX130-32901" fmla="*/ 1980906 w 10693106"/>
              <a:gd name="connsiteY130-32902" fmla="*/ 1939222 h 5292022"/>
              <a:gd name="connsiteX131-32903" fmla="*/ 1904706 w 10693106"/>
              <a:gd name="connsiteY131-32904" fmla="*/ 1973089 h 5292022"/>
              <a:gd name="connsiteX132-32905" fmla="*/ 1828506 w 10693106"/>
              <a:gd name="connsiteY132-32906" fmla="*/ 1990022 h 5292022"/>
              <a:gd name="connsiteX133-32907" fmla="*/ 1726906 w 10693106"/>
              <a:gd name="connsiteY133-32908" fmla="*/ 2040822 h 5292022"/>
              <a:gd name="connsiteX134-32909" fmla="*/ 1659173 w 10693106"/>
              <a:gd name="connsiteY134-32910" fmla="*/ 2074689 h 5292022"/>
              <a:gd name="connsiteX135-32911" fmla="*/ 1498306 w 10693106"/>
              <a:gd name="connsiteY135-32912" fmla="*/ 2100089 h 5292022"/>
              <a:gd name="connsiteX136-32913" fmla="*/ 914106 w 10693106"/>
              <a:gd name="connsiteY136-32914" fmla="*/ 2032356 h 5292022"/>
              <a:gd name="connsiteX137-32915" fmla="*/ 617773 w 10693106"/>
              <a:gd name="connsiteY137-32916" fmla="*/ 1922289 h 5292022"/>
              <a:gd name="connsiteX138-32917" fmla="*/ 516173 w 10693106"/>
              <a:gd name="connsiteY138-32918" fmla="*/ 1837622 h 5292022"/>
              <a:gd name="connsiteX139-32919" fmla="*/ 355306 w 10693106"/>
              <a:gd name="connsiteY139-32920" fmla="*/ 1625956 h 5292022"/>
              <a:gd name="connsiteX140-32921" fmla="*/ 296040 w 10693106"/>
              <a:gd name="connsiteY140-32922" fmla="*/ 1524356 h 5292022"/>
              <a:gd name="connsiteX141-32923" fmla="*/ 253706 w 10693106"/>
              <a:gd name="connsiteY141-32924" fmla="*/ 1346556 h 5292022"/>
              <a:gd name="connsiteX142-32925" fmla="*/ 245240 w 10693106"/>
              <a:gd name="connsiteY142-32926" fmla="*/ 1219556 h 5292022"/>
              <a:gd name="connsiteX143-32927" fmla="*/ 236773 w 10693106"/>
              <a:gd name="connsiteY143-32928" fmla="*/ 1117956 h 5292022"/>
              <a:gd name="connsiteX144-32929" fmla="*/ 245240 w 10693106"/>
              <a:gd name="connsiteY144-32930" fmla="*/ 847022 h 5292022"/>
              <a:gd name="connsiteX145-32931" fmla="*/ 236773 w 10693106"/>
              <a:gd name="connsiteY145-32932" fmla="*/ 703089 h 5292022"/>
              <a:gd name="connsiteX146-32933" fmla="*/ 109773 w 10693106"/>
              <a:gd name="connsiteY146-32934" fmla="*/ 559156 h 5292022"/>
              <a:gd name="connsiteX147-32935" fmla="*/ 58973 w 10693106"/>
              <a:gd name="connsiteY147-32936" fmla="*/ 482956 h 5292022"/>
              <a:gd name="connsiteX148-32937" fmla="*/ 16640 w 10693106"/>
              <a:gd name="connsiteY148-32938" fmla="*/ 432156 h 5292022"/>
              <a:gd name="connsiteX149-32939" fmla="*/ 8173 w 10693106"/>
              <a:gd name="connsiteY149-32940" fmla="*/ 389822 h 5292022"/>
              <a:gd name="connsiteX150-32941" fmla="*/ 16640 w 10693106"/>
              <a:gd name="connsiteY150-32942" fmla="*/ 339022 h 5292022"/>
              <a:gd name="connsiteX0-32943" fmla="*/ 16640 w 10693106"/>
              <a:gd name="connsiteY0-32944" fmla="*/ 339022 h 5292022"/>
              <a:gd name="connsiteX1-32945" fmla="*/ 58973 w 10693106"/>
              <a:gd name="connsiteY1-32946" fmla="*/ 245889 h 5292022"/>
              <a:gd name="connsiteX2-32947" fmla="*/ 109773 w 10693106"/>
              <a:gd name="connsiteY2-32948" fmla="*/ 178156 h 5292022"/>
              <a:gd name="connsiteX3-32949" fmla="*/ 202906 w 10693106"/>
              <a:gd name="connsiteY3-32950" fmla="*/ 93489 h 5292022"/>
              <a:gd name="connsiteX4-32951" fmla="*/ 236773 w 10693106"/>
              <a:gd name="connsiteY4-32952" fmla="*/ 68089 h 5292022"/>
              <a:gd name="connsiteX5-32953" fmla="*/ 335410 w 10693106"/>
              <a:gd name="connsiteY5-32954" fmla="*/ 58352 h 5292022"/>
              <a:gd name="connsiteX6-32955" fmla="*/ 382400 w 10693106"/>
              <a:gd name="connsiteY6-32956" fmla="*/ 51156 h 5292022"/>
              <a:gd name="connsiteX7-32957" fmla="*/ 434912 w 10693106"/>
              <a:gd name="connsiteY7-32958" fmla="*/ 70071 h 5292022"/>
              <a:gd name="connsiteX8-32959" fmla="*/ 492697 w 10693106"/>
              <a:gd name="connsiteY8-32960" fmla="*/ 74247 h 5292022"/>
              <a:gd name="connsiteX9-32961" fmla="*/ 822897 w 10693106"/>
              <a:gd name="connsiteY9-32962" fmla="*/ 82713 h 5292022"/>
              <a:gd name="connsiteX10-32963" fmla="*/ 1091906 w 10693106"/>
              <a:gd name="connsiteY10-32964" fmla="*/ 356 h 5292022"/>
              <a:gd name="connsiteX11-32965" fmla="*/ 1235840 w 10693106"/>
              <a:gd name="connsiteY11-32966" fmla="*/ 59622 h 5292022"/>
              <a:gd name="connsiteX12-32967" fmla="*/ 1337440 w 10693106"/>
              <a:gd name="connsiteY12-32968" fmla="*/ 135822 h 5292022"/>
              <a:gd name="connsiteX13-32969" fmla="*/ 1422106 w 10693106"/>
              <a:gd name="connsiteY13-32970" fmla="*/ 245889 h 5292022"/>
              <a:gd name="connsiteX14-32971" fmla="*/ 1481373 w 10693106"/>
              <a:gd name="connsiteY14-32972" fmla="*/ 313622 h 5292022"/>
              <a:gd name="connsiteX15-32973" fmla="*/ 1532173 w 10693106"/>
              <a:gd name="connsiteY15-32974" fmla="*/ 347489 h 5292022"/>
              <a:gd name="connsiteX16-32975" fmla="*/ 1684573 w 10693106"/>
              <a:gd name="connsiteY16-32976" fmla="*/ 406756 h 5292022"/>
              <a:gd name="connsiteX17-32977" fmla="*/ 1760773 w 10693106"/>
              <a:gd name="connsiteY17-32978" fmla="*/ 423689 h 5292022"/>
              <a:gd name="connsiteX18-32979" fmla="*/ 1997840 w 10693106"/>
              <a:gd name="connsiteY18-32980" fmla="*/ 415222 h 5292022"/>
              <a:gd name="connsiteX19-32981" fmla="*/ 2116373 w 10693106"/>
              <a:gd name="connsiteY19-32982" fmla="*/ 398289 h 5292022"/>
              <a:gd name="connsiteX20-32983" fmla="*/ 2260306 w 10693106"/>
              <a:gd name="connsiteY20-32984" fmla="*/ 381356 h 5292022"/>
              <a:gd name="connsiteX21-32985" fmla="*/ 2404240 w 10693106"/>
              <a:gd name="connsiteY21-32986" fmla="*/ 355956 h 5292022"/>
              <a:gd name="connsiteX22-32987" fmla="*/ 2455040 w 10693106"/>
              <a:gd name="connsiteY22-32988" fmla="*/ 330556 h 5292022"/>
              <a:gd name="connsiteX23-32989" fmla="*/ 2531240 w 10693106"/>
              <a:gd name="connsiteY23-32990" fmla="*/ 305156 h 5292022"/>
              <a:gd name="connsiteX24-32991" fmla="*/ 2649350 w 10693106"/>
              <a:gd name="connsiteY24-32992" fmla="*/ 225781 h 5292022"/>
              <a:gd name="connsiteX25-32993" fmla="*/ 2742906 w 10693106"/>
              <a:gd name="connsiteY25-32994" fmla="*/ 186622 h 5292022"/>
              <a:gd name="connsiteX26-32995" fmla="*/ 2764920 w 10693106"/>
              <a:gd name="connsiteY26-32996" fmla="*/ 173076 h 5292022"/>
              <a:gd name="connsiteX27-32997" fmla="*/ 2832653 w 10693106"/>
              <a:gd name="connsiteY27-32998" fmla="*/ 167996 h 5292022"/>
              <a:gd name="connsiteX28-32999" fmla="*/ 3002294 w 10693106"/>
              <a:gd name="connsiteY28-33000" fmla="*/ 154680 h 5292022"/>
              <a:gd name="connsiteX29-33001" fmla="*/ 3142763 w 10693106"/>
              <a:gd name="connsiteY29-33002" fmla="*/ 110421 h 5292022"/>
              <a:gd name="connsiteX30-33003" fmla="*/ 3398918 w 10693106"/>
              <a:gd name="connsiteY30-33004" fmla="*/ 72322 h 5292022"/>
              <a:gd name="connsiteX31-33005" fmla="*/ 3606506 w 10693106"/>
              <a:gd name="connsiteY31-33006" fmla="*/ 60393 h 5292022"/>
              <a:gd name="connsiteX32-33007" fmla="*/ 3682706 w 10693106"/>
              <a:gd name="connsiteY32-33008" fmla="*/ 79942 h 5292022"/>
              <a:gd name="connsiteX33-33009" fmla="*/ 3741973 w 10693106"/>
              <a:gd name="connsiteY33-33010" fmla="*/ 86561 h 5292022"/>
              <a:gd name="connsiteX34-33011" fmla="*/ 3794678 w 10693106"/>
              <a:gd name="connsiteY34-33012" fmla="*/ 101321 h 5292022"/>
              <a:gd name="connsiteX35-33013" fmla="*/ 3833625 w 10693106"/>
              <a:gd name="connsiteY35-33014" fmla="*/ 110846 h 5292022"/>
              <a:gd name="connsiteX36-33015" fmla="*/ 3892487 w 10693106"/>
              <a:gd name="connsiteY36-33016" fmla="*/ 116984 h 5292022"/>
              <a:gd name="connsiteX37-33017" fmla="*/ 3933108 w 10693106"/>
              <a:gd name="connsiteY37-33018" fmla="*/ 128837 h 5292022"/>
              <a:gd name="connsiteX38-33019" fmla="*/ 3976923 w 10693106"/>
              <a:gd name="connsiteY38-33020" fmla="*/ 135187 h 5292022"/>
              <a:gd name="connsiteX39-33021" fmla="*/ 4021373 w 10693106"/>
              <a:gd name="connsiteY39-33022" fmla="*/ 144289 h 5292022"/>
              <a:gd name="connsiteX40-33023" fmla="*/ 4055240 w 10693106"/>
              <a:gd name="connsiteY40-33024" fmla="*/ 152756 h 5292022"/>
              <a:gd name="connsiteX41-33025" fmla="*/ 4275373 w 10693106"/>
              <a:gd name="connsiteY41-33026" fmla="*/ 195089 h 5292022"/>
              <a:gd name="connsiteX42-33027" fmla="*/ 4402373 w 10693106"/>
              <a:gd name="connsiteY42-33028" fmla="*/ 228956 h 5292022"/>
              <a:gd name="connsiteX43-33029" fmla="*/ 4529373 w 10693106"/>
              <a:gd name="connsiteY43-33030" fmla="*/ 271289 h 5292022"/>
              <a:gd name="connsiteX44-33031" fmla="*/ 5045840 w 10693106"/>
              <a:gd name="connsiteY44-33032" fmla="*/ 423689 h 5292022"/>
              <a:gd name="connsiteX45-33033" fmla="*/ 5672373 w 10693106"/>
              <a:gd name="connsiteY45-33034" fmla="*/ 931689 h 5292022"/>
              <a:gd name="connsiteX46-33035" fmla="*/ 6839926 w 10693106"/>
              <a:gd name="connsiteY46-33036" fmla="*/ 1252152 h 5292022"/>
              <a:gd name="connsiteX47-33037" fmla="*/ 7703950 w 10693106"/>
              <a:gd name="connsiteY47-33038" fmla="*/ 1069696 h 5292022"/>
              <a:gd name="connsiteX48-33039" fmla="*/ 8652640 w 10693106"/>
              <a:gd name="connsiteY48-33040" fmla="*/ 677689 h 5292022"/>
              <a:gd name="connsiteX49-33041" fmla="*/ 8982840 w 10693106"/>
              <a:gd name="connsiteY49-33042" fmla="*/ 398289 h 5292022"/>
              <a:gd name="connsiteX50-33043" fmla="*/ 9380773 w 10693106"/>
              <a:gd name="connsiteY50-33044" fmla="*/ 355956 h 5292022"/>
              <a:gd name="connsiteX51-33045" fmla="*/ 9744840 w 10693106"/>
              <a:gd name="connsiteY51-33046" fmla="*/ 466022 h 5292022"/>
              <a:gd name="connsiteX52-33047" fmla="*/ 9888773 w 10693106"/>
              <a:gd name="connsiteY52-33048" fmla="*/ 508356 h 5292022"/>
              <a:gd name="connsiteX53-33049" fmla="*/ 9998840 w 10693106"/>
              <a:gd name="connsiteY53-33050" fmla="*/ 559156 h 5292022"/>
              <a:gd name="connsiteX54-33051" fmla="*/ 10083506 w 10693106"/>
              <a:gd name="connsiteY54-33052" fmla="*/ 618422 h 5292022"/>
              <a:gd name="connsiteX55-33053" fmla="*/ 10286706 w 10693106"/>
              <a:gd name="connsiteY55-33054" fmla="*/ 686156 h 5292022"/>
              <a:gd name="connsiteX56-33055" fmla="*/ 10388306 w 10693106"/>
              <a:gd name="connsiteY56-33056" fmla="*/ 889356 h 5292022"/>
              <a:gd name="connsiteX57-33057" fmla="*/ 10540706 w 10693106"/>
              <a:gd name="connsiteY57-33058" fmla="*/ 1261889 h 5292022"/>
              <a:gd name="connsiteX58-33059" fmla="*/ 10557640 w 10693106"/>
              <a:gd name="connsiteY58-33060" fmla="*/ 1346556 h 5292022"/>
              <a:gd name="connsiteX59-33061" fmla="*/ 10583040 w 10693106"/>
              <a:gd name="connsiteY59-33062" fmla="*/ 1448156 h 5292022"/>
              <a:gd name="connsiteX60-33063" fmla="*/ 10616906 w 10693106"/>
              <a:gd name="connsiteY60-33064" fmla="*/ 1651356 h 5292022"/>
              <a:gd name="connsiteX61-33065" fmla="*/ 10633840 w 10693106"/>
              <a:gd name="connsiteY61-33066" fmla="*/ 1736022 h 5292022"/>
              <a:gd name="connsiteX62-33067" fmla="*/ 10650773 w 10693106"/>
              <a:gd name="connsiteY62-33068" fmla="*/ 1769889 h 5292022"/>
              <a:gd name="connsiteX63-33069" fmla="*/ 10676173 w 10693106"/>
              <a:gd name="connsiteY63-33070" fmla="*/ 1854556 h 5292022"/>
              <a:gd name="connsiteX64-33071" fmla="*/ 10693106 w 10693106"/>
              <a:gd name="connsiteY64-33072" fmla="*/ 2006956 h 5292022"/>
              <a:gd name="connsiteX65-33073" fmla="*/ 10625373 w 10693106"/>
              <a:gd name="connsiteY65-33074" fmla="*/ 2227089 h 5292022"/>
              <a:gd name="connsiteX66-33075" fmla="*/ 10608440 w 10693106"/>
              <a:gd name="connsiteY66-33076" fmla="*/ 2252489 h 5292022"/>
              <a:gd name="connsiteX67-33077" fmla="*/ 10540706 w 10693106"/>
              <a:gd name="connsiteY67-33078" fmla="*/ 2396422 h 5292022"/>
              <a:gd name="connsiteX68-33079" fmla="*/ 10498373 w 10693106"/>
              <a:gd name="connsiteY68-33080" fmla="*/ 2481089 h 5292022"/>
              <a:gd name="connsiteX69-33081" fmla="*/ 10439106 w 10693106"/>
              <a:gd name="connsiteY69-33082" fmla="*/ 2667356 h 5292022"/>
              <a:gd name="connsiteX70-33083" fmla="*/ 10430640 w 10693106"/>
              <a:gd name="connsiteY70-33084" fmla="*/ 2709689 h 5292022"/>
              <a:gd name="connsiteX71-33085" fmla="*/ 10405240 w 10693106"/>
              <a:gd name="connsiteY71-33086" fmla="*/ 2785889 h 5292022"/>
              <a:gd name="connsiteX72-33087" fmla="*/ 10396773 w 10693106"/>
              <a:gd name="connsiteY72-33088" fmla="*/ 2819756 h 5292022"/>
              <a:gd name="connsiteX73-33089" fmla="*/ 10362906 w 10693106"/>
              <a:gd name="connsiteY73-33090" fmla="*/ 2912889 h 5292022"/>
              <a:gd name="connsiteX74-33091" fmla="*/ 10329040 w 10693106"/>
              <a:gd name="connsiteY74-33092" fmla="*/ 2955222 h 5292022"/>
              <a:gd name="connsiteX75-33093" fmla="*/ 10227440 w 10693106"/>
              <a:gd name="connsiteY75-33094" fmla="*/ 3056822 h 5292022"/>
              <a:gd name="connsiteX76-33095" fmla="*/ 10168173 w 10693106"/>
              <a:gd name="connsiteY76-33096" fmla="*/ 3124556 h 5292022"/>
              <a:gd name="connsiteX77-33097" fmla="*/ 10117373 w 10693106"/>
              <a:gd name="connsiteY77-33098" fmla="*/ 3175356 h 5292022"/>
              <a:gd name="connsiteX78-33099" fmla="*/ 10032706 w 10693106"/>
              <a:gd name="connsiteY78-33100" fmla="*/ 3276956 h 5292022"/>
              <a:gd name="connsiteX79-33101" fmla="*/ 9948040 w 10693106"/>
              <a:gd name="connsiteY79-33102" fmla="*/ 3336222 h 5292022"/>
              <a:gd name="connsiteX80-33103" fmla="*/ 9905706 w 10693106"/>
              <a:gd name="connsiteY80-33104" fmla="*/ 3361622 h 5292022"/>
              <a:gd name="connsiteX81-33105" fmla="*/ 9829506 w 10693106"/>
              <a:gd name="connsiteY81-33106" fmla="*/ 3378556 h 5292022"/>
              <a:gd name="connsiteX82-33107" fmla="*/ 9727906 w 10693106"/>
              <a:gd name="connsiteY82-33108" fmla="*/ 3420889 h 5292022"/>
              <a:gd name="connsiteX83-33109" fmla="*/ 9634773 w 10693106"/>
              <a:gd name="connsiteY83-33110" fmla="*/ 3446289 h 5292022"/>
              <a:gd name="connsiteX84-33111" fmla="*/ 9456973 w 10693106"/>
              <a:gd name="connsiteY84-33112" fmla="*/ 3539422 h 5292022"/>
              <a:gd name="connsiteX85-33113" fmla="*/ 9313040 w 10693106"/>
              <a:gd name="connsiteY85-33114" fmla="*/ 3666422 h 5292022"/>
              <a:gd name="connsiteX86-33115" fmla="*/ 9279173 w 10693106"/>
              <a:gd name="connsiteY86-33116" fmla="*/ 3683356 h 5292022"/>
              <a:gd name="connsiteX87-33117" fmla="*/ 9067506 w 10693106"/>
              <a:gd name="connsiteY87-33118" fmla="*/ 3861156 h 5292022"/>
              <a:gd name="connsiteX88-33119" fmla="*/ 8999773 w 10693106"/>
              <a:gd name="connsiteY88-33120" fmla="*/ 3928889 h 5292022"/>
              <a:gd name="connsiteX89-33121" fmla="*/ 8813506 w 10693106"/>
              <a:gd name="connsiteY89-33122" fmla="*/ 4064356 h 5292022"/>
              <a:gd name="connsiteX90-33123" fmla="*/ 8728840 w 10693106"/>
              <a:gd name="connsiteY90-33124" fmla="*/ 4106689 h 5292022"/>
              <a:gd name="connsiteX91-33125" fmla="*/ 8373240 w 10693106"/>
              <a:gd name="connsiteY91-33126" fmla="*/ 4140556 h 5292022"/>
              <a:gd name="connsiteX92-33127" fmla="*/ 7966840 w 10693106"/>
              <a:gd name="connsiteY92-33128" fmla="*/ 4233689 h 5292022"/>
              <a:gd name="connsiteX93-33129" fmla="*/ 7687440 w 10693106"/>
              <a:gd name="connsiteY93-33130" fmla="*/ 4394556 h 5292022"/>
              <a:gd name="connsiteX94-33131" fmla="*/ 7551973 w 10693106"/>
              <a:gd name="connsiteY94-33132" fmla="*/ 4479222 h 5292022"/>
              <a:gd name="connsiteX95-33133" fmla="*/ 7374173 w 10693106"/>
              <a:gd name="connsiteY95-33134" fmla="*/ 4657022 h 5292022"/>
              <a:gd name="connsiteX96-33135" fmla="*/ 7374173 w 10693106"/>
              <a:gd name="connsiteY96-33136" fmla="*/ 4657022 h 5292022"/>
              <a:gd name="connsiteX97-33137" fmla="*/ 7221773 w 10693106"/>
              <a:gd name="connsiteY97-33138" fmla="*/ 4775556 h 5292022"/>
              <a:gd name="connsiteX98-33139" fmla="*/ 7027040 w 10693106"/>
              <a:gd name="connsiteY98-33140" fmla="*/ 4902556 h 5292022"/>
              <a:gd name="connsiteX99-33141" fmla="*/ 6883106 w 10693106"/>
              <a:gd name="connsiteY99-33142" fmla="*/ 4970289 h 5292022"/>
              <a:gd name="connsiteX100-33143" fmla="*/ 6815373 w 10693106"/>
              <a:gd name="connsiteY100-33144" fmla="*/ 5012622 h 5292022"/>
              <a:gd name="connsiteX101-33145" fmla="*/ 6646040 w 10693106"/>
              <a:gd name="connsiteY101-33146" fmla="*/ 5105756 h 5292022"/>
              <a:gd name="connsiteX102-33147" fmla="*/ 6527506 w 10693106"/>
              <a:gd name="connsiteY102-33148" fmla="*/ 5165022 h 5292022"/>
              <a:gd name="connsiteX103-33149" fmla="*/ 6298906 w 10693106"/>
              <a:gd name="connsiteY103-33150" fmla="*/ 5241222 h 5292022"/>
              <a:gd name="connsiteX104-33151" fmla="*/ 6197306 w 10693106"/>
              <a:gd name="connsiteY104-33152" fmla="*/ 5266622 h 5292022"/>
              <a:gd name="connsiteX105-33153" fmla="*/ 6061840 w 10693106"/>
              <a:gd name="connsiteY105-33154" fmla="*/ 5275089 h 5292022"/>
              <a:gd name="connsiteX106-33155" fmla="*/ 5917906 w 10693106"/>
              <a:gd name="connsiteY106-33156" fmla="*/ 5292022 h 5292022"/>
              <a:gd name="connsiteX107-33157" fmla="*/ 5748573 w 10693106"/>
              <a:gd name="connsiteY107-33158" fmla="*/ 5283556 h 5292022"/>
              <a:gd name="connsiteX108-33159" fmla="*/ 5282906 w 10693106"/>
              <a:gd name="connsiteY108-33160" fmla="*/ 5173489 h 5292022"/>
              <a:gd name="connsiteX109-33161" fmla="*/ 4959480 w 10693106"/>
              <a:gd name="connsiteY109-33162" fmla="*/ 4988069 h 5292022"/>
              <a:gd name="connsiteX110-33163" fmla="*/ 4686853 w 10693106"/>
              <a:gd name="connsiteY110-33164" fmla="*/ 4788256 h 5292022"/>
              <a:gd name="connsiteX111-33165" fmla="*/ 3977346 w 10693106"/>
              <a:gd name="connsiteY111-33166" fmla="*/ 4470544 h 5292022"/>
              <a:gd name="connsiteX112-33167" fmla="*/ 3741550 w 10693106"/>
              <a:gd name="connsiteY112-33168" fmla="*/ 4154102 h 5292022"/>
              <a:gd name="connsiteX113-33169" fmla="*/ 3562056 w 10693106"/>
              <a:gd name="connsiteY113-33170" fmla="*/ 3406919 h 5292022"/>
              <a:gd name="connsiteX114-33171" fmla="*/ 3242440 w 10693106"/>
              <a:gd name="connsiteY114-33172" fmla="*/ 3099156 h 5292022"/>
              <a:gd name="connsiteX115-33173" fmla="*/ 3123906 w 10693106"/>
              <a:gd name="connsiteY115-33174" fmla="*/ 2997556 h 5292022"/>
              <a:gd name="connsiteX116-33175" fmla="*/ 2988440 w 10693106"/>
              <a:gd name="connsiteY116-33176" fmla="*/ 2802822 h 5292022"/>
              <a:gd name="connsiteX117-33177" fmla="*/ 2971506 w 10693106"/>
              <a:gd name="connsiteY117-33178" fmla="*/ 2743556 h 5292022"/>
              <a:gd name="connsiteX118-33179" fmla="*/ 2996906 w 10693106"/>
              <a:gd name="connsiteY118-33180" fmla="*/ 2531889 h 5292022"/>
              <a:gd name="connsiteX119-33181" fmla="*/ 3013840 w 10693106"/>
              <a:gd name="connsiteY119-33182" fmla="*/ 2430289 h 5292022"/>
              <a:gd name="connsiteX120-33183" fmla="*/ 3005373 w 10693106"/>
              <a:gd name="connsiteY120-33184" fmla="*/ 2311756 h 5292022"/>
              <a:gd name="connsiteX121-33185" fmla="*/ 2988440 w 10693106"/>
              <a:gd name="connsiteY121-33186" fmla="*/ 2260956 h 5292022"/>
              <a:gd name="connsiteX122-33187" fmla="*/ 2802173 w 10693106"/>
              <a:gd name="connsiteY122-33188" fmla="*/ 2006956 h 5292022"/>
              <a:gd name="connsiteX123-33189" fmla="*/ 2641306 w 10693106"/>
              <a:gd name="connsiteY123-33190" fmla="*/ 1863022 h 5292022"/>
              <a:gd name="connsiteX124-33191" fmla="*/ 2590506 w 10693106"/>
              <a:gd name="connsiteY124-33192" fmla="*/ 1837622 h 5292022"/>
              <a:gd name="connsiteX125-33193" fmla="*/ 2531240 w 10693106"/>
              <a:gd name="connsiteY125-33194" fmla="*/ 1829156 h 5292022"/>
              <a:gd name="connsiteX126-33195" fmla="*/ 2446573 w 10693106"/>
              <a:gd name="connsiteY126-33196" fmla="*/ 1812222 h 5292022"/>
              <a:gd name="connsiteX127-33197" fmla="*/ 2251840 w 10693106"/>
              <a:gd name="connsiteY127-33198" fmla="*/ 1837622 h 5292022"/>
              <a:gd name="connsiteX128-33199" fmla="*/ 2167173 w 10693106"/>
              <a:gd name="connsiteY128-33200" fmla="*/ 1879956 h 5292022"/>
              <a:gd name="connsiteX129-33201" fmla="*/ 1980906 w 10693106"/>
              <a:gd name="connsiteY129-33202" fmla="*/ 1939222 h 5292022"/>
              <a:gd name="connsiteX130-33203" fmla="*/ 1904706 w 10693106"/>
              <a:gd name="connsiteY130-33204" fmla="*/ 1973089 h 5292022"/>
              <a:gd name="connsiteX131-33205" fmla="*/ 1828506 w 10693106"/>
              <a:gd name="connsiteY131-33206" fmla="*/ 1990022 h 5292022"/>
              <a:gd name="connsiteX132-33207" fmla="*/ 1726906 w 10693106"/>
              <a:gd name="connsiteY132-33208" fmla="*/ 2040822 h 5292022"/>
              <a:gd name="connsiteX133-33209" fmla="*/ 1659173 w 10693106"/>
              <a:gd name="connsiteY133-33210" fmla="*/ 2074689 h 5292022"/>
              <a:gd name="connsiteX134-33211" fmla="*/ 1498306 w 10693106"/>
              <a:gd name="connsiteY134-33212" fmla="*/ 2100089 h 5292022"/>
              <a:gd name="connsiteX135-33213" fmla="*/ 914106 w 10693106"/>
              <a:gd name="connsiteY135-33214" fmla="*/ 2032356 h 5292022"/>
              <a:gd name="connsiteX136-33215" fmla="*/ 617773 w 10693106"/>
              <a:gd name="connsiteY136-33216" fmla="*/ 1922289 h 5292022"/>
              <a:gd name="connsiteX137-33217" fmla="*/ 516173 w 10693106"/>
              <a:gd name="connsiteY137-33218" fmla="*/ 1837622 h 5292022"/>
              <a:gd name="connsiteX138-33219" fmla="*/ 355306 w 10693106"/>
              <a:gd name="connsiteY138-33220" fmla="*/ 1625956 h 5292022"/>
              <a:gd name="connsiteX139-33221" fmla="*/ 296040 w 10693106"/>
              <a:gd name="connsiteY139-33222" fmla="*/ 1524356 h 5292022"/>
              <a:gd name="connsiteX140-33223" fmla="*/ 253706 w 10693106"/>
              <a:gd name="connsiteY140-33224" fmla="*/ 1346556 h 5292022"/>
              <a:gd name="connsiteX141-33225" fmla="*/ 245240 w 10693106"/>
              <a:gd name="connsiteY141-33226" fmla="*/ 1219556 h 5292022"/>
              <a:gd name="connsiteX142-33227" fmla="*/ 236773 w 10693106"/>
              <a:gd name="connsiteY142-33228" fmla="*/ 1117956 h 5292022"/>
              <a:gd name="connsiteX143-33229" fmla="*/ 245240 w 10693106"/>
              <a:gd name="connsiteY143-33230" fmla="*/ 847022 h 5292022"/>
              <a:gd name="connsiteX144-33231" fmla="*/ 236773 w 10693106"/>
              <a:gd name="connsiteY144-33232" fmla="*/ 703089 h 5292022"/>
              <a:gd name="connsiteX145-33233" fmla="*/ 109773 w 10693106"/>
              <a:gd name="connsiteY145-33234" fmla="*/ 559156 h 5292022"/>
              <a:gd name="connsiteX146-33235" fmla="*/ 58973 w 10693106"/>
              <a:gd name="connsiteY146-33236" fmla="*/ 482956 h 5292022"/>
              <a:gd name="connsiteX147-33237" fmla="*/ 16640 w 10693106"/>
              <a:gd name="connsiteY147-33238" fmla="*/ 432156 h 5292022"/>
              <a:gd name="connsiteX148-33239" fmla="*/ 8173 w 10693106"/>
              <a:gd name="connsiteY148-33240" fmla="*/ 389822 h 5292022"/>
              <a:gd name="connsiteX149-33241" fmla="*/ 16640 w 10693106"/>
              <a:gd name="connsiteY149-33242" fmla="*/ 339022 h 5292022"/>
              <a:gd name="connsiteX0-33243" fmla="*/ 16640 w 10693106"/>
              <a:gd name="connsiteY0-33244" fmla="*/ 339022 h 5292022"/>
              <a:gd name="connsiteX1-33245" fmla="*/ 58973 w 10693106"/>
              <a:gd name="connsiteY1-33246" fmla="*/ 245889 h 5292022"/>
              <a:gd name="connsiteX2-33247" fmla="*/ 109773 w 10693106"/>
              <a:gd name="connsiteY2-33248" fmla="*/ 178156 h 5292022"/>
              <a:gd name="connsiteX3-33249" fmla="*/ 202906 w 10693106"/>
              <a:gd name="connsiteY3-33250" fmla="*/ 93489 h 5292022"/>
              <a:gd name="connsiteX4-33251" fmla="*/ 236773 w 10693106"/>
              <a:gd name="connsiteY4-33252" fmla="*/ 68089 h 5292022"/>
              <a:gd name="connsiteX5-33253" fmla="*/ 335410 w 10693106"/>
              <a:gd name="connsiteY5-33254" fmla="*/ 58352 h 5292022"/>
              <a:gd name="connsiteX6-33255" fmla="*/ 382400 w 10693106"/>
              <a:gd name="connsiteY6-33256" fmla="*/ 51156 h 5292022"/>
              <a:gd name="connsiteX7-33257" fmla="*/ 434912 w 10693106"/>
              <a:gd name="connsiteY7-33258" fmla="*/ 70071 h 5292022"/>
              <a:gd name="connsiteX8-33259" fmla="*/ 492697 w 10693106"/>
              <a:gd name="connsiteY8-33260" fmla="*/ 74247 h 5292022"/>
              <a:gd name="connsiteX9-33261" fmla="*/ 822897 w 10693106"/>
              <a:gd name="connsiteY9-33262" fmla="*/ 82713 h 5292022"/>
              <a:gd name="connsiteX10-33263" fmla="*/ 1091906 w 10693106"/>
              <a:gd name="connsiteY10-33264" fmla="*/ 356 h 5292022"/>
              <a:gd name="connsiteX11-33265" fmla="*/ 1235840 w 10693106"/>
              <a:gd name="connsiteY11-33266" fmla="*/ 59622 h 5292022"/>
              <a:gd name="connsiteX12-33267" fmla="*/ 1337440 w 10693106"/>
              <a:gd name="connsiteY12-33268" fmla="*/ 135822 h 5292022"/>
              <a:gd name="connsiteX13-33269" fmla="*/ 1422106 w 10693106"/>
              <a:gd name="connsiteY13-33270" fmla="*/ 245889 h 5292022"/>
              <a:gd name="connsiteX14-33271" fmla="*/ 1481373 w 10693106"/>
              <a:gd name="connsiteY14-33272" fmla="*/ 313622 h 5292022"/>
              <a:gd name="connsiteX15-33273" fmla="*/ 1532173 w 10693106"/>
              <a:gd name="connsiteY15-33274" fmla="*/ 347489 h 5292022"/>
              <a:gd name="connsiteX16-33275" fmla="*/ 1684573 w 10693106"/>
              <a:gd name="connsiteY16-33276" fmla="*/ 406756 h 5292022"/>
              <a:gd name="connsiteX17-33277" fmla="*/ 1760773 w 10693106"/>
              <a:gd name="connsiteY17-33278" fmla="*/ 423689 h 5292022"/>
              <a:gd name="connsiteX18-33279" fmla="*/ 1997840 w 10693106"/>
              <a:gd name="connsiteY18-33280" fmla="*/ 415222 h 5292022"/>
              <a:gd name="connsiteX19-33281" fmla="*/ 2116373 w 10693106"/>
              <a:gd name="connsiteY19-33282" fmla="*/ 398289 h 5292022"/>
              <a:gd name="connsiteX20-33283" fmla="*/ 2260306 w 10693106"/>
              <a:gd name="connsiteY20-33284" fmla="*/ 381356 h 5292022"/>
              <a:gd name="connsiteX21-33285" fmla="*/ 2404240 w 10693106"/>
              <a:gd name="connsiteY21-33286" fmla="*/ 355956 h 5292022"/>
              <a:gd name="connsiteX22-33287" fmla="*/ 2455040 w 10693106"/>
              <a:gd name="connsiteY22-33288" fmla="*/ 330556 h 5292022"/>
              <a:gd name="connsiteX23-33289" fmla="*/ 2531240 w 10693106"/>
              <a:gd name="connsiteY23-33290" fmla="*/ 305156 h 5292022"/>
              <a:gd name="connsiteX24-33291" fmla="*/ 2649350 w 10693106"/>
              <a:gd name="connsiteY24-33292" fmla="*/ 225781 h 5292022"/>
              <a:gd name="connsiteX25-33293" fmla="*/ 2742906 w 10693106"/>
              <a:gd name="connsiteY25-33294" fmla="*/ 186622 h 5292022"/>
              <a:gd name="connsiteX26-33295" fmla="*/ 2764920 w 10693106"/>
              <a:gd name="connsiteY26-33296" fmla="*/ 173076 h 5292022"/>
              <a:gd name="connsiteX27-33297" fmla="*/ 2832653 w 10693106"/>
              <a:gd name="connsiteY27-33298" fmla="*/ 167996 h 5292022"/>
              <a:gd name="connsiteX28-33299" fmla="*/ 3002294 w 10693106"/>
              <a:gd name="connsiteY28-33300" fmla="*/ 154680 h 5292022"/>
              <a:gd name="connsiteX29-33301" fmla="*/ 3142763 w 10693106"/>
              <a:gd name="connsiteY29-33302" fmla="*/ 110421 h 5292022"/>
              <a:gd name="connsiteX30-33303" fmla="*/ 3398918 w 10693106"/>
              <a:gd name="connsiteY30-33304" fmla="*/ 72322 h 5292022"/>
              <a:gd name="connsiteX31-33305" fmla="*/ 3606506 w 10693106"/>
              <a:gd name="connsiteY31-33306" fmla="*/ 60393 h 5292022"/>
              <a:gd name="connsiteX32-33307" fmla="*/ 3682706 w 10693106"/>
              <a:gd name="connsiteY32-33308" fmla="*/ 79942 h 5292022"/>
              <a:gd name="connsiteX33-33309" fmla="*/ 3741973 w 10693106"/>
              <a:gd name="connsiteY33-33310" fmla="*/ 86561 h 5292022"/>
              <a:gd name="connsiteX34-33311" fmla="*/ 3794678 w 10693106"/>
              <a:gd name="connsiteY34-33312" fmla="*/ 101321 h 5292022"/>
              <a:gd name="connsiteX35-33313" fmla="*/ 3833625 w 10693106"/>
              <a:gd name="connsiteY35-33314" fmla="*/ 110846 h 5292022"/>
              <a:gd name="connsiteX36-33315" fmla="*/ 3892487 w 10693106"/>
              <a:gd name="connsiteY36-33316" fmla="*/ 116984 h 5292022"/>
              <a:gd name="connsiteX37-33317" fmla="*/ 3933108 w 10693106"/>
              <a:gd name="connsiteY37-33318" fmla="*/ 128837 h 5292022"/>
              <a:gd name="connsiteX38-33319" fmla="*/ 3976923 w 10693106"/>
              <a:gd name="connsiteY38-33320" fmla="*/ 135187 h 5292022"/>
              <a:gd name="connsiteX39-33321" fmla="*/ 4021373 w 10693106"/>
              <a:gd name="connsiteY39-33322" fmla="*/ 144289 h 5292022"/>
              <a:gd name="connsiteX40-33323" fmla="*/ 4055240 w 10693106"/>
              <a:gd name="connsiteY40-33324" fmla="*/ 152756 h 5292022"/>
              <a:gd name="connsiteX41-33325" fmla="*/ 4275373 w 10693106"/>
              <a:gd name="connsiteY41-33326" fmla="*/ 195089 h 5292022"/>
              <a:gd name="connsiteX42-33327" fmla="*/ 4402373 w 10693106"/>
              <a:gd name="connsiteY42-33328" fmla="*/ 228956 h 5292022"/>
              <a:gd name="connsiteX43-33329" fmla="*/ 4529373 w 10693106"/>
              <a:gd name="connsiteY43-33330" fmla="*/ 271289 h 5292022"/>
              <a:gd name="connsiteX44-33331" fmla="*/ 5045840 w 10693106"/>
              <a:gd name="connsiteY44-33332" fmla="*/ 423689 h 5292022"/>
              <a:gd name="connsiteX45-33333" fmla="*/ 5672373 w 10693106"/>
              <a:gd name="connsiteY45-33334" fmla="*/ 931689 h 5292022"/>
              <a:gd name="connsiteX46-33335" fmla="*/ 6839926 w 10693106"/>
              <a:gd name="connsiteY46-33336" fmla="*/ 1252152 h 5292022"/>
              <a:gd name="connsiteX47-33337" fmla="*/ 7703950 w 10693106"/>
              <a:gd name="connsiteY47-33338" fmla="*/ 1069696 h 5292022"/>
              <a:gd name="connsiteX48-33339" fmla="*/ 8652640 w 10693106"/>
              <a:gd name="connsiteY48-33340" fmla="*/ 677689 h 5292022"/>
              <a:gd name="connsiteX49-33341" fmla="*/ 8982840 w 10693106"/>
              <a:gd name="connsiteY49-33342" fmla="*/ 398289 h 5292022"/>
              <a:gd name="connsiteX50-33343" fmla="*/ 9380773 w 10693106"/>
              <a:gd name="connsiteY50-33344" fmla="*/ 355956 h 5292022"/>
              <a:gd name="connsiteX51-33345" fmla="*/ 9744840 w 10693106"/>
              <a:gd name="connsiteY51-33346" fmla="*/ 466022 h 5292022"/>
              <a:gd name="connsiteX52-33347" fmla="*/ 9888773 w 10693106"/>
              <a:gd name="connsiteY52-33348" fmla="*/ 508356 h 5292022"/>
              <a:gd name="connsiteX53-33349" fmla="*/ 9998840 w 10693106"/>
              <a:gd name="connsiteY53-33350" fmla="*/ 559156 h 5292022"/>
              <a:gd name="connsiteX54-33351" fmla="*/ 10083506 w 10693106"/>
              <a:gd name="connsiteY54-33352" fmla="*/ 618422 h 5292022"/>
              <a:gd name="connsiteX55-33353" fmla="*/ 10286706 w 10693106"/>
              <a:gd name="connsiteY55-33354" fmla="*/ 686156 h 5292022"/>
              <a:gd name="connsiteX56-33355" fmla="*/ 10388306 w 10693106"/>
              <a:gd name="connsiteY56-33356" fmla="*/ 889356 h 5292022"/>
              <a:gd name="connsiteX57-33357" fmla="*/ 10540706 w 10693106"/>
              <a:gd name="connsiteY57-33358" fmla="*/ 1261889 h 5292022"/>
              <a:gd name="connsiteX58-33359" fmla="*/ 10557640 w 10693106"/>
              <a:gd name="connsiteY58-33360" fmla="*/ 1346556 h 5292022"/>
              <a:gd name="connsiteX59-33361" fmla="*/ 10583040 w 10693106"/>
              <a:gd name="connsiteY59-33362" fmla="*/ 1448156 h 5292022"/>
              <a:gd name="connsiteX60-33363" fmla="*/ 10616906 w 10693106"/>
              <a:gd name="connsiteY60-33364" fmla="*/ 1651356 h 5292022"/>
              <a:gd name="connsiteX61-33365" fmla="*/ 10633840 w 10693106"/>
              <a:gd name="connsiteY61-33366" fmla="*/ 1736022 h 5292022"/>
              <a:gd name="connsiteX62-33367" fmla="*/ 10650773 w 10693106"/>
              <a:gd name="connsiteY62-33368" fmla="*/ 1769889 h 5292022"/>
              <a:gd name="connsiteX63-33369" fmla="*/ 10676173 w 10693106"/>
              <a:gd name="connsiteY63-33370" fmla="*/ 1854556 h 5292022"/>
              <a:gd name="connsiteX64-33371" fmla="*/ 10693106 w 10693106"/>
              <a:gd name="connsiteY64-33372" fmla="*/ 2006956 h 5292022"/>
              <a:gd name="connsiteX65-33373" fmla="*/ 10625373 w 10693106"/>
              <a:gd name="connsiteY65-33374" fmla="*/ 2227089 h 5292022"/>
              <a:gd name="connsiteX66-33375" fmla="*/ 10608440 w 10693106"/>
              <a:gd name="connsiteY66-33376" fmla="*/ 2252489 h 5292022"/>
              <a:gd name="connsiteX67-33377" fmla="*/ 10540706 w 10693106"/>
              <a:gd name="connsiteY67-33378" fmla="*/ 2396422 h 5292022"/>
              <a:gd name="connsiteX68-33379" fmla="*/ 10498373 w 10693106"/>
              <a:gd name="connsiteY68-33380" fmla="*/ 2481089 h 5292022"/>
              <a:gd name="connsiteX69-33381" fmla="*/ 10439106 w 10693106"/>
              <a:gd name="connsiteY69-33382" fmla="*/ 2667356 h 5292022"/>
              <a:gd name="connsiteX70-33383" fmla="*/ 10430640 w 10693106"/>
              <a:gd name="connsiteY70-33384" fmla="*/ 2709689 h 5292022"/>
              <a:gd name="connsiteX71-33385" fmla="*/ 10405240 w 10693106"/>
              <a:gd name="connsiteY71-33386" fmla="*/ 2785889 h 5292022"/>
              <a:gd name="connsiteX72-33387" fmla="*/ 10396773 w 10693106"/>
              <a:gd name="connsiteY72-33388" fmla="*/ 2819756 h 5292022"/>
              <a:gd name="connsiteX73-33389" fmla="*/ 10362906 w 10693106"/>
              <a:gd name="connsiteY73-33390" fmla="*/ 2912889 h 5292022"/>
              <a:gd name="connsiteX74-33391" fmla="*/ 10329040 w 10693106"/>
              <a:gd name="connsiteY74-33392" fmla="*/ 2955222 h 5292022"/>
              <a:gd name="connsiteX75-33393" fmla="*/ 10227440 w 10693106"/>
              <a:gd name="connsiteY75-33394" fmla="*/ 3056822 h 5292022"/>
              <a:gd name="connsiteX76-33395" fmla="*/ 10168173 w 10693106"/>
              <a:gd name="connsiteY76-33396" fmla="*/ 3124556 h 5292022"/>
              <a:gd name="connsiteX77-33397" fmla="*/ 10117373 w 10693106"/>
              <a:gd name="connsiteY77-33398" fmla="*/ 3175356 h 5292022"/>
              <a:gd name="connsiteX78-33399" fmla="*/ 10032706 w 10693106"/>
              <a:gd name="connsiteY78-33400" fmla="*/ 3276956 h 5292022"/>
              <a:gd name="connsiteX79-33401" fmla="*/ 9948040 w 10693106"/>
              <a:gd name="connsiteY79-33402" fmla="*/ 3336222 h 5292022"/>
              <a:gd name="connsiteX80-33403" fmla="*/ 9905706 w 10693106"/>
              <a:gd name="connsiteY80-33404" fmla="*/ 3361622 h 5292022"/>
              <a:gd name="connsiteX81-33405" fmla="*/ 9829506 w 10693106"/>
              <a:gd name="connsiteY81-33406" fmla="*/ 3378556 h 5292022"/>
              <a:gd name="connsiteX82-33407" fmla="*/ 9727906 w 10693106"/>
              <a:gd name="connsiteY82-33408" fmla="*/ 3420889 h 5292022"/>
              <a:gd name="connsiteX83-33409" fmla="*/ 9634773 w 10693106"/>
              <a:gd name="connsiteY83-33410" fmla="*/ 3446289 h 5292022"/>
              <a:gd name="connsiteX84-33411" fmla="*/ 9456973 w 10693106"/>
              <a:gd name="connsiteY84-33412" fmla="*/ 3539422 h 5292022"/>
              <a:gd name="connsiteX85-33413" fmla="*/ 9313040 w 10693106"/>
              <a:gd name="connsiteY85-33414" fmla="*/ 3666422 h 5292022"/>
              <a:gd name="connsiteX86-33415" fmla="*/ 9279173 w 10693106"/>
              <a:gd name="connsiteY86-33416" fmla="*/ 3683356 h 5292022"/>
              <a:gd name="connsiteX87-33417" fmla="*/ 9067506 w 10693106"/>
              <a:gd name="connsiteY87-33418" fmla="*/ 3861156 h 5292022"/>
              <a:gd name="connsiteX88-33419" fmla="*/ 8999773 w 10693106"/>
              <a:gd name="connsiteY88-33420" fmla="*/ 3928889 h 5292022"/>
              <a:gd name="connsiteX89-33421" fmla="*/ 8813506 w 10693106"/>
              <a:gd name="connsiteY89-33422" fmla="*/ 4064356 h 5292022"/>
              <a:gd name="connsiteX90-33423" fmla="*/ 8728840 w 10693106"/>
              <a:gd name="connsiteY90-33424" fmla="*/ 4106689 h 5292022"/>
              <a:gd name="connsiteX91-33425" fmla="*/ 8373240 w 10693106"/>
              <a:gd name="connsiteY91-33426" fmla="*/ 4140556 h 5292022"/>
              <a:gd name="connsiteX92-33427" fmla="*/ 7966840 w 10693106"/>
              <a:gd name="connsiteY92-33428" fmla="*/ 4233689 h 5292022"/>
              <a:gd name="connsiteX93-33429" fmla="*/ 7687440 w 10693106"/>
              <a:gd name="connsiteY93-33430" fmla="*/ 4394556 h 5292022"/>
              <a:gd name="connsiteX94-33431" fmla="*/ 7374173 w 10693106"/>
              <a:gd name="connsiteY94-33432" fmla="*/ 4657022 h 5292022"/>
              <a:gd name="connsiteX95-33433" fmla="*/ 7374173 w 10693106"/>
              <a:gd name="connsiteY95-33434" fmla="*/ 4657022 h 5292022"/>
              <a:gd name="connsiteX96-33435" fmla="*/ 7221773 w 10693106"/>
              <a:gd name="connsiteY96-33436" fmla="*/ 4775556 h 5292022"/>
              <a:gd name="connsiteX97-33437" fmla="*/ 7027040 w 10693106"/>
              <a:gd name="connsiteY97-33438" fmla="*/ 4902556 h 5292022"/>
              <a:gd name="connsiteX98-33439" fmla="*/ 6883106 w 10693106"/>
              <a:gd name="connsiteY98-33440" fmla="*/ 4970289 h 5292022"/>
              <a:gd name="connsiteX99-33441" fmla="*/ 6815373 w 10693106"/>
              <a:gd name="connsiteY99-33442" fmla="*/ 5012622 h 5292022"/>
              <a:gd name="connsiteX100-33443" fmla="*/ 6646040 w 10693106"/>
              <a:gd name="connsiteY100-33444" fmla="*/ 5105756 h 5292022"/>
              <a:gd name="connsiteX101-33445" fmla="*/ 6527506 w 10693106"/>
              <a:gd name="connsiteY101-33446" fmla="*/ 5165022 h 5292022"/>
              <a:gd name="connsiteX102-33447" fmla="*/ 6298906 w 10693106"/>
              <a:gd name="connsiteY102-33448" fmla="*/ 5241222 h 5292022"/>
              <a:gd name="connsiteX103-33449" fmla="*/ 6197306 w 10693106"/>
              <a:gd name="connsiteY103-33450" fmla="*/ 5266622 h 5292022"/>
              <a:gd name="connsiteX104-33451" fmla="*/ 6061840 w 10693106"/>
              <a:gd name="connsiteY104-33452" fmla="*/ 5275089 h 5292022"/>
              <a:gd name="connsiteX105-33453" fmla="*/ 5917906 w 10693106"/>
              <a:gd name="connsiteY105-33454" fmla="*/ 5292022 h 5292022"/>
              <a:gd name="connsiteX106-33455" fmla="*/ 5748573 w 10693106"/>
              <a:gd name="connsiteY106-33456" fmla="*/ 5283556 h 5292022"/>
              <a:gd name="connsiteX107-33457" fmla="*/ 5282906 w 10693106"/>
              <a:gd name="connsiteY107-33458" fmla="*/ 5173489 h 5292022"/>
              <a:gd name="connsiteX108-33459" fmla="*/ 4959480 w 10693106"/>
              <a:gd name="connsiteY108-33460" fmla="*/ 4988069 h 5292022"/>
              <a:gd name="connsiteX109-33461" fmla="*/ 4686853 w 10693106"/>
              <a:gd name="connsiteY109-33462" fmla="*/ 4788256 h 5292022"/>
              <a:gd name="connsiteX110-33463" fmla="*/ 3977346 w 10693106"/>
              <a:gd name="connsiteY110-33464" fmla="*/ 4470544 h 5292022"/>
              <a:gd name="connsiteX111-33465" fmla="*/ 3741550 w 10693106"/>
              <a:gd name="connsiteY111-33466" fmla="*/ 4154102 h 5292022"/>
              <a:gd name="connsiteX112-33467" fmla="*/ 3562056 w 10693106"/>
              <a:gd name="connsiteY112-33468" fmla="*/ 3406919 h 5292022"/>
              <a:gd name="connsiteX113-33469" fmla="*/ 3242440 w 10693106"/>
              <a:gd name="connsiteY113-33470" fmla="*/ 3099156 h 5292022"/>
              <a:gd name="connsiteX114-33471" fmla="*/ 3123906 w 10693106"/>
              <a:gd name="connsiteY114-33472" fmla="*/ 2997556 h 5292022"/>
              <a:gd name="connsiteX115-33473" fmla="*/ 2988440 w 10693106"/>
              <a:gd name="connsiteY115-33474" fmla="*/ 2802822 h 5292022"/>
              <a:gd name="connsiteX116-33475" fmla="*/ 2971506 w 10693106"/>
              <a:gd name="connsiteY116-33476" fmla="*/ 2743556 h 5292022"/>
              <a:gd name="connsiteX117-33477" fmla="*/ 2996906 w 10693106"/>
              <a:gd name="connsiteY117-33478" fmla="*/ 2531889 h 5292022"/>
              <a:gd name="connsiteX118-33479" fmla="*/ 3013840 w 10693106"/>
              <a:gd name="connsiteY118-33480" fmla="*/ 2430289 h 5292022"/>
              <a:gd name="connsiteX119-33481" fmla="*/ 3005373 w 10693106"/>
              <a:gd name="connsiteY119-33482" fmla="*/ 2311756 h 5292022"/>
              <a:gd name="connsiteX120-33483" fmla="*/ 2988440 w 10693106"/>
              <a:gd name="connsiteY120-33484" fmla="*/ 2260956 h 5292022"/>
              <a:gd name="connsiteX121-33485" fmla="*/ 2802173 w 10693106"/>
              <a:gd name="connsiteY121-33486" fmla="*/ 2006956 h 5292022"/>
              <a:gd name="connsiteX122-33487" fmla="*/ 2641306 w 10693106"/>
              <a:gd name="connsiteY122-33488" fmla="*/ 1863022 h 5292022"/>
              <a:gd name="connsiteX123-33489" fmla="*/ 2590506 w 10693106"/>
              <a:gd name="connsiteY123-33490" fmla="*/ 1837622 h 5292022"/>
              <a:gd name="connsiteX124-33491" fmla="*/ 2531240 w 10693106"/>
              <a:gd name="connsiteY124-33492" fmla="*/ 1829156 h 5292022"/>
              <a:gd name="connsiteX125-33493" fmla="*/ 2446573 w 10693106"/>
              <a:gd name="connsiteY125-33494" fmla="*/ 1812222 h 5292022"/>
              <a:gd name="connsiteX126-33495" fmla="*/ 2251840 w 10693106"/>
              <a:gd name="connsiteY126-33496" fmla="*/ 1837622 h 5292022"/>
              <a:gd name="connsiteX127-33497" fmla="*/ 2167173 w 10693106"/>
              <a:gd name="connsiteY127-33498" fmla="*/ 1879956 h 5292022"/>
              <a:gd name="connsiteX128-33499" fmla="*/ 1980906 w 10693106"/>
              <a:gd name="connsiteY128-33500" fmla="*/ 1939222 h 5292022"/>
              <a:gd name="connsiteX129-33501" fmla="*/ 1904706 w 10693106"/>
              <a:gd name="connsiteY129-33502" fmla="*/ 1973089 h 5292022"/>
              <a:gd name="connsiteX130-33503" fmla="*/ 1828506 w 10693106"/>
              <a:gd name="connsiteY130-33504" fmla="*/ 1990022 h 5292022"/>
              <a:gd name="connsiteX131-33505" fmla="*/ 1726906 w 10693106"/>
              <a:gd name="connsiteY131-33506" fmla="*/ 2040822 h 5292022"/>
              <a:gd name="connsiteX132-33507" fmla="*/ 1659173 w 10693106"/>
              <a:gd name="connsiteY132-33508" fmla="*/ 2074689 h 5292022"/>
              <a:gd name="connsiteX133-33509" fmla="*/ 1498306 w 10693106"/>
              <a:gd name="connsiteY133-33510" fmla="*/ 2100089 h 5292022"/>
              <a:gd name="connsiteX134-33511" fmla="*/ 914106 w 10693106"/>
              <a:gd name="connsiteY134-33512" fmla="*/ 2032356 h 5292022"/>
              <a:gd name="connsiteX135-33513" fmla="*/ 617773 w 10693106"/>
              <a:gd name="connsiteY135-33514" fmla="*/ 1922289 h 5292022"/>
              <a:gd name="connsiteX136-33515" fmla="*/ 516173 w 10693106"/>
              <a:gd name="connsiteY136-33516" fmla="*/ 1837622 h 5292022"/>
              <a:gd name="connsiteX137-33517" fmla="*/ 355306 w 10693106"/>
              <a:gd name="connsiteY137-33518" fmla="*/ 1625956 h 5292022"/>
              <a:gd name="connsiteX138-33519" fmla="*/ 296040 w 10693106"/>
              <a:gd name="connsiteY138-33520" fmla="*/ 1524356 h 5292022"/>
              <a:gd name="connsiteX139-33521" fmla="*/ 253706 w 10693106"/>
              <a:gd name="connsiteY139-33522" fmla="*/ 1346556 h 5292022"/>
              <a:gd name="connsiteX140-33523" fmla="*/ 245240 w 10693106"/>
              <a:gd name="connsiteY140-33524" fmla="*/ 1219556 h 5292022"/>
              <a:gd name="connsiteX141-33525" fmla="*/ 236773 w 10693106"/>
              <a:gd name="connsiteY141-33526" fmla="*/ 1117956 h 5292022"/>
              <a:gd name="connsiteX142-33527" fmla="*/ 245240 w 10693106"/>
              <a:gd name="connsiteY142-33528" fmla="*/ 847022 h 5292022"/>
              <a:gd name="connsiteX143-33529" fmla="*/ 236773 w 10693106"/>
              <a:gd name="connsiteY143-33530" fmla="*/ 703089 h 5292022"/>
              <a:gd name="connsiteX144-33531" fmla="*/ 109773 w 10693106"/>
              <a:gd name="connsiteY144-33532" fmla="*/ 559156 h 5292022"/>
              <a:gd name="connsiteX145-33533" fmla="*/ 58973 w 10693106"/>
              <a:gd name="connsiteY145-33534" fmla="*/ 482956 h 5292022"/>
              <a:gd name="connsiteX146-33535" fmla="*/ 16640 w 10693106"/>
              <a:gd name="connsiteY146-33536" fmla="*/ 432156 h 5292022"/>
              <a:gd name="connsiteX147-33537" fmla="*/ 8173 w 10693106"/>
              <a:gd name="connsiteY147-33538" fmla="*/ 389822 h 5292022"/>
              <a:gd name="connsiteX148-33539" fmla="*/ 16640 w 10693106"/>
              <a:gd name="connsiteY148-33540" fmla="*/ 339022 h 5292022"/>
              <a:gd name="connsiteX0-33541" fmla="*/ 16640 w 10693106"/>
              <a:gd name="connsiteY0-33542" fmla="*/ 339022 h 5292022"/>
              <a:gd name="connsiteX1-33543" fmla="*/ 58973 w 10693106"/>
              <a:gd name="connsiteY1-33544" fmla="*/ 245889 h 5292022"/>
              <a:gd name="connsiteX2-33545" fmla="*/ 109773 w 10693106"/>
              <a:gd name="connsiteY2-33546" fmla="*/ 178156 h 5292022"/>
              <a:gd name="connsiteX3-33547" fmla="*/ 202906 w 10693106"/>
              <a:gd name="connsiteY3-33548" fmla="*/ 93489 h 5292022"/>
              <a:gd name="connsiteX4-33549" fmla="*/ 236773 w 10693106"/>
              <a:gd name="connsiteY4-33550" fmla="*/ 68089 h 5292022"/>
              <a:gd name="connsiteX5-33551" fmla="*/ 335410 w 10693106"/>
              <a:gd name="connsiteY5-33552" fmla="*/ 58352 h 5292022"/>
              <a:gd name="connsiteX6-33553" fmla="*/ 382400 w 10693106"/>
              <a:gd name="connsiteY6-33554" fmla="*/ 51156 h 5292022"/>
              <a:gd name="connsiteX7-33555" fmla="*/ 434912 w 10693106"/>
              <a:gd name="connsiteY7-33556" fmla="*/ 70071 h 5292022"/>
              <a:gd name="connsiteX8-33557" fmla="*/ 492697 w 10693106"/>
              <a:gd name="connsiteY8-33558" fmla="*/ 74247 h 5292022"/>
              <a:gd name="connsiteX9-33559" fmla="*/ 822897 w 10693106"/>
              <a:gd name="connsiteY9-33560" fmla="*/ 82713 h 5292022"/>
              <a:gd name="connsiteX10-33561" fmla="*/ 1091906 w 10693106"/>
              <a:gd name="connsiteY10-33562" fmla="*/ 356 h 5292022"/>
              <a:gd name="connsiteX11-33563" fmla="*/ 1235840 w 10693106"/>
              <a:gd name="connsiteY11-33564" fmla="*/ 59622 h 5292022"/>
              <a:gd name="connsiteX12-33565" fmla="*/ 1337440 w 10693106"/>
              <a:gd name="connsiteY12-33566" fmla="*/ 135822 h 5292022"/>
              <a:gd name="connsiteX13-33567" fmla="*/ 1422106 w 10693106"/>
              <a:gd name="connsiteY13-33568" fmla="*/ 245889 h 5292022"/>
              <a:gd name="connsiteX14-33569" fmla="*/ 1481373 w 10693106"/>
              <a:gd name="connsiteY14-33570" fmla="*/ 313622 h 5292022"/>
              <a:gd name="connsiteX15-33571" fmla="*/ 1532173 w 10693106"/>
              <a:gd name="connsiteY15-33572" fmla="*/ 347489 h 5292022"/>
              <a:gd name="connsiteX16-33573" fmla="*/ 1684573 w 10693106"/>
              <a:gd name="connsiteY16-33574" fmla="*/ 406756 h 5292022"/>
              <a:gd name="connsiteX17-33575" fmla="*/ 1760773 w 10693106"/>
              <a:gd name="connsiteY17-33576" fmla="*/ 423689 h 5292022"/>
              <a:gd name="connsiteX18-33577" fmla="*/ 1997840 w 10693106"/>
              <a:gd name="connsiteY18-33578" fmla="*/ 415222 h 5292022"/>
              <a:gd name="connsiteX19-33579" fmla="*/ 2116373 w 10693106"/>
              <a:gd name="connsiteY19-33580" fmla="*/ 398289 h 5292022"/>
              <a:gd name="connsiteX20-33581" fmla="*/ 2260306 w 10693106"/>
              <a:gd name="connsiteY20-33582" fmla="*/ 381356 h 5292022"/>
              <a:gd name="connsiteX21-33583" fmla="*/ 2404240 w 10693106"/>
              <a:gd name="connsiteY21-33584" fmla="*/ 355956 h 5292022"/>
              <a:gd name="connsiteX22-33585" fmla="*/ 2455040 w 10693106"/>
              <a:gd name="connsiteY22-33586" fmla="*/ 330556 h 5292022"/>
              <a:gd name="connsiteX23-33587" fmla="*/ 2531240 w 10693106"/>
              <a:gd name="connsiteY23-33588" fmla="*/ 305156 h 5292022"/>
              <a:gd name="connsiteX24-33589" fmla="*/ 2649350 w 10693106"/>
              <a:gd name="connsiteY24-33590" fmla="*/ 225781 h 5292022"/>
              <a:gd name="connsiteX25-33591" fmla="*/ 2742906 w 10693106"/>
              <a:gd name="connsiteY25-33592" fmla="*/ 186622 h 5292022"/>
              <a:gd name="connsiteX26-33593" fmla="*/ 2764920 w 10693106"/>
              <a:gd name="connsiteY26-33594" fmla="*/ 173076 h 5292022"/>
              <a:gd name="connsiteX27-33595" fmla="*/ 2832653 w 10693106"/>
              <a:gd name="connsiteY27-33596" fmla="*/ 167996 h 5292022"/>
              <a:gd name="connsiteX28-33597" fmla="*/ 3002294 w 10693106"/>
              <a:gd name="connsiteY28-33598" fmla="*/ 154680 h 5292022"/>
              <a:gd name="connsiteX29-33599" fmla="*/ 3142763 w 10693106"/>
              <a:gd name="connsiteY29-33600" fmla="*/ 110421 h 5292022"/>
              <a:gd name="connsiteX30-33601" fmla="*/ 3398918 w 10693106"/>
              <a:gd name="connsiteY30-33602" fmla="*/ 72322 h 5292022"/>
              <a:gd name="connsiteX31-33603" fmla="*/ 3606506 w 10693106"/>
              <a:gd name="connsiteY31-33604" fmla="*/ 60393 h 5292022"/>
              <a:gd name="connsiteX32-33605" fmla="*/ 3682706 w 10693106"/>
              <a:gd name="connsiteY32-33606" fmla="*/ 79942 h 5292022"/>
              <a:gd name="connsiteX33-33607" fmla="*/ 3741973 w 10693106"/>
              <a:gd name="connsiteY33-33608" fmla="*/ 86561 h 5292022"/>
              <a:gd name="connsiteX34-33609" fmla="*/ 3794678 w 10693106"/>
              <a:gd name="connsiteY34-33610" fmla="*/ 101321 h 5292022"/>
              <a:gd name="connsiteX35-33611" fmla="*/ 3833625 w 10693106"/>
              <a:gd name="connsiteY35-33612" fmla="*/ 110846 h 5292022"/>
              <a:gd name="connsiteX36-33613" fmla="*/ 3892487 w 10693106"/>
              <a:gd name="connsiteY36-33614" fmla="*/ 116984 h 5292022"/>
              <a:gd name="connsiteX37-33615" fmla="*/ 3933108 w 10693106"/>
              <a:gd name="connsiteY37-33616" fmla="*/ 128837 h 5292022"/>
              <a:gd name="connsiteX38-33617" fmla="*/ 3976923 w 10693106"/>
              <a:gd name="connsiteY38-33618" fmla="*/ 135187 h 5292022"/>
              <a:gd name="connsiteX39-33619" fmla="*/ 4021373 w 10693106"/>
              <a:gd name="connsiteY39-33620" fmla="*/ 144289 h 5292022"/>
              <a:gd name="connsiteX40-33621" fmla="*/ 4055240 w 10693106"/>
              <a:gd name="connsiteY40-33622" fmla="*/ 152756 h 5292022"/>
              <a:gd name="connsiteX41-33623" fmla="*/ 4275373 w 10693106"/>
              <a:gd name="connsiteY41-33624" fmla="*/ 195089 h 5292022"/>
              <a:gd name="connsiteX42-33625" fmla="*/ 4402373 w 10693106"/>
              <a:gd name="connsiteY42-33626" fmla="*/ 228956 h 5292022"/>
              <a:gd name="connsiteX43-33627" fmla="*/ 4529373 w 10693106"/>
              <a:gd name="connsiteY43-33628" fmla="*/ 271289 h 5292022"/>
              <a:gd name="connsiteX44-33629" fmla="*/ 5045840 w 10693106"/>
              <a:gd name="connsiteY44-33630" fmla="*/ 423689 h 5292022"/>
              <a:gd name="connsiteX45-33631" fmla="*/ 5630810 w 10693106"/>
              <a:gd name="connsiteY45-33632" fmla="*/ 1149898 h 5292022"/>
              <a:gd name="connsiteX46-33633" fmla="*/ 6839926 w 10693106"/>
              <a:gd name="connsiteY46-33634" fmla="*/ 1252152 h 5292022"/>
              <a:gd name="connsiteX47-33635" fmla="*/ 7703950 w 10693106"/>
              <a:gd name="connsiteY47-33636" fmla="*/ 1069696 h 5292022"/>
              <a:gd name="connsiteX48-33637" fmla="*/ 8652640 w 10693106"/>
              <a:gd name="connsiteY48-33638" fmla="*/ 677689 h 5292022"/>
              <a:gd name="connsiteX49-33639" fmla="*/ 8982840 w 10693106"/>
              <a:gd name="connsiteY49-33640" fmla="*/ 398289 h 5292022"/>
              <a:gd name="connsiteX50-33641" fmla="*/ 9380773 w 10693106"/>
              <a:gd name="connsiteY50-33642" fmla="*/ 355956 h 5292022"/>
              <a:gd name="connsiteX51-33643" fmla="*/ 9744840 w 10693106"/>
              <a:gd name="connsiteY51-33644" fmla="*/ 466022 h 5292022"/>
              <a:gd name="connsiteX52-33645" fmla="*/ 9888773 w 10693106"/>
              <a:gd name="connsiteY52-33646" fmla="*/ 508356 h 5292022"/>
              <a:gd name="connsiteX53-33647" fmla="*/ 9998840 w 10693106"/>
              <a:gd name="connsiteY53-33648" fmla="*/ 559156 h 5292022"/>
              <a:gd name="connsiteX54-33649" fmla="*/ 10083506 w 10693106"/>
              <a:gd name="connsiteY54-33650" fmla="*/ 618422 h 5292022"/>
              <a:gd name="connsiteX55-33651" fmla="*/ 10286706 w 10693106"/>
              <a:gd name="connsiteY55-33652" fmla="*/ 686156 h 5292022"/>
              <a:gd name="connsiteX56-33653" fmla="*/ 10388306 w 10693106"/>
              <a:gd name="connsiteY56-33654" fmla="*/ 889356 h 5292022"/>
              <a:gd name="connsiteX57-33655" fmla="*/ 10540706 w 10693106"/>
              <a:gd name="connsiteY57-33656" fmla="*/ 1261889 h 5292022"/>
              <a:gd name="connsiteX58-33657" fmla="*/ 10557640 w 10693106"/>
              <a:gd name="connsiteY58-33658" fmla="*/ 1346556 h 5292022"/>
              <a:gd name="connsiteX59-33659" fmla="*/ 10583040 w 10693106"/>
              <a:gd name="connsiteY59-33660" fmla="*/ 1448156 h 5292022"/>
              <a:gd name="connsiteX60-33661" fmla="*/ 10616906 w 10693106"/>
              <a:gd name="connsiteY60-33662" fmla="*/ 1651356 h 5292022"/>
              <a:gd name="connsiteX61-33663" fmla="*/ 10633840 w 10693106"/>
              <a:gd name="connsiteY61-33664" fmla="*/ 1736022 h 5292022"/>
              <a:gd name="connsiteX62-33665" fmla="*/ 10650773 w 10693106"/>
              <a:gd name="connsiteY62-33666" fmla="*/ 1769889 h 5292022"/>
              <a:gd name="connsiteX63-33667" fmla="*/ 10676173 w 10693106"/>
              <a:gd name="connsiteY63-33668" fmla="*/ 1854556 h 5292022"/>
              <a:gd name="connsiteX64-33669" fmla="*/ 10693106 w 10693106"/>
              <a:gd name="connsiteY64-33670" fmla="*/ 2006956 h 5292022"/>
              <a:gd name="connsiteX65-33671" fmla="*/ 10625373 w 10693106"/>
              <a:gd name="connsiteY65-33672" fmla="*/ 2227089 h 5292022"/>
              <a:gd name="connsiteX66-33673" fmla="*/ 10608440 w 10693106"/>
              <a:gd name="connsiteY66-33674" fmla="*/ 2252489 h 5292022"/>
              <a:gd name="connsiteX67-33675" fmla="*/ 10540706 w 10693106"/>
              <a:gd name="connsiteY67-33676" fmla="*/ 2396422 h 5292022"/>
              <a:gd name="connsiteX68-33677" fmla="*/ 10498373 w 10693106"/>
              <a:gd name="connsiteY68-33678" fmla="*/ 2481089 h 5292022"/>
              <a:gd name="connsiteX69-33679" fmla="*/ 10439106 w 10693106"/>
              <a:gd name="connsiteY69-33680" fmla="*/ 2667356 h 5292022"/>
              <a:gd name="connsiteX70-33681" fmla="*/ 10430640 w 10693106"/>
              <a:gd name="connsiteY70-33682" fmla="*/ 2709689 h 5292022"/>
              <a:gd name="connsiteX71-33683" fmla="*/ 10405240 w 10693106"/>
              <a:gd name="connsiteY71-33684" fmla="*/ 2785889 h 5292022"/>
              <a:gd name="connsiteX72-33685" fmla="*/ 10396773 w 10693106"/>
              <a:gd name="connsiteY72-33686" fmla="*/ 2819756 h 5292022"/>
              <a:gd name="connsiteX73-33687" fmla="*/ 10362906 w 10693106"/>
              <a:gd name="connsiteY73-33688" fmla="*/ 2912889 h 5292022"/>
              <a:gd name="connsiteX74-33689" fmla="*/ 10329040 w 10693106"/>
              <a:gd name="connsiteY74-33690" fmla="*/ 2955222 h 5292022"/>
              <a:gd name="connsiteX75-33691" fmla="*/ 10227440 w 10693106"/>
              <a:gd name="connsiteY75-33692" fmla="*/ 3056822 h 5292022"/>
              <a:gd name="connsiteX76-33693" fmla="*/ 10168173 w 10693106"/>
              <a:gd name="connsiteY76-33694" fmla="*/ 3124556 h 5292022"/>
              <a:gd name="connsiteX77-33695" fmla="*/ 10117373 w 10693106"/>
              <a:gd name="connsiteY77-33696" fmla="*/ 3175356 h 5292022"/>
              <a:gd name="connsiteX78-33697" fmla="*/ 10032706 w 10693106"/>
              <a:gd name="connsiteY78-33698" fmla="*/ 3276956 h 5292022"/>
              <a:gd name="connsiteX79-33699" fmla="*/ 9948040 w 10693106"/>
              <a:gd name="connsiteY79-33700" fmla="*/ 3336222 h 5292022"/>
              <a:gd name="connsiteX80-33701" fmla="*/ 9905706 w 10693106"/>
              <a:gd name="connsiteY80-33702" fmla="*/ 3361622 h 5292022"/>
              <a:gd name="connsiteX81-33703" fmla="*/ 9829506 w 10693106"/>
              <a:gd name="connsiteY81-33704" fmla="*/ 3378556 h 5292022"/>
              <a:gd name="connsiteX82-33705" fmla="*/ 9727906 w 10693106"/>
              <a:gd name="connsiteY82-33706" fmla="*/ 3420889 h 5292022"/>
              <a:gd name="connsiteX83-33707" fmla="*/ 9634773 w 10693106"/>
              <a:gd name="connsiteY83-33708" fmla="*/ 3446289 h 5292022"/>
              <a:gd name="connsiteX84-33709" fmla="*/ 9456973 w 10693106"/>
              <a:gd name="connsiteY84-33710" fmla="*/ 3539422 h 5292022"/>
              <a:gd name="connsiteX85-33711" fmla="*/ 9313040 w 10693106"/>
              <a:gd name="connsiteY85-33712" fmla="*/ 3666422 h 5292022"/>
              <a:gd name="connsiteX86-33713" fmla="*/ 9279173 w 10693106"/>
              <a:gd name="connsiteY86-33714" fmla="*/ 3683356 h 5292022"/>
              <a:gd name="connsiteX87-33715" fmla="*/ 9067506 w 10693106"/>
              <a:gd name="connsiteY87-33716" fmla="*/ 3861156 h 5292022"/>
              <a:gd name="connsiteX88-33717" fmla="*/ 8999773 w 10693106"/>
              <a:gd name="connsiteY88-33718" fmla="*/ 3928889 h 5292022"/>
              <a:gd name="connsiteX89-33719" fmla="*/ 8813506 w 10693106"/>
              <a:gd name="connsiteY89-33720" fmla="*/ 4064356 h 5292022"/>
              <a:gd name="connsiteX90-33721" fmla="*/ 8728840 w 10693106"/>
              <a:gd name="connsiteY90-33722" fmla="*/ 4106689 h 5292022"/>
              <a:gd name="connsiteX91-33723" fmla="*/ 8373240 w 10693106"/>
              <a:gd name="connsiteY91-33724" fmla="*/ 4140556 h 5292022"/>
              <a:gd name="connsiteX92-33725" fmla="*/ 7966840 w 10693106"/>
              <a:gd name="connsiteY92-33726" fmla="*/ 4233689 h 5292022"/>
              <a:gd name="connsiteX93-33727" fmla="*/ 7687440 w 10693106"/>
              <a:gd name="connsiteY93-33728" fmla="*/ 4394556 h 5292022"/>
              <a:gd name="connsiteX94-33729" fmla="*/ 7374173 w 10693106"/>
              <a:gd name="connsiteY94-33730" fmla="*/ 4657022 h 5292022"/>
              <a:gd name="connsiteX95-33731" fmla="*/ 7374173 w 10693106"/>
              <a:gd name="connsiteY95-33732" fmla="*/ 4657022 h 5292022"/>
              <a:gd name="connsiteX96-33733" fmla="*/ 7221773 w 10693106"/>
              <a:gd name="connsiteY96-33734" fmla="*/ 4775556 h 5292022"/>
              <a:gd name="connsiteX97-33735" fmla="*/ 7027040 w 10693106"/>
              <a:gd name="connsiteY97-33736" fmla="*/ 4902556 h 5292022"/>
              <a:gd name="connsiteX98-33737" fmla="*/ 6883106 w 10693106"/>
              <a:gd name="connsiteY98-33738" fmla="*/ 4970289 h 5292022"/>
              <a:gd name="connsiteX99-33739" fmla="*/ 6815373 w 10693106"/>
              <a:gd name="connsiteY99-33740" fmla="*/ 5012622 h 5292022"/>
              <a:gd name="connsiteX100-33741" fmla="*/ 6646040 w 10693106"/>
              <a:gd name="connsiteY100-33742" fmla="*/ 5105756 h 5292022"/>
              <a:gd name="connsiteX101-33743" fmla="*/ 6527506 w 10693106"/>
              <a:gd name="connsiteY101-33744" fmla="*/ 5165022 h 5292022"/>
              <a:gd name="connsiteX102-33745" fmla="*/ 6298906 w 10693106"/>
              <a:gd name="connsiteY102-33746" fmla="*/ 5241222 h 5292022"/>
              <a:gd name="connsiteX103-33747" fmla="*/ 6197306 w 10693106"/>
              <a:gd name="connsiteY103-33748" fmla="*/ 5266622 h 5292022"/>
              <a:gd name="connsiteX104-33749" fmla="*/ 6061840 w 10693106"/>
              <a:gd name="connsiteY104-33750" fmla="*/ 5275089 h 5292022"/>
              <a:gd name="connsiteX105-33751" fmla="*/ 5917906 w 10693106"/>
              <a:gd name="connsiteY105-33752" fmla="*/ 5292022 h 5292022"/>
              <a:gd name="connsiteX106-33753" fmla="*/ 5748573 w 10693106"/>
              <a:gd name="connsiteY106-33754" fmla="*/ 5283556 h 5292022"/>
              <a:gd name="connsiteX107-33755" fmla="*/ 5282906 w 10693106"/>
              <a:gd name="connsiteY107-33756" fmla="*/ 5173489 h 5292022"/>
              <a:gd name="connsiteX108-33757" fmla="*/ 4959480 w 10693106"/>
              <a:gd name="connsiteY108-33758" fmla="*/ 4988069 h 5292022"/>
              <a:gd name="connsiteX109-33759" fmla="*/ 4686853 w 10693106"/>
              <a:gd name="connsiteY109-33760" fmla="*/ 4788256 h 5292022"/>
              <a:gd name="connsiteX110-33761" fmla="*/ 3977346 w 10693106"/>
              <a:gd name="connsiteY110-33762" fmla="*/ 4470544 h 5292022"/>
              <a:gd name="connsiteX111-33763" fmla="*/ 3741550 w 10693106"/>
              <a:gd name="connsiteY111-33764" fmla="*/ 4154102 h 5292022"/>
              <a:gd name="connsiteX112-33765" fmla="*/ 3562056 w 10693106"/>
              <a:gd name="connsiteY112-33766" fmla="*/ 3406919 h 5292022"/>
              <a:gd name="connsiteX113-33767" fmla="*/ 3242440 w 10693106"/>
              <a:gd name="connsiteY113-33768" fmla="*/ 3099156 h 5292022"/>
              <a:gd name="connsiteX114-33769" fmla="*/ 3123906 w 10693106"/>
              <a:gd name="connsiteY114-33770" fmla="*/ 2997556 h 5292022"/>
              <a:gd name="connsiteX115-33771" fmla="*/ 2988440 w 10693106"/>
              <a:gd name="connsiteY115-33772" fmla="*/ 2802822 h 5292022"/>
              <a:gd name="connsiteX116-33773" fmla="*/ 2971506 w 10693106"/>
              <a:gd name="connsiteY116-33774" fmla="*/ 2743556 h 5292022"/>
              <a:gd name="connsiteX117-33775" fmla="*/ 2996906 w 10693106"/>
              <a:gd name="connsiteY117-33776" fmla="*/ 2531889 h 5292022"/>
              <a:gd name="connsiteX118-33777" fmla="*/ 3013840 w 10693106"/>
              <a:gd name="connsiteY118-33778" fmla="*/ 2430289 h 5292022"/>
              <a:gd name="connsiteX119-33779" fmla="*/ 3005373 w 10693106"/>
              <a:gd name="connsiteY119-33780" fmla="*/ 2311756 h 5292022"/>
              <a:gd name="connsiteX120-33781" fmla="*/ 2988440 w 10693106"/>
              <a:gd name="connsiteY120-33782" fmla="*/ 2260956 h 5292022"/>
              <a:gd name="connsiteX121-33783" fmla="*/ 2802173 w 10693106"/>
              <a:gd name="connsiteY121-33784" fmla="*/ 2006956 h 5292022"/>
              <a:gd name="connsiteX122-33785" fmla="*/ 2641306 w 10693106"/>
              <a:gd name="connsiteY122-33786" fmla="*/ 1863022 h 5292022"/>
              <a:gd name="connsiteX123-33787" fmla="*/ 2590506 w 10693106"/>
              <a:gd name="connsiteY123-33788" fmla="*/ 1837622 h 5292022"/>
              <a:gd name="connsiteX124-33789" fmla="*/ 2531240 w 10693106"/>
              <a:gd name="connsiteY124-33790" fmla="*/ 1829156 h 5292022"/>
              <a:gd name="connsiteX125-33791" fmla="*/ 2446573 w 10693106"/>
              <a:gd name="connsiteY125-33792" fmla="*/ 1812222 h 5292022"/>
              <a:gd name="connsiteX126-33793" fmla="*/ 2251840 w 10693106"/>
              <a:gd name="connsiteY126-33794" fmla="*/ 1837622 h 5292022"/>
              <a:gd name="connsiteX127-33795" fmla="*/ 2167173 w 10693106"/>
              <a:gd name="connsiteY127-33796" fmla="*/ 1879956 h 5292022"/>
              <a:gd name="connsiteX128-33797" fmla="*/ 1980906 w 10693106"/>
              <a:gd name="connsiteY128-33798" fmla="*/ 1939222 h 5292022"/>
              <a:gd name="connsiteX129-33799" fmla="*/ 1904706 w 10693106"/>
              <a:gd name="connsiteY129-33800" fmla="*/ 1973089 h 5292022"/>
              <a:gd name="connsiteX130-33801" fmla="*/ 1828506 w 10693106"/>
              <a:gd name="connsiteY130-33802" fmla="*/ 1990022 h 5292022"/>
              <a:gd name="connsiteX131-33803" fmla="*/ 1726906 w 10693106"/>
              <a:gd name="connsiteY131-33804" fmla="*/ 2040822 h 5292022"/>
              <a:gd name="connsiteX132-33805" fmla="*/ 1659173 w 10693106"/>
              <a:gd name="connsiteY132-33806" fmla="*/ 2074689 h 5292022"/>
              <a:gd name="connsiteX133-33807" fmla="*/ 1498306 w 10693106"/>
              <a:gd name="connsiteY133-33808" fmla="*/ 2100089 h 5292022"/>
              <a:gd name="connsiteX134-33809" fmla="*/ 914106 w 10693106"/>
              <a:gd name="connsiteY134-33810" fmla="*/ 2032356 h 5292022"/>
              <a:gd name="connsiteX135-33811" fmla="*/ 617773 w 10693106"/>
              <a:gd name="connsiteY135-33812" fmla="*/ 1922289 h 5292022"/>
              <a:gd name="connsiteX136-33813" fmla="*/ 516173 w 10693106"/>
              <a:gd name="connsiteY136-33814" fmla="*/ 1837622 h 5292022"/>
              <a:gd name="connsiteX137-33815" fmla="*/ 355306 w 10693106"/>
              <a:gd name="connsiteY137-33816" fmla="*/ 1625956 h 5292022"/>
              <a:gd name="connsiteX138-33817" fmla="*/ 296040 w 10693106"/>
              <a:gd name="connsiteY138-33818" fmla="*/ 1524356 h 5292022"/>
              <a:gd name="connsiteX139-33819" fmla="*/ 253706 w 10693106"/>
              <a:gd name="connsiteY139-33820" fmla="*/ 1346556 h 5292022"/>
              <a:gd name="connsiteX140-33821" fmla="*/ 245240 w 10693106"/>
              <a:gd name="connsiteY140-33822" fmla="*/ 1219556 h 5292022"/>
              <a:gd name="connsiteX141-33823" fmla="*/ 236773 w 10693106"/>
              <a:gd name="connsiteY141-33824" fmla="*/ 1117956 h 5292022"/>
              <a:gd name="connsiteX142-33825" fmla="*/ 245240 w 10693106"/>
              <a:gd name="connsiteY142-33826" fmla="*/ 847022 h 5292022"/>
              <a:gd name="connsiteX143-33827" fmla="*/ 236773 w 10693106"/>
              <a:gd name="connsiteY143-33828" fmla="*/ 703089 h 5292022"/>
              <a:gd name="connsiteX144-33829" fmla="*/ 109773 w 10693106"/>
              <a:gd name="connsiteY144-33830" fmla="*/ 559156 h 5292022"/>
              <a:gd name="connsiteX145-33831" fmla="*/ 58973 w 10693106"/>
              <a:gd name="connsiteY145-33832" fmla="*/ 482956 h 5292022"/>
              <a:gd name="connsiteX146-33833" fmla="*/ 16640 w 10693106"/>
              <a:gd name="connsiteY146-33834" fmla="*/ 432156 h 5292022"/>
              <a:gd name="connsiteX147-33835" fmla="*/ 8173 w 10693106"/>
              <a:gd name="connsiteY147-33836" fmla="*/ 389822 h 5292022"/>
              <a:gd name="connsiteX148-33837" fmla="*/ 16640 w 10693106"/>
              <a:gd name="connsiteY148-33838" fmla="*/ 339022 h 5292022"/>
              <a:gd name="connsiteX0-33839" fmla="*/ 16640 w 10693106"/>
              <a:gd name="connsiteY0-33840" fmla="*/ 339022 h 5292022"/>
              <a:gd name="connsiteX1-33841" fmla="*/ 58973 w 10693106"/>
              <a:gd name="connsiteY1-33842" fmla="*/ 245889 h 5292022"/>
              <a:gd name="connsiteX2-33843" fmla="*/ 109773 w 10693106"/>
              <a:gd name="connsiteY2-33844" fmla="*/ 178156 h 5292022"/>
              <a:gd name="connsiteX3-33845" fmla="*/ 202906 w 10693106"/>
              <a:gd name="connsiteY3-33846" fmla="*/ 93489 h 5292022"/>
              <a:gd name="connsiteX4-33847" fmla="*/ 236773 w 10693106"/>
              <a:gd name="connsiteY4-33848" fmla="*/ 68089 h 5292022"/>
              <a:gd name="connsiteX5-33849" fmla="*/ 335410 w 10693106"/>
              <a:gd name="connsiteY5-33850" fmla="*/ 58352 h 5292022"/>
              <a:gd name="connsiteX6-33851" fmla="*/ 382400 w 10693106"/>
              <a:gd name="connsiteY6-33852" fmla="*/ 51156 h 5292022"/>
              <a:gd name="connsiteX7-33853" fmla="*/ 434912 w 10693106"/>
              <a:gd name="connsiteY7-33854" fmla="*/ 70071 h 5292022"/>
              <a:gd name="connsiteX8-33855" fmla="*/ 492697 w 10693106"/>
              <a:gd name="connsiteY8-33856" fmla="*/ 74247 h 5292022"/>
              <a:gd name="connsiteX9-33857" fmla="*/ 822897 w 10693106"/>
              <a:gd name="connsiteY9-33858" fmla="*/ 82713 h 5292022"/>
              <a:gd name="connsiteX10-33859" fmla="*/ 1091906 w 10693106"/>
              <a:gd name="connsiteY10-33860" fmla="*/ 356 h 5292022"/>
              <a:gd name="connsiteX11-33861" fmla="*/ 1235840 w 10693106"/>
              <a:gd name="connsiteY11-33862" fmla="*/ 59622 h 5292022"/>
              <a:gd name="connsiteX12-33863" fmla="*/ 1337440 w 10693106"/>
              <a:gd name="connsiteY12-33864" fmla="*/ 135822 h 5292022"/>
              <a:gd name="connsiteX13-33865" fmla="*/ 1422106 w 10693106"/>
              <a:gd name="connsiteY13-33866" fmla="*/ 245889 h 5292022"/>
              <a:gd name="connsiteX14-33867" fmla="*/ 1481373 w 10693106"/>
              <a:gd name="connsiteY14-33868" fmla="*/ 313622 h 5292022"/>
              <a:gd name="connsiteX15-33869" fmla="*/ 1532173 w 10693106"/>
              <a:gd name="connsiteY15-33870" fmla="*/ 347489 h 5292022"/>
              <a:gd name="connsiteX16-33871" fmla="*/ 1684573 w 10693106"/>
              <a:gd name="connsiteY16-33872" fmla="*/ 406756 h 5292022"/>
              <a:gd name="connsiteX17-33873" fmla="*/ 1760773 w 10693106"/>
              <a:gd name="connsiteY17-33874" fmla="*/ 423689 h 5292022"/>
              <a:gd name="connsiteX18-33875" fmla="*/ 1997840 w 10693106"/>
              <a:gd name="connsiteY18-33876" fmla="*/ 415222 h 5292022"/>
              <a:gd name="connsiteX19-33877" fmla="*/ 2116373 w 10693106"/>
              <a:gd name="connsiteY19-33878" fmla="*/ 398289 h 5292022"/>
              <a:gd name="connsiteX20-33879" fmla="*/ 2260306 w 10693106"/>
              <a:gd name="connsiteY20-33880" fmla="*/ 381356 h 5292022"/>
              <a:gd name="connsiteX21-33881" fmla="*/ 2404240 w 10693106"/>
              <a:gd name="connsiteY21-33882" fmla="*/ 355956 h 5292022"/>
              <a:gd name="connsiteX22-33883" fmla="*/ 2455040 w 10693106"/>
              <a:gd name="connsiteY22-33884" fmla="*/ 330556 h 5292022"/>
              <a:gd name="connsiteX23-33885" fmla="*/ 2531240 w 10693106"/>
              <a:gd name="connsiteY23-33886" fmla="*/ 305156 h 5292022"/>
              <a:gd name="connsiteX24-33887" fmla="*/ 2649350 w 10693106"/>
              <a:gd name="connsiteY24-33888" fmla="*/ 225781 h 5292022"/>
              <a:gd name="connsiteX25-33889" fmla="*/ 2742906 w 10693106"/>
              <a:gd name="connsiteY25-33890" fmla="*/ 186622 h 5292022"/>
              <a:gd name="connsiteX26-33891" fmla="*/ 2764920 w 10693106"/>
              <a:gd name="connsiteY26-33892" fmla="*/ 173076 h 5292022"/>
              <a:gd name="connsiteX27-33893" fmla="*/ 2832653 w 10693106"/>
              <a:gd name="connsiteY27-33894" fmla="*/ 167996 h 5292022"/>
              <a:gd name="connsiteX28-33895" fmla="*/ 3002294 w 10693106"/>
              <a:gd name="connsiteY28-33896" fmla="*/ 154680 h 5292022"/>
              <a:gd name="connsiteX29-33897" fmla="*/ 3142763 w 10693106"/>
              <a:gd name="connsiteY29-33898" fmla="*/ 110421 h 5292022"/>
              <a:gd name="connsiteX30-33899" fmla="*/ 3398918 w 10693106"/>
              <a:gd name="connsiteY30-33900" fmla="*/ 72322 h 5292022"/>
              <a:gd name="connsiteX31-33901" fmla="*/ 3606506 w 10693106"/>
              <a:gd name="connsiteY31-33902" fmla="*/ 60393 h 5292022"/>
              <a:gd name="connsiteX32-33903" fmla="*/ 3682706 w 10693106"/>
              <a:gd name="connsiteY32-33904" fmla="*/ 79942 h 5292022"/>
              <a:gd name="connsiteX33-33905" fmla="*/ 3741973 w 10693106"/>
              <a:gd name="connsiteY33-33906" fmla="*/ 86561 h 5292022"/>
              <a:gd name="connsiteX34-33907" fmla="*/ 3794678 w 10693106"/>
              <a:gd name="connsiteY34-33908" fmla="*/ 101321 h 5292022"/>
              <a:gd name="connsiteX35-33909" fmla="*/ 3833625 w 10693106"/>
              <a:gd name="connsiteY35-33910" fmla="*/ 110846 h 5292022"/>
              <a:gd name="connsiteX36-33911" fmla="*/ 3892487 w 10693106"/>
              <a:gd name="connsiteY36-33912" fmla="*/ 116984 h 5292022"/>
              <a:gd name="connsiteX37-33913" fmla="*/ 3933108 w 10693106"/>
              <a:gd name="connsiteY37-33914" fmla="*/ 128837 h 5292022"/>
              <a:gd name="connsiteX38-33915" fmla="*/ 3976923 w 10693106"/>
              <a:gd name="connsiteY38-33916" fmla="*/ 135187 h 5292022"/>
              <a:gd name="connsiteX39-33917" fmla="*/ 4021373 w 10693106"/>
              <a:gd name="connsiteY39-33918" fmla="*/ 144289 h 5292022"/>
              <a:gd name="connsiteX40-33919" fmla="*/ 4055240 w 10693106"/>
              <a:gd name="connsiteY40-33920" fmla="*/ 152756 h 5292022"/>
              <a:gd name="connsiteX41-33921" fmla="*/ 4275373 w 10693106"/>
              <a:gd name="connsiteY41-33922" fmla="*/ 195089 h 5292022"/>
              <a:gd name="connsiteX42-33923" fmla="*/ 4402373 w 10693106"/>
              <a:gd name="connsiteY42-33924" fmla="*/ 228956 h 5292022"/>
              <a:gd name="connsiteX43-33925" fmla="*/ 4529373 w 10693106"/>
              <a:gd name="connsiteY43-33926" fmla="*/ 271289 h 5292022"/>
              <a:gd name="connsiteX44-33927" fmla="*/ 5045840 w 10693106"/>
              <a:gd name="connsiteY44-33928" fmla="*/ 423689 h 5292022"/>
              <a:gd name="connsiteX45-33929" fmla="*/ 5630810 w 10693106"/>
              <a:gd name="connsiteY45-33930" fmla="*/ 1149898 h 5292022"/>
              <a:gd name="connsiteX46-33931" fmla="*/ 6881490 w 10693106"/>
              <a:gd name="connsiteY46-33932" fmla="*/ 1366452 h 5292022"/>
              <a:gd name="connsiteX47-33933" fmla="*/ 7703950 w 10693106"/>
              <a:gd name="connsiteY47-33934" fmla="*/ 1069696 h 5292022"/>
              <a:gd name="connsiteX48-33935" fmla="*/ 8652640 w 10693106"/>
              <a:gd name="connsiteY48-33936" fmla="*/ 677689 h 5292022"/>
              <a:gd name="connsiteX49-33937" fmla="*/ 8982840 w 10693106"/>
              <a:gd name="connsiteY49-33938" fmla="*/ 398289 h 5292022"/>
              <a:gd name="connsiteX50-33939" fmla="*/ 9380773 w 10693106"/>
              <a:gd name="connsiteY50-33940" fmla="*/ 355956 h 5292022"/>
              <a:gd name="connsiteX51-33941" fmla="*/ 9744840 w 10693106"/>
              <a:gd name="connsiteY51-33942" fmla="*/ 466022 h 5292022"/>
              <a:gd name="connsiteX52-33943" fmla="*/ 9888773 w 10693106"/>
              <a:gd name="connsiteY52-33944" fmla="*/ 508356 h 5292022"/>
              <a:gd name="connsiteX53-33945" fmla="*/ 9998840 w 10693106"/>
              <a:gd name="connsiteY53-33946" fmla="*/ 559156 h 5292022"/>
              <a:gd name="connsiteX54-33947" fmla="*/ 10083506 w 10693106"/>
              <a:gd name="connsiteY54-33948" fmla="*/ 618422 h 5292022"/>
              <a:gd name="connsiteX55-33949" fmla="*/ 10286706 w 10693106"/>
              <a:gd name="connsiteY55-33950" fmla="*/ 686156 h 5292022"/>
              <a:gd name="connsiteX56-33951" fmla="*/ 10388306 w 10693106"/>
              <a:gd name="connsiteY56-33952" fmla="*/ 889356 h 5292022"/>
              <a:gd name="connsiteX57-33953" fmla="*/ 10540706 w 10693106"/>
              <a:gd name="connsiteY57-33954" fmla="*/ 1261889 h 5292022"/>
              <a:gd name="connsiteX58-33955" fmla="*/ 10557640 w 10693106"/>
              <a:gd name="connsiteY58-33956" fmla="*/ 1346556 h 5292022"/>
              <a:gd name="connsiteX59-33957" fmla="*/ 10583040 w 10693106"/>
              <a:gd name="connsiteY59-33958" fmla="*/ 1448156 h 5292022"/>
              <a:gd name="connsiteX60-33959" fmla="*/ 10616906 w 10693106"/>
              <a:gd name="connsiteY60-33960" fmla="*/ 1651356 h 5292022"/>
              <a:gd name="connsiteX61-33961" fmla="*/ 10633840 w 10693106"/>
              <a:gd name="connsiteY61-33962" fmla="*/ 1736022 h 5292022"/>
              <a:gd name="connsiteX62-33963" fmla="*/ 10650773 w 10693106"/>
              <a:gd name="connsiteY62-33964" fmla="*/ 1769889 h 5292022"/>
              <a:gd name="connsiteX63-33965" fmla="*/ 10676173 w 10693106"/>
              <a:gd name="connsiteY63-33966" fmla="*/ 1854556 h 5292022"/>
              <a:gd name="connsiteX64-33967" fmla="*/ 10693106 w 10693106"/>
              <a:gd name="connsiteY64-33968" fmla="*/ 2006956 h 5292022"/>
              <a:gd name="connsiteX65-33969" fmla="*/ 10625373 w 10693106"/>
              <a:gd name="connsiteY65-33970" fmla="*/ 2227089 h 5292022"/>
              <a:gd name="connsiteX66-33971" fmla="*/ 10608440 w 10693106"/>
              <a:gd name="connsiteY66-33972" fmla="*/ 2252489 h 5292022"/>
              <a:gd name="connsiteX67-33973" fmla="*/ 10540706 w 10693106"/>
              <a:gd name="connsiteY67-33974" fmla="*/ 2396422 h 5292022"/>
              <a:gd name="connsiteX68-33975" fmla="*/ 10498373 w 10693106"/>
              <a:gd name="connsiteY68-33976" fmla="*/ 2481089 h 5292022"/>
              <a:gd name="connsiteX69-33977" fmla="*/ 10439106 w 10693106"/>
              <a:gd name="connsiteY69-33978" fmla="*/ 2667356 h 5292022"/>
              <a:gd name="connsiteX70-33979" fmla="*/ 10430640 w 10693106"/>
              <a:gd name="connsiteY70-33980" fmla="*/ 2709689 h 5292022"/>
              <a:gd name="connsiteX71-33981" fmla="*/ 10405240 w 10693106"/>
              <a:gd name="connsiteY71-33982" fmla="*/ 2785889 h 5292022"/>
              <a:gd name="connsiteX72-33983" fmla="*/ 10396773 w 10693106"/>
              <a:gd name="connsiteY72-33984" fmla="*/ 2819756 h 5292022"/>
              <a:gd name="connsiteX73-33985" fmla="*/ 10362906 w 10693106"/>
              <a:gd name="connsiteY73-33986" fmla="*/ 2912889 h 5292022"/>
              <a:gd name="connsiteX74-33987" fmla="*/ 10329040 w 10693106"/>
              <a:gd name="connsiteY74-33988" fmla="*/ 2955222 h 5292022"/>
              <a:gd name="connsiteX75-33989" fmla="*/ 10227440 w 10693106"/>
              <a:gd name="connsiteY75-33990" fmla="*/ 3056822 h 5292022"/>
              <a:gd name="connsiteX76-33991" fmla="*/ 10168173 w 10693106"/>
              <a:gd name="connsiteY76-33992" fmla="*/ 3124556 h 5292022"/>
              <a:gd name="connsiteX77-33993" fmla="*/ 10117373 w 10693106"/>
              <a:gd name="connsiteY77-33994" fmla="*/ 3175356 h 5292022"/>
              <a:gd name="connsiteX78-33995" fmla="*/ 10032706 w 10693106"/>
              <a:gd name="connsiteY78-33996" fmla="*/ 3276956 h 5292022"/>
              <a:gd name="connsiteX79-33997" fmla="*/ 9948040 w 10693106"/>
              <a:gd name="connsiteY79-33998" fmla="*/ 3336222 h 5292022"/>
              <a:gd name="connsiteX80-33999" fmla="*/ 9905706 w 10693106"/>
              <a:gd name="connsiteY80-34000" fmla="*/ 3361622 h 5292022"/>
              <a:gd name="connsiteX81-34001" fmla="*/ 9829506 w 10693106"/>
              <a:gd name="connsiteY81-34002" fmla="*/ 3378556 h 5292022"/>
              <a:gd name="connsiteX82-34003" fmla="*/ 9727906 w 10693106"/>
              <a:gd name="connsiteY82-34004" fmla="*/ 3420889 h 5292022"/>
              <a:gd name="connsiteX83-34005" fmla="*/ 9634773 w 10693106"/>
              <a:gd name="connsiteY83-34006" fmla="*/ 3446289 h 5292022"/>
              <a:gd name="connsiteX84-34007" fmla="*/ 9456973 w 10693106"/>
              <a:gd name="connsiteY84-34008" fmla="*/ 3539422 h 5292022"/>
              <a:gd name="connsiteX85-34009" fmla="*/ 9313040 w 10693106"/>
              <a:gd name="connsiteY85-34010" fmla="*/ 3666422 h 5292022"/>
              <a:gd name="connsiteX86-34011" fmla="*/ 9279173 w 10693106"/>
              <a:gd name="connsiteY86-34012" fmla="*/ 3683356 h 5292022"/>
              <a:gd name="connsiteX87-34013" fmla="*/ 9067506 w 10693106"/>
              <a:gd name="connsiteY87-34014" fmla="*/ 3861156 h 5292022"/>
              <a:gd name="connsiteX88-34015" fmla="*/ 8999773 w 10693106"/>
              <a:gd name="connsiteY88-34016" fmla="*/ 3928889 h 5292022"/>
              <a:gd name="connsiteX89-34017" fmla="*/ 8813506 w 10693106"/>
              <a:gd name="connsiteY89-34018" fmla="*/ 4064356 h 5292022"/>
              <a:gd name="connsiteX90-34019" fmla="*/ 8728840 w 10693106"/>
              <a:gd name="connsiteY90-34020" fmla="*/ 4106689 h 5292022"/>
              <a:gd name="connsiteX91-34021" fmla="*/ 8373240 w 10693106"/>
              <a:gd name="connsiteY91-34022" fmla="*/ 4140556 h 5292022"/>
              <a:gd name="connsiteX92-34023" fmla="*/ 7966840 w 10693106"/>
              <a:gd name="connsiteY92-34024" fmla="*/ 4233689 h 5292022"/>
              <a:gd name="connsiteX93-34025" fmla="*/ 7687440 w 10693106"/>
              <a:gd name="connsiteY93-34026" fmla="*/ 4394556 h 5292022"/>
              <a:gd name="connsiteX94-34027" fmla="*/ 7374173 w 10693106"/>
              <a:gd name="connsiteY94-34028" fmla="*/ 4657022 h 5292022"/>
              <a:gd name="connsiteX95-34029" fmla="*/ 7374173 w 10693106"/>
              <a:gd name="connsiteY95-34030" fmla="*/ 4657022 h 5292022"/>
              <a:gd name="connsiteX96-34031" fmla="*/ 7221773 w 10693106"/>
              <a:gd name="connsiteY96-34032" fmla="*/ 4775556 h 5292022"/>
              <a:gd name="connsiteX97-34033" fmla="*/ 7027040 w 10693106"/>
              <a:gd name="connsiteY97-34034" fmla="*/ 4902556 h 5292022"/>
              <a:gd name="connsiteX98-34035" fmla="*/ 6883106 w 10693106"/>
              <a:gd name="connsiteY98-34036" fmla="*/ 4970289 h 5292022"/>
              <a:gd name="connsiteX99-34037" fmla="*/ 6815373 w 10693106"/>
              <a:gd name="connsiteY99-34038" fmla="*/ 5012622 h 5292022"/>
              <a:gd name="connsiteX100-34039" fmla="*/ 6646040 w 10693106"/>
              <a:gd name="connsiteY100-34040" fmla="*/ 5105756 h 5292022"/>
              <a:gd name="connsiteX101-34041" fmla="*/ 6527506 w 10693106"/>
              <a:gd name="connsiteY101-34042" fmla="*/ 5165022 h 5292022"/>
              <a:gd name="connsiteX102-34043" fmla="*/ 6298906 w 10693106"/>
              <a:gd name="connsiteY102-34044" fmla="*/ 5241222 h 5292022"/>
              <a:gd name="connsiteX103-34045" fmla="*/ 6197306 w 10693106"/>
              <a:gd name="connsiteY103-34046" fmla="*/ 5266622 h 5292022"/>
              <a:gd name="connsiteX104-34047" fmla="*/ 6061840 w 10693106"/>
              <a:gd name="connsiteY104-34048" fmla="*/ 5275089 h 5292022"/>
              <a:gd name="connsiteX105-34049" fmla="*/ 5917906 w 10693106"/>
              <a:gd name="connsiteY105-34050" fmla="*/ 5292022 h 5292022"/>
              <a:gd name="connsiteX106-34051" fmla="*/ 5748573 w 10693106"/>
              <a:gd name="connsiteY106-34052" fmla="*/ 5283556 h 5292022"/>
              <a:gd name="connsiteX107-34053" fmla="*/ 5282906 w 10693106"/>
              <a:gd name="connsiteY107-34054" fmla="*/ 5173489 h 5292022"/>
              <a:gd name="connsiteX108-34055" fmla="*/ 4959480 w 10693106"/>
              <a:gd name="connsiteY108-34056" fmla="*/ 4988069 h 5292022"/>
              <a:gd name="connsiteX109-34057" fmla="*/ 4686853 w 10693106"/>
              <a:gd name="connsiteY109-34058" fmla="*/ 4788256 h 5292022"/>
              <a:gd name="connsiteX110-34059" fmla="*/ 3977346 w 10693106"/>
              <a:gd name="connsiteY110-34060" fmla="*/ 4470544 h 5292022"/>
              <a:gd name="connsiteX111-34061" fmla="*/ 3741550 w 10693106"/>
              <a:gd name="connsiteY111-34062" fmla="*/ 4154102 h 5292022"/>
              <a:gd name="connsiteX112-34063" fmla="*/ 3562056 w 10693106"/>
              <a:gd name="connsiteY112-34064" fmla="*/ 3406919 h 5292022"/>
              <a:gd name="connsiteX113-34065" fmla="*/ 3242440 w 10693106"/>
              <a:gd name="connsiteY113-34066" fmla="*/ 3099156 h 5292022"/>
              <a:gd name="connsiteX114-34067" fmla="*/ 3123906 w 10693106"/>
              <a:gd name="connsiteY114-34068" fmla="*/ 2997556 h 5292022"/>
              <a:gd name="connsiteX115-34069" fmla="*/ 2988440 w 10693106"/>
              <a:gd name="connsiteY115-34070" fmla="*/ 2802822 h 5292022"/>
              <a:gd name="connsiteX116-34071" fmla="*/ 2971506 w 10693106"/>
              <a:gd name="connsiteY116-34072" fmla="*/ 2743556 h 5292022"/>
              <a:gd name="connsiteX117-34073" fmla="*/ 2996906 w 10693106"/>
              <a:gd name="connsiteY117-34074" fmla="*/ 2531889 h 5292022"/>
              <a:gd name="connsiteX118-34075" fmla="*/ 3013840 w 10693106"/>
              <a:gd name="connsiteY118-34076" fmla="*/ 2430289 h 5292022"/>
              <a:gd name="connsiteX119-34077" fmla="*/ 3005373 w 10693106"/>
              <a:gd name="connsiteY119-34078" fmla="*/ 2311756 h 5292022"/>
              <a:gd name="connsiteX120-34079" fmla="*/ 2988440 w 10693106"/>
              <a:gd name="connsiteY120-34080" fmla="*/ 2260956 h 5292022"/>
              <a:gd name="connsiteX121-34081" fmla="*/ 2802173 w 10693106"/>
              <a:gd name="connsiteY121-34082" fmla="*/ 2006956 h 5292022"/>
              <a:gd name="connsiteX122-34083" fmla="*/ 2641306 w 10693106"/>
              <a:gd name="connsiteY122-34084" fmla="*/ 1863022 h 5292022"/>
              <a:gd name="connsiteX123-34085" fmla="*/ 2590506 w 10693106"/>
              <a:gd name="connsiteY123-34086" fmla="*/ 1837622 h 5292022"/>
              <a:gd name="connsiteX124-34087" fmla="*/ 2531240 w 10693106"/>
              <a:gd name="connsiteY124-34088" fmla="*/ 1829156 h 5292022"/>
              <a:gd name="connsiteX125-34089" fmla="*/ 2446573 w 10693106"/>
              <a:gd name="connsiteY125-34090" fmla="*/ 1812222 h 5292022"/>
              <a:gd name="connsiteX126-34091" fmla="*/ 2251840 w 10693106"/>
              <a:gd name="connsiteY126-34092" fmla="*/ 1837622 h 5292022"/>
              <a:gd name="connsiteX127-34093" fmla="*/ 2167173 w 10693106"/>
              <a:gd name="connsiteY127-34094" fmla="*/ 1879956 h 5292022"/>
              <a:gd name="connsiteX128-34095" fmla="*/ 1980906 w 10693106"/>
              <a:gd name="connsiteY128-34096" fmla="*/ 1939222 h 5292022"/>
              <a:gd name="connsiteX129-34097" fmla="*/ 1904706 w 10693106"/>
              <a:gd name="connsiteY129-34098" fmla="*/ 1973089 h 5292022"/>
              <a:gd name="connsiteX130-34099" fmla="*/ 1828506 w 10693106"/>
              <a:gd name="connsiteY130-34100" fmla="*/ 1990022 h 5292022"/>
              <a:gd name="connsiteX131-34101" fmla="*/ 1726906 w 10693106"/>
              <a:gd name="connsiteY131-34102" fmla="*/ 2040822 h 5292022"/>
              <a:gd name="connsiteX132-34103" fmla="*/ 1659173 w 10693106"/>
              <a:gd name="connsiteY132-34104" fmla="*/ 2074689 h 5292022"/>
              <a:gd name="connsiteX133-34105" fmla="*/ 1498306 w 10693106"/>
              <a:gd name="connsiteY133-34106" fmla="*/ 2100089 h 5292022"/>
              <a:gd name="connsiteX134-34107" fmla="*/ 914106 w 10693106"/>
              <a:gd name="connsiteY134-34108" fmla="*/ 2032356 h 5292022"/>
              <a:gd name="connsiteX135-34109" fmla="*/ 617773 w 10693106"/>
              <a:gd name="connsiteY135-34110" fmla="*/ 1922289 h 5292022"/>
              <a:gd name="connsiteX136-34111" fmla="*/ 516173 w 10693106"/>
              <a:gd name="connsiteY136-34112" fmla="*/ 1837622 h 5292022"/>
              <a:gd name="connsiteX137-34113" fmla="*/ 355306 w 10693106"/>
              <a:gd name="connsiteY137-34114" fmla="*/ 1625956 h 5292022"/>
              <a:gd name="connsiteX138-34115" fmla="*/ 296040 w 10693106"/>
              <a:gd name="connsiteY138-34116" fmla="*/ 1524356 h 5292022"/>
              <a:gd name="connsiteX139-34117" fmla="*/ 253706 w 10693106"/>
              <a:gd name="connsiteY139-34118" fmla="*/ 1346556 h 5292022"/>
              <a:gd name="connsiteX140-34119" fmla="*/ 245240 w 10693106"/>
              <a:gd name="connsiteY140-34120" fmla="*/ 1219556 h 5292022"/>
              <a:gd name="connsiteX141-34121" fmla="*/ 236773 w 10693106"/>
              <a:gd name="connsiteY141-34122" fmla="*/ 1117956 h 5292022"/>
              <a:gd name="connsiteX142-34123" fmla="*/ 245240 w 10693106"/>
              <a:gd name="connsiteY142-34124" fmla="*/ 847022 h 5292022"/>
              <a:gd name="connsiteX143-34125" fmla="*/ 236773 w 10693106"/>
              <a:gd name="connsiteY143-34126" fmla="*/ 703089 h 5292022"/>
              <a:gd name="connsiteX144-34127" fmla="*/ 109773 w 10693106"/>
              <a:gd name="connsiteY144-34128" fmla="*/ 559156 h 5292022"/>
              <a:gd name="connsiteX145-34129" fmla="*/ 58973 w 10693106"/>
              <a:gd name="connsiteY145-34130" fmla="*/ 482956 h 5292022"/>
              <a:gd name="connsiteX146-34131" fmla="*/ 16640 w 10693106"/>
              <a:gd name="connsiteY146-34132" fmla="*/ 432156 h 5292022"/>
              <a:gd name="connsiteX147-34133" fmla="*/ 8173 w 10693106"/>
              <a:gd name="connsiteY147-34134" fmla="*/ 389822 h 5292022"/>
              <a:gd name="connsiteX148-34135" fmla="*/ 16640 w 10693106"/>
              <a:gd name="connsiteY148-34136" fmla="*/ 339022 h 5292022"/>
              <a:gd name="connsiteX0-34137" fmla="*/ 16640 w 10693106"/>
              <a:gd name="connsiteY0-34138" fmla="*/ 339022 h 5292022"/>
              <a:gd name="connsiteX1-34139" fmla="*/ 58973 w 10693106"/>
              <a:gd name="connsiteY1-34140" fmla="*/ 245889 h 5292022"/>
              <a:gd name="connsiteX2-34141" fmla="*/ 109773 w 10693106"/>
              <a:gd name="connsiteY2-34142" fmla="*/ 178156 h 5292022"/>
              <a:gd name="connsiteX3-34143" fmla="*/ 202906 w 10693106"/>
              <a:gd name="connsiteY3-34144" fmla="*/ 93489 h 5292022"/>
              <a:gd name="connsiteX4-34145" fmla="*/ 236773 w 10693106"/>
              <a:gd name="connsiteY4-34146" fmla="*/ 68089 h 5292022"/>
              <a:gd name="connsiteX5-34147" fmla="*/ 335410 w 10693106"/>
              <a:gd name="connsiteY5-34148" fmla="*/ 58352 h 5292022"/>
              <a:gd name="connsiteX6-34149" fmla="*/ 382400 w 10693106"/>
              <a:gd name="connsiteY6-34150" fmla="*/ 51156 h 5292022"/>
              <a:gd name="connsiteX7-34151" fmla="*/ 434912 w 10693106"/>
              <a:gd name="connsiteY7-34152" fmla="*/ 70071 h 5292022"/>
              <a:gd name="connsiteX8-34153" fmla="*/ 492697 w 10693106"/>
              <a:gd name="connsiteY8-34154" fmla="*/ 74247 h 5292022"/>
              <a:gd name="connsiteX9-34155" fmla="*/ 822897 w 10693106"/>
              <a:gd name="connsiteY9-34156" fmla="*/ 82713 h 5292022"/>
              <a:gd name="connsiteX10-34157" fmla="*/ 1091906 w 10693106"/>
              <a:gd name="connsiteY10-34158" fmla="*/ 356 h 5292022"/>
              <a:gd name="connsiteX11-34159" fmla="*/ 1235840 w 10693106"/>
              <a:gd name="connsiteY11-34160" fmla="*/ 59622 h 5292022"/>
              <a:gd name="connsiteX12-34161" fmla="*/ 1337440 w 10693106"/>
              <a:gd name="connsiteY12-34162" fmla="*/ 135822 h 5292022"/>
              <a:gd name="connsiteX13-34163" fmla="*/ 1422106 w 10693106"/>
              <a:gd name="connsiteY13-34164" fmla="*/ 245889 h 5292022"/>
              <a:gd name="connsiteX14-34165" fmla="*/ 1481373 w 10693106"/>
              <a:gd name="connsiteY14-34166" fmla="*/ 313622 h 5292022"/>
              <a:gd name="connsiteX15-34167" fmla="*/ 1532173 w 10693106"/>
              <a:gd name="connsiteY15-34168" fmla="*/ 347489 h 5292022"/>
              <a:gd name="connsiteX16-34169" fmla="*/ 1684573 w 10693106"/>
              <a:gd name="connsiteY16-34170" fmla="*/ 406756 h 5292022"/>
              <a:gd name="connsiteX17-34171" fmla="*/ 1760773 w 10693106"/>
              <a:gd name="connsiteY17-34172" fmla="*/ 423689 h 5292022"/>
              <a:gd name="connsiteX18-34173" fmla="*/ 1997840 w 10693106"/>
              <a:gd name="connsiteY18-34174" fmla="*/ 415222 h 5292022"/>
              <a:gd name="connsiteX19-34175" fmla="*/ 2116373 w 10693106"/>
              <a:gd name="connsiteY19-34176" fmla="*/ 398289 h 5292022"/>
              <a:gd name="connsiteX20-34177" fmla="*/ 2260306 w 10693106"/>
              <a:gd name="connsiteY20-34178" fmla="*/ 381356 h 5292022"/>
              <a:gd name="connsiteX21-34179" fmla="*/ 2404240 w 10693106"/>
              <a:gd name="connsiteY21-34180" fmla="*/ 355956 h 5292022"/>
              <a:gd name="connsiteX22-34181" fmla="*/ 2455040 w 10693106"/>
              <a:gd name="connsiteY22-34182" fmla="*/ 330556 h 5292022"/>
              <a:gd name="connsiteX23-34183" fmla="*/ 2531240 w 10693106"/>
              <a:gd name="connsiteY23-34184" fmla="*/ 305156 h 5292022"/>
              <a:gd name="connsiteX24-34185" fmla="*/ 2649350 w 10693106"/>
              <a:gd name="connsiteY24-34186" fmla="*/ 225781 h 5292022"/>
              <a:gd name="connsiteX25-34187" fmla="*/ 2742906 w 10693106"/>
              <a:gd name="connsiteY25-34188" fmla="*/ 186622 h 5292022"/>
              <a:gd name="connsiteX26-34189" fmla="*/ 2764920 w 10693106"/>
              <a:gd name="connsiteY26-34190" fmla="*/ 173076 h 5292022"/>
              <a:gd name="connsiteX27-34191" fmla="*/ 2832653 w 10693106"/>
              <a:gd name="connsiteY27-34192" fmla="*/ 167996 h 5292022"/>
              <a:gd name="connsiteX28-34193" fmla="*/ 3002294 w 10693106"/>
              <a:gd name="connsiteY28-34194" fmla="*/ 154680 h 5292022"/>
              <a:gd name="connsiteX29-34195" fmla="*/ 3142763 w 10693106"/>
              <a:gd name="connsiteY29-34196" fmla="*/ 110421 h 5292022"/>
              <a:gd name="connsiteX30-34197" fmla="*/ 3398918 w 10693106"/>
              <a:gd name="connsiteY30-34198" fmla="*/ 72322 h 5292022"/>
              <a:gd name="connsiteX31-34199" fmla="*/ 3606506 w 10693106"/>
              <a:gd name="connsiteY31-34200" fmla="*/ 60393 h 5292022"/>
              <a:gd name="connsiteX32-34201" fmla="*/ 3682706 w 10693106"/>
              <a:gd name="connsiteY32-34202" fmla="*/ 79942 h 5292022"/>
              <a:gd name="connsiteX33-34203" fmla="*/ 3741973 w 10693106"/>
              <a:gd name="connsiteY33-34204" fmla="*/ 86561 h 5292022"/>
              <a:gd name="connsiteX34-34205" fmla="*/ 3794678 w 10693106"/>
              <a:gd name="connsiteY34-34206" fmla="*/ 101321 h 5292022"/>
              <a:gd name="connsiteX35-34207" fmla="*/ 3833625 w 10693106"/>
              <a:gd name="connsiteY35-34208" fmla="*/ 110846 h 5292022"/>
              <a:gd name="connsiteX36-34209" fmla="*/ 3892487 w 10693106"/>
              <a:gd name="connsiteY36-34210" fmla="*/ 116984 h 5292022"/>
              <a:gd name="connsiteX37-34211" fmla="*/ 3933108 w 10693106"/>
              <a:gd name="connsiteY37-34212" fmla="*/ 128837 h 5292022"/>
              <a:gd name="connsiteX38-34213" fmla="*/ 3976923 w 10693106"/>
              <a:gd name="connsiteY38-34214" fmla="*/ 135187 h 5292022"/>
              <a:gd name="connsiteX39-34215" fmla="*/ 4021373 w 10693106"/>
              <a:gd name="connsiteY39-34216" fmla="*/ 144289 h 5292022"/>
              <a:gd name="connsiteX40-34217" fmla="*/ 4055240 w 10693106"/>
              <a:gd name="connsiteY40-34218" fmla="*/ 152756 h 5292022"/>
              <a:gd name="connsiteX41-34219" fmla="*/ 4275373 w 10693106"/>
              <a:gd name="connsiteY41-34220" fmla="*/ 195089 h 5292022"/>
              <a:gd name="connsiteX42-34221" fmla="*/ 4402373 w 10693106"/>
              <a:gd name="connsiteY42-34222" fmla="*/ 228956 h 5292022"/>
              <a:gd name="connsiteX43-34223" fmla="*/ 4529373 w 10693106"/>
              <a:gd name="connsiteY43-34224" fmla="*/ 271289 h 5292022"/>
              <a:gd name="connsiteX44-34225" fmla="*/ 5045840 w 10693106"/>
              <a:gd name="connsiteY44-34226" fmla="*/ 423689 h 5292022"/>
              <a:gd name="connsiteX45-34227" fmla="*/ 5630810 w 10693106"/>
              <a:gd name="connsiteY45-34228" fmla="*/ 1149898 h 5292022"/>
              <a:gd name="connsiteX46-34229" fmla="*/ 6881490 w 10693106"/>
              <a:gd name="connsiteY46-34230" fmla="*/ 1366452 h 5292022"/>
              <a:gd name="connsiteX47-34231" fmla="*/ 7839032 w 10693106"/>
              <a:gd name="connsiteY47-34232" fmla="*/ 1183996 h 5292022"/>
              <a:gd name="connsiteX48-34233" fmla="*/ 8652640 w 10693106"/>
              <a:gd name="connsiteY48-34234" fmla="*/ 677689 h 5292022"/>
              <a:gd name="connsiteX49-34235" fmla="*/ 8982840 w 10693106"/>
              <a:gd name="connsiteY49-34236" fmla="*/ 398289 h 5292022"/>
              <a:gd name="connsiteX50-34237" fmla="*/ 9380773 w 10693106"/>
              <a:gd name="connsiteY50-34238" fmla="*/ 355956 h 5292022"/>
              <a:gd name="connsiteX51-34239" fmla="*/ 9744840 w 10693106"/>
              <a:gd name="connsiteY51-34240" fmla="*/ 466022 h 5292022"/>
              <a:gd name="connsiteX52-34241" fmla="*/ 9888773 w 10693106"/>
              <a:gd name="connsiteY52-34242" fmla="*/ 508356 h 5292022"/>
              <a:gd name="connsiteX53-34243" fmla="*/ 9998840 w 10693106"/>
              <a:gd name="connsiteY53-34244" fmla="*/ 559156 h 5292022"/>
              <a:gd name="connsiteX54-34245" fmla="*/ 10083506 w 10693106"/>
              <a:gd name="connsiteY54-34246" fmla="*/ 618422 h 5292022"/>
              <a:gd name="connsiteX55-34247" fmla="*/ 10286706 w 10693106"/>
              <a:gd name="connsiteY55-34248" fmla="*/ 686156 h 5292022"/>
              <a:gd name="connsiteX56-34249" fmla="*/ 10388306 w 10693106"/>
              <a:gd name="connsiteY56-34250" fmla="*/ 889356 h 5292022"/>
              <a:gd name="connsiteX57-34251" fmla="*/ 10540706 w 10693106"/>
              <a:gd name="connsiteY57-34252" fmla="*/ 1261889 h 5292022"/>
              <a:gd name="connsiteX58-34253" fmla="*/ 10557640 w 10693106"/>
              <a:gd name="connsiteY58-34254" fmla="*/ 1346556 h 5292022"/>
              <a:gd name="connsiteX59-34255" fmla="*/ 10583040 w 10693106"/>
              <a:gd name="connsiteY59-34256" fmla="*/ 1448156 h 5292022"/>
              <a:gd name="connsiteX60-34257" fmla="*/ 10616906 w 10693106"/>
              <a:gd name="connsiteY60-34258" fmla="*/ 1651356 h 5292022"/>
              <a:gd name="connsiteX61-34259" fmla="*/ 10633840 w 10693106"/>
              <a:gd name="connsiteY61-34260" fmla="*/ 1736022 h 5292022"/>
              <a:gd name="connsiteX62-34261" fmla="*/ 10650773 w 10693106"/>
              <a:gd name="connsiteY62-34262" fmla="*/ 1769889 h 5292022"/>
              <a:gd name="connsiteX63-34263" fmla="*/ 10676173 w 10693106"/>
              <a:gd name="connsiteY63-34264" fmla="*/ 1854556 h 5292022"/>
              <a:gd name="connsiteX64-34265" fmla="*/ 10693106 w 10693106"/>
              <a:gd name="connsiteY64-34266" fmla="*/ 2006956 h 5292022"/>
              <a:gd name="connsiteX65-34267" fmla="*/ 10625373 w 10693106"/>
              <a:gd name="connsiteY65-34268" fmla="*/ 2227089 h 5292022"/>
              <a:gd name="connsiteX66-34269" fmla="*/ 10608440 w 10693106"/>
              <a:gd name="connsiteY66-34270" fmla="*/ 2252489 h 5292022"/>
              <a:gd name="connsiteX67-34271" fmla="*/ 10540706 w 10693106"/>
              <a:gd name="connsiteY67-34272" fmla="*/ 2396422 h 5292022"/>
              <a:gd name="connsiteX68-34273" fmla="*/ 10498373 w 10693106"/>
              <a:gd name="connsiteY68-34274" fmla="*/ 2481089 h 5292022"/>
              <a:gd name="connsiteX69-34275" fmla="*/ 10439106 w 10693106"/>
              <a:gd name="connsiteY69-34276" fmla="*/ 2667356 h 5292022"/>
              <a:gd name="connsiteX70-34277" fmla="*/ 10430640 w 10693106"/>
              <a:gd name="connsiteY70-34278" fmla="*/ 2709689 h 5292022"/>
              <a:gd name="connsiteX71-34279" fmla="*/ 10405240 w 10693106"/>
              <a:gd name="connsiteY71-34280" fmla="*/ 2785889 h 5292022"/>
              <a:gd name="connsiteX72-34281" fmla="*/ 10396773 w 10693106"/>
              <a:gd name="connsiteY72-34282" fmla="*/ 2819756 h 5292022"/>
              <a:gd name="connsiteX73-34283" fmla="*/ 10362906 w 10693106"/>
              <a:gd name="connsiteY73-34284" fmla="*/ 2912889 h 5292022"/>
              <a:gd name="connsiteX74-34285" fmla="*/ 10329040 w 10693106"/>
              <a:gd name="connsiteY74-34286" fmla="*/ 2955222 h 5292022"/>
              <a:gd name="connsiteX75-34287" fmla="*/ 10227440 w 10693106"/>
              <a:gd name="connsiteY75-34288" fmla="*/ 3056822 h 5292022"/>
              <a:gd name="connsiteX76-34289" fmla="*/ 10168173 w 10693106"/>
              <a:gd name="connsiteY76-34290" fmla="*/ 3124556 h 5292022"/>
              <a:gd name="connsiteX77-34291" fmla="*/ 10117373 w 10693106"/>
              <a:gd name="connsiteY77-34292" fmla="*/ 3175356 h 5292022"/>
              <a:gd name="connsiteX78-34293" fmla="*/ 10032706 w 10693106"/>
              <a:gd name="connsiteY78-34294" fmla="*/ 3276956 h 5292022"/>
              <a:gd name="connsiteX79-34295" fmla="*/ 9948040 w 10693106"/>
              <a:gd name="connsiteY79-34296" fmla="*/ 3336222 h 5292022"/>
              <a:gd name="connsiteX80-34297" fmla="*/ 9905706 w 10693106"/>
              <a:gd name="connsiteY80-34298" fmla="*/ 3361622 h 5292022"/>
              <a:gd name="connsiteX81-34299" fmla="*/ 9829506 w 10693106"/>
              <a:gd name="connsiteY81-34300" fmla="*/ 3378556 h 5292022"/>
              <a:gd name="connsiteX82-34301" fmla="*/ 9727906 w 10693106"/>
              <a:gd name="connsiteY82-34302" fmla="*/ 3420889 h 5292022"/>
              <a:gd name="connsiteX83-34303" fmla="*/ 9634773 w 10693106"/>
              <a:gd name="connsiteY83-34304" fmla="*/ 3446289 h 5292022"/>
              <a:gd name="connsiteX84-34305" fmla="*/ 9456973 w 10693106"/>
              <a:gd name="connsiteY84-34306" fmla="*/ 3539422 h 5292022"/>
              <a:gd name="connsiteX85-34307" fmla="*/ 9313040 w 10693106"/>
              <a:gd name="connsiteY85-34308" fmla="*/ 3666422 h 5292022"/>
              <a:gd name="connsiteX86-34309" fmla="*/ 9279173 w 10693106"/>
              <a:gd name="connsiteY86-34310" fmla="*/ 3683356 h 5292022"/>
              <a:gd name="connsiteX87-34311" fmla="*/ 9067506 w 10693106"/>
              <a:gd name="connsiteY87-34312" fmla="*/ 3861156 h 5292022"/>
              <a:gd name="connsiteX88-34313" fmla="*/ 8999773 w 10693106"/>
              <a:gd name="connsiteY88-34314" fmla="*/ 3928889 h 5292022"/>
              <a:gd name="connsiteX89-34315" fmla="*/ 8813506 w 10693106"/>
              <a:gd name="connsiteY89-34316" fmla="*/ 4064356 h 5292022"/>
              <a:gd name="connsiteX90-34317" fmla="*/ 8728840 w 10693106"/>
              <a:gd name="connsiteY90-34318" fmla="*/ 4106689 h 5292022"/>
              <a:gd name="connsiteX91-34319" fmla="*/ 8373240 w 10693106"/>
              <a:gd name="connsiteY91-34320" fmla="*/ 4140556 h 5292022"/>
              <a:gd name="connsiteX92-34321" fmla="*/ 7966840 w 10693106"/>
              <a:gd name="connsiteY92-34322" fmla="*/ 4233689 h 5292022"/>
              <a:gd name="connsiteX93-34323" fmla="*/ 7687440 w 10693106"/>
              <a:gd name="connsiteY93-34324" fmla="*/ 4394556 h 5292022"/>
              <a:gd name="connsiteX94-34325" fmla="*/ 7374173 w 10693106"/>
              <a:gd name="connsiteY94-34326" fmla="*/ 4657022 h 5292022"/>
              <a:gd name="connsiteX95-34327" fmla="*/ 7374173 w 10693106"/>
              <a:gd name="connsiteY95-34328" fmla="*/ 4657022 h 5292022"/>
              <a:gd name="connsiteX96-34329" fmla="*/ 7221773 w 10693106"/>
              <a:gd name="connsiteY96-34330" fmla="*/ 4775556 h 5292022"/>
              <a:gd name="connsiteX97-34331" fmla="*/ 7027040 w 10693106"/>
              <a:gd name="connsiteY97-34332" fmla="*/ 4902556 h 5292022"/>
              <a:gd name="connsiteX98-34333" fmla="*/ 6883106 w 10693106"/>
              <a:gd name="connsiteY98-34334" fmla="*/ 4970289 h 5292022"/>
              <a:gd name="connsiteX99-34335" fmla="*/ 6815373 w 10693106"/>
              <a:gd name="connsiteY99-34336" fmla="*/ 5012622 h 5292022"/>
              <a:gd name="connsiteX100-34337" fmla="*/ 6646040 w 10693106"/>
              <a:gd name="connsiteY100-34338" fmla="*/ 5105756 h 5292022"/>
              <a:gd name="connsiteX101-34339" fmla="*/ 6527506 w 10693106"/>
              <a:gd name="connsiteY101-34340" fmla="*/ 5165022 h 5292022"/>
              <a:gd name="connsiteX102-34341" fmla="*/ 6298906 w 10693106"/>
              <a:gd name="connsiteY102-34342" fmla="*/ 5241222 h 5292022"/>
              <a:gd name="connsiteX103-34343" fmla="*/ 6197306 w 10693106"/>
              <a:gd name="connsiteY103-34344" fmla="*/ 5266622 h 5292022"/>
              <a:gd name="connsiteX104-34345" fmla="*/ 6061840 w 10693106"/>
              <a:gd name="connsiteY104-34346" fmla="*/ 5275089 h 5292022"/>
              <a:gd name="connsiteX105-34347" fmla="*/ 5917906 w 10693106"/>
              <a:gd name="connsiteY105-34348" fmla="*/ 5292022 h 5292022"/>
              <a:gd name="connsiteX106-34349" fmla="*/ 5748573 w 10693106"/>
              <a:gd name="connsiteY106-34350" fmla="*/ 5283556 h 5292022"/>
              <a:gd name="connsiteX107-34351" fmla="*/ 5282906 w 10693106"/>
              <a:gd name="connsiteY107-34352" fmla="*/ 5173489 h 5292022"/>
              <a:gd name="connsiteX108-34353" fmla="*/ 4959480 w 10693106"/>
              <a:gd name="connsiteY108-34354" fmla="*/ 4988069 h 5292022"/>
              <a:gd name="connsiteX109-34355" fmla="*/ 4686853 w 10693106"/>
              <a:gd name="connsiteY109-34356" fmla="*/ 4788256 h 5292022"/>
              <a:gd name="connsiteX110-34357" fmla="*/ 3977346 w 10693106"/>
              <a:gd name="connsiteY110-34358" fmla="*/ 4470544 h 5292022"/>
              <a:gd name="connsiteX111-34359" fmla="*/ 3741550 w 10693106"/>
              <a:gd name="connsiteY111-34360" fmla="*/ 4154102 h 5292022"/>
              <a:gd name="connsiteX112-34361" fmla="*/ 3562056 w 10693106"/>
              <a:gd name="connsiteY112-34362" fmla="*/ 3406919 h 5292022"/>
              <a:gd name="connsiteX113-34363" fmla="*/ 3242440 w 10693106"/>
              <a:gd name="connsiteY113-34364" fmla="*/ 3099156 h 5292022"/>
              <a:gd name="connsiteX114-34365" fmla="*/ 3123906 w 10693106"/>
              <a:gd name="connsiteY114-34366" fmla="*/ 2997556 h 5292022"/>
              <a:gd name="connsiteX115-34367" fmla="*/ 2988440 w 10693106"/>
              <a:gd name="connsiteY115-34368" fmla="*/ 2802822 h 5292022"/>
              <a:gd name="connsiteX116-34369" fmla="*/ 2971506 w 10693106"/>
              <a:gd name="connsiteY116-34370" fmla="*/ 2743556 h 5292022"/>
              <a:gd name="connsiteX117-34371" fmla="*/ 2996906 w 10693106"/>
              <a:gd name="connsiteY117-34372" fmla="*/ 2531889 h 5292022"/>
              <a:gd name="connsiteX118-34373" fmla="*/ 3013840 w 10693106"/>
              <a:gd name="connsiteY118-34374" fmla="*/ 2430289 h 5292022"/>
              <a:gd name="connsiteX119-34375" fmla="*/ 3005373 w 10693106"/>
              <a:gd name="connsiteY119-34376" fmla="*/ 2311756 h 5292022"/>
              <a:gd name="connsiteX120-34377" fmla="*/ 2988440 w 10693106"/>
              <a:gd name="connsiteY120-34378" fmla="*/ 2260956 h 5292022"/>
              <a:gd name="connsiteX121-34379" fmla="*/ 2802173 w 10693106"/>
              <a:gd name="connsiteY121-34380" fmla="*/ 2006956 h 5292022"/>
              <a:gd name="connsiteX122-34381" fmla="*/ 2641306 w 10693106"/>
              <a:gd name="connsiteY122-34382" fmla="*/ 1863022 h 5292022"/>
              <a:gd name="connsiteX123-34383" fmla="*/ 2590506 w 10693106"/>
              <a:gd name="connsiteY123-34384" fmla="*/ 1837622 h 5292022"/>
              <a:gd name="connsiteX124-34385" fmla="*/ 2531240 w 10693106"/>
              <a:gd name="connsiteY124-34386" fmla="*/ 1829156 h 5292022"/>
              <a:gd name="connsiteX125-34387" fmla="*/ 2446573 w 10693106"/>
              <a:gd name="connsiteY125-34388" fmla="*/ 1812222 h 5292022"/>
              <a:gd name="connsiteX126-34389" fmla="*/ 2251840 w 10693106"/>
              <a:gd name="connsiteY126-34390" fmla="*/ 1837622 h 5292022"/>
              <a:gd name="connsiteX127-34391" fmla="*/ 2167173 w 10693106"/>
              <a:gd name="connsiteY127-34392" fmla="*/ 1879956 h 5292022"/>
              <a:gd name="connsiteX128-34393" fmla="*/ 1980906 w 10693106"/>
              <a:gd name="connsiteY128-34394" fmla="*/ 1939222 h 5292022"/>
              <a:gd name="connsiteX129-34395" fmla="*/ 1904706 w 10693106"/>
              <a:gd name="connsiteY129-34396" fmla="*/ 1973089 h 5292022"/>
              <a:gd name="connsiteX130-34397" fmla="*/ 1828506 w 10693106"/>
              <a:gd name="connsiteY130-34398" fmla="*/ 1990022 h 5292022"/>
              <a:gd name="connsiteX131-34399" fmla="*/ 1726906 w 10693106"/>
              <a:gd name="connsiteY131-34400" fmla="*/ 2040822 h 5292022"/>
              <a:gd name="connsiteX132-34401" fmla="*/ 1659173 w 10693106"/>
              <a:gd name="connsiteY132-34402" fmla="*/ 2074689 h 5292022"/>
              <a:gd name="connsiteX133-34403" fmla="*/ 1498306 w 10693106"/>
              <a:gd name="connsiteY133-34404" fmla="*/ 2100089 h 5292022"/>
              <a:gd name="connsiteX134-34405" fmla="*/ 914106 w 10693106"/>
              <a:gd name="connsiteY134-34406" fmla="*/ 2032356 h 5292022"/>
              <a:gd name="connsiteX135-34407" fmla="*/ 617773 w 10693106"/>
              <a:gd name="connsiteY135-34408" fmla="*/ 1922289 h 5292022"/>
              <a:gd name="connsiteX136-34409" fmla="*/ 516173 w 10693106"/>
              <a:gd name="connsiteY136-34410" fmla="*/ 1837622 h 5292022"/>
              <a:gd name="connsiteX137-34411" fmla="*/ 355306 w 10693106"/>
              <a:gd name="connsiteY137-34412" fmla="*/ 1625956 h 5292022"/>
              <a:gd name="connsiteX138-34413" fmla="*/ 296040 w 10693106"/>
              <a:gd name="connsiteY138-34414" fmla="*/ 1524356 h 5292022"/>
              <a:gd name="connsiteX139-34415" fmla="*/ 253706 w 10693106"/>
              <a:gd name="connsiteY139-34416" fmla="*/ 1346556 h 5292022"/>
              <a:gd name="connsiteX140-34417" fmla="*/ 245240 w 10693106"/>
              <a:gd name="connsiteY140-34418" fmla="*/ 1219556 h 5292022"/>
              <a:gd name="connsiteX141-34419" fmla="*/ 236773 w 10693106"/>
              <a:gd name="connsiteY141-34420" fmla="*/ 1117956 h 5292022"/>
              <a:gd name="connsiteX142-34421" fmla="*/ 245240 w 10693106"/>
              <a:gd name="connsiteY142-34422" fmla="*/ 847022 h 5292022"/>
              <a:gd name="connsiteX143-34423" fmla="*/ 236773 w 10693106"/>
              <a:gd name="connsiteY143-34424" fmla="*/ 703089 h 5292022"/>
              <a:gd name="connsiteX144-34425" fmla="*/ 109773 w 10693106"/>
              <a:gd name="connsiteY144-34426" fmla="*/ 559156 h 5292022"/>
              <a:gd name="connsiteX145-34427" fmla="*/ 58973 w 10693106"/>
              <a:gd name="connsiteY145-34428" fmla="*/ 482956 h 5292022"/>
              <a:gd name="connsiteX146-34429" fmla="*/ 16640 w 10693106"/>
              <a:gd name="connsiteY146-34430" fmla="*/ 432156 h 5292022"/>
              <a:gd name="connsiteX147-34431" fmla="*/ 8173 w 10693106"/>
              <a:gd name="connsiteY147-34432" fmla="*/ 389822 h 5292022"/>
              <a:gd name="connsiteX148-34433" fmla="*/ 16640 w 10693106"/>
              <a:gd name="connsiteY148-34434" fmla="*/ 339022 h 5292022"/>
              <a:gd name="connsiteX0-34435" fmla="*/ 16640 w 10693106"/>
              <a:gd name="connsiteY0-34436" fmla="*/ 339022 h 5292022"/>
              <a:gd name="connsiteX1-34437" fmla="*/ 58973 w 10693106"/>
              <a:gd name="connsiteY1-34438" fmla="*/ 245889 h 5292022"/>
              <a:gd name="connsiteX2-34439" fmla="*/ 109773 w 10693106"/>
              <a:gd name="connsiteY2-34440" fmla="*/ 178156 h 5292022"/>
              <a:gd name="connsiteX3-34441" fmla="*/ 202906 w 10693106"/>
              <a:gd name="connsiteY3-34442" fmla="*/ 93489 h 5292022"/>
              <a:gd name="connsiteX4-34443" fmla="*/ 236773 w 10693106"/>
              <a:gd name="connsiteY4-34444" fmla="*/ 68089 h 5292022"/>
              <a:gd name="connsiteX5-34445" fmla="*/ 335410 w 10693106"/>
              <a:gd name="connsiteY5-34446" fmla="*/ 58352 h 5292022"/>
              <a:gd name="connsiteX6-34447" fmla="*/ 382400 w 10693106"/>
              <a:gd name="connsiteY6-34448" fmla="*/ 51156 h 5292022"/>
              <a:gd name="connsiteX7-34449" fmla="*/ 434912 w 10693106"/>
              <a:gd name="connsiteY7-34450" fmla="*/ 70071 h 5292022"/>
              <a:gd name="connsiteX8-34451" fmla="*/ 492697 w 10693106"/>
              <a:gd name="connsiteY8-34452" fmla="*/ 74247 h 5292022"/>
              <a:gd name="connsiteX9-34453" fmla="*/ 822897 w 10693106"/>
              <a:gd name="connsiteY9-34454" fmla="*/ 82713 h 5292022"/>
              <a:gd name="connsiteX10-34455" fmla="*/ 1091906 w 10693106"/>
              <a:gd name="connsiteY10-34456" fmla="*/ 356 h 5292022"/>
              <a:gd name="connsiteX11-34457" fmla="*/ 1235840 w 10693106"/>
              <a:gd name="connsiteY11-34458" fmla="*/ 59622 h 5292022"/>
              <a:gd name="connsiteX12-34459" fmla="*/ 1337440 w 10693106"/>
              <a:gd name="connsiteY12-34460" fmla="*/ 135822 h 5292022"/>
              <a:gd name="connsiteX13-34461" fmla="*/ 1422106 w 10693106"/>
              <a:gd name="connsiteY13-34462" fmla="*/ 245889 h 5292022"/>
              <a:gd name="connsiteX14-34463" fmla="*/ 1481373 w 10693106"/>
              <a:gd name="connsiteY14-34464" fmla="*/ 313622 h 5292022"/>
              <a:gd name="connsiteX15-34465" fmla="*/ 1532173 w 10693106"/>
              <a:gd name="connsiteY15-34466" fmla="*/ 347489 h 5292022"/>
              <a:gd name="connsiteX16-34467" fmla="*/ 1684573 w 10693106"/>
              <a:gd name="connsiteY16-34468" fmla="*/ 406756 h 5292022"/>
              <a:gd name="connsiteX17-34469" fmla="*/ 1760773 w 10693106"/>
              <a:gd name="connsiteY17-34470" fmla="*/ 423689 h 5292022"/>
              <a:gd name="connsiteX18-34471" fmla="*/ 1997840 w 10693106"/>
              <a:gd name="connsiteY18-34472" fmla="*/ 415222 h 5292022"/>
              <a:gd name="connsiteX19-34473" fmla="*/ 2116373 w 10693106"/>
              <a:gd name="connsiteY19-34474" fmla="*/ 398289 h 5292022"/>
              <a:gd name="connsiteX20-34475" fmla="*/ 2260306 w 10693106"/>
              <a:gd name="connsiteY20-34476" fmla="*/ 381356 h 5292022"/>
              <a:gd name="connsiteX21-34477" fmla="*/ 2404240 w 10693106"/>
              <a:gd name="connsiteY21-34478" fmla="*/ 355956 h 5292022"/>
              <a:gd name="connsiteX22-34479" fmla="*/ 2455040 w 10693106"/>
              <a:gd name="connsiteY22-34480" fmla="*/ 330556 h 5292022"/>
              <a:gd name="connsiteX23-34481" fmla="*/ 2531240 w 10693106"/>
              <a:gd name="connsiteY23-34482" fmla="*/ 305156 h 5292022"/>
              <a:gd name="connsiteX24-34483" fmla="*/ 2649350 w 10693106"/>
              <a:gd name="connsiteY24-34484" fmla="*/ 225781 h 5292022"/>
              <a:gd name="connsiteX25-34485" fmla="*/ 2742906 w 10693106"/>
              <a:gd name="connsiteY25-34486" fmla="*/ 186622 h 5292022"/>
              <a:gd name="connsiteX26-34487" fmla="*/ 2764920 w 10693106"/>
              <a:gd name="connsiteY26-34488" fmla="*/ 173076 h 5292022"/>
              <a:gd name="connsiteX27-34489" fmla="*/ 2832653 w 10693106"/>
              <a:gd name="connsiteY27-34490" fmla="*/ 167996 h 5292022"/>
              <a:gd name="connsiteX28-34491" fmla="*/ 3002294 w 10693106"/>
              <a:gd name="connsiteY28-34492" fmla="*/ 154680 h 5292022"/>
              <a:gd name="connsiteX29-34493" fmla="*/ 3142763 w 10693106"/>
              <a:gd name="connsiteY29-34494" fmla="*/ 110421 h 5292022"/>
              <a:gd name="connsiteX30-34495" fmla="*/ 3398918 w 10693106"/>
              <a:gd name="connsiteY30-34496" fmla="*/ 72322 h 5292022"/>
              <a:gd name="connsiteX31-34497" fmla="*/ 3606506 w 10693106"/>
              <a:gd name="connsiteY31-34498" fmla="*/ 60393 h 5292022"/>
              <a:gd name="connsiteX32-34499" fmla="*/ 3682706 w 10693106"/>
              <a:gd name="connsiteY32-34500" fmla="*/ 79942 h 5292022"/>
              <a:gd name="connsiteX33-34501" fmla="*/ 3741973 w 10693106"/>
              <a:gd name="connsiteY33-34502" fmla="*/ 86561 h 5292022"/>
              <a:gd name="connsiteX34-34503" fmla="*/ 3794678 w 10693106"/>
              <a:gd name="connsiteY34-34504" fmla="*/ 101321 h 5292022"/>
              <a:gd name="connsiteX35-34505" fmla="*/ 3833625 w 10693106"/>
              <a:gd name="connsiteY35-34506" fmla="*/ 110846 h 5292022"/>
              <a:gd name="connsiteX36-34507" fmla="*/ 3892487 w 10693106"/>
              <a:gd name="connsiteY36-34508" fmla="*/ 116984 h 5292022"/>
              <a:gd name="connsiteX37-34509" fmla="*/ 3933108 w 10693106"/>
              <a:gd name="connsiteY37-34510" fmla="*/ 128837 h 5292022"/>
              <a:gd name="connsiteX38-34511" fmla="*/ 3976923 w 10693106"/>
              <a:gd name="connsiteY38-34512" fmla="*/ 135187 h 5292022"/>
              <a:gd name="connsiteX39-34513" fmla="*/ 4021373 w 10693106"/>
              <a:gd name="connsiteY39-34514" fmla="*/ 144289 h 5292022"/>
              <a:gd name="connsiteX40-34515" fmla="*/ 4055240 w 10693106"/>
              <a:gd name="connsiteY40-34516" fmla="*/ 152756 h 5292022"/>
              <a:gd name="connsiteX41-34517" fmla="*/ 4275373 w 10693106"/>
              <a:gd name="connsiteY41-34518" fmla="*/ 195089 h 5292022"/>
              <a:gd name="connsiteX42-34519" fmla="*/ 4402373 w 10693106"/>
              <a:gd name="connsiteY42-34520" fmla="*/ 228956 h 5292022"/>
              <a:gd name="connsiteX43-34521" fmla="*/ 4529373 w 10693106"/>
              <a:gd name="connsiteY43-34522" fmla="*/ 271289 h 5292022"/>
              <a:gd name="connsiteX44-34523" fmla="*/ 5630810 w 10693106"/>
              <a:gd name="connsiteY44-34524" fmla="*/ 1149898 h 5292022"/>
              <a:gd name="connsiteX45-34525" fmla="*/ 6881490 w 10693106"/>
              <a:gd name="connsiteY45-34526" fmla="*/ 1366452 h 5292022"/>
              <a:gd name="connsiteX46-34527" fmla="*/ 7839032 w 10693106"/>
              <a:gd name="connsiteY46-34528" fmla="*/ 1183996 h 5292022"/>
              <a:gd name="connsiteX47-34529" fmla="*/ 8652640 w 10693106"/>
              <a:gd name="connsiteY47-34530" fmla="*/ 677689 h 5292022"/>
              <a:gd name="connsiteX48-34531" fmla="*/ 8982840 w 10693106"/>
              <a:gd name="connsiteY48-34532" fmla="*/ 398289 h 5292022"/>
              <a:gd name="connsiteX49-34533" fmla="*/ 9380773 w 10693106"/>
              <a:gd name="connsiteY49-34534" fmla="*/ 355956 h 5292022"/>
              <a:gd name="connsiteX50-34535" fmla="*/ 9744840 w 10693106"/>
              <a:gd name="connsiteY50-34536" fmla="*/ 466022 h 5292022"/>
              <a:gd name="connsiteX51-34537" fmla="*/ 9888773 w 10693106"/>
              <a:gd name="connsiteY51-34538" fmla="*/ 508356 h 5292022"/>
              <a:gd name="connsiteX52-34539" fmla="*/ 9998840 w 10693106"/>
              <a:gd name="connsiteY52-34540" fmla="*/ 559156 h 5292022"/>
              <a:gd name="connsiteX53-34541" fmla="*/ 10083506 w 10693106"/>
              <a:gd name="connsiteY53-34542" fmla="*/ 618422 h 5292022"/>
              <a:gd name="connsiteX54-34543" fmla="*/ 10286706 w 10693106"/>
              <a:gd name="connsiteY54-34544" fmla="*/ 686156 h 5292022"/>
              <a:gd name="connsiteX55-34545" fmla="*/ 10388306 w 10693106"/>
              <a:gd name="connsiteY55-34546" fmla="*/ 889356 h 5292022"/>
              <a:gd name="connsiteX56-34547" fmla="*/ 10540706 w 10693106"/>
              <a:gd name="connsiteY56-34548" fmla="*/ 1261889 h 5292022"/>
              <a:gd name="connsiteX57-34549" fmla="*/ 10557640 w 10693106"/>
              <a:gd name="connsiteY57-34550" fmla="*/ 1346556 h 5292022"/>
              <a:gd name="connsiteX58-34551" fmla="*/ 10583040 w 10693106"/>
              <a:gd name="connsiteY58-34552" fmla="*/ 1448156 h 5292022"/>
              <a:gd name="connsiteX59-34553" fmla="*/ 10616906 w 10693106"/>
              <a:gd name="connsiteY59-34554" fmla="*/ 1651356 h 5292022"/>
              <a:gd name="connsiteX60-34555" fmla="*/ 10633840 w 10693106"/>
              <a:gd name="connsiteY60-34556" fmla="*/ 1736022 h 5292022"/>
              <a:gd name="connsiteX61-34557" fmla="*/ 10650773 w 10693106"/>
              <a:gd name="connsiteY61-34558" fmla="*/ 1769889 h 5292022"/>
              <a:gd name="connsiteX62-34559" fmla="*/ 10676173 w 10693106"/>
              <a:gd name="connsiteY62-34560" fmla="*/ 1854556 h 5292022"/>
              <a:gd name="connsiteX63-34561" fmla="*/ 10693106 w 10693106"/>
              <a:gd name="connsiteY63-34562" fmla="*/ 2006956 h 5292022"/>
              <a:gd name="connsiteX64-34563" fmla="*/ 10625373 w 10693106"/>
              <a:gd name="connsiteY64-34564" fmla="*/ 2227089 h 5292022"/>
              <a:gd name="connsiteX65-34565" fmla="*/ 10608440 w 10693106"/>
              <a:gd name="connsiteY65-34566" fmla="*/ 2252489 h 5292022"/>
              <a:gd name="connsiteX66-34567" fmla="*/ 10540706 w 10693106"/>
              <a:gd name="connsiteY66-34568" fmla="*/ 2396422 h 5292022"/>
              <a:gd name="connsiteX67-34569" fmla="*/ 10498373 w 10693106"/>
              <a:gd name="connsiteY67-34570" fmla="*/ 2481089 h 5292022"/>
              <a:gd name="connsiteX68-34571" fmla="*/ 10439106 w 10693106"/>
              <a:gd name="connsiteY68-34572" fmla="*/ 2667356 h 5292022"/>
              <a:gd name="connsiteX69-34573" fmla="*/ 10430640 w 10693106"/>
              <a:gd name="connsiteY69-34574" fmla="*/ 2709689 h 5292022"/>
              <a:gd name="connsiteX70-34575" fmla="*/ 10405240 w 10693106"/>
              <a:gd name="connsiteY70-34576" fmla="*/ 2785889 h 5292022"/>
              <a:gd name="connsiteX71-34577" fmla="*/ 10396773 w 10693106"/>
              <a:gd name="connsiteY71-34578" fmla="*/ 2819756 h 5292022"/>
              <a:gd name="connsiteX72-34579" fmla="*/ 10362906 w 10693106"/>
              <a:gd name="connsiteY72-34580" fmla="*/ 2912889 h 5292022"/>
              <a:gd name="connsiteX73-34581" fmla="*/ 10329040 w 10693106"/>
              <a:gd name="connsiteY73-34582" fmla="*/ 2955222 h 5292022"/>
              <a:gd name="connsiteX74-34583" fmla="*/ 10227440 w 10693106"/>
              <a:gd name="connsiteY74-34584" fmla="*/ 3056822 h 5292022"/>
              <a:gd name="connsiteX75-34585" fmla="*/ 10168173 w 10693106"/>
              <a:gd name="connsiteY75-34586" fmla="*/ 3124556 h 5292022"/>
              <a:gd name="connsiteX76-34587" fmla="*/ 10117373 w 10693106"/>
              <a:gd name="connsiteY76-34588" fmla="*/ 3175356 h 5292022"/>
              <a:gd name="connsiteX77-34589" fmla="*/ 10032706 w 10693106"/>
              <a:gd name="connsiteY77-34590" fmla="*/ 3276956 h 5292022"/>
              <a:gd name="connsiteX78-34591" fmla="*/ 9948040 w 10693106"/>
              <a:gd name="connsiteY78-34592" fmla="*/ 3336222 h 5292022"/>
              <a:gd name="connsiteX79-34593" fmla="*/ 9905706 w 10693106"/>
              <a:gd name="connsiteY79-34594" fmla="*/ 3361622 h 5292022"/>
              <a:gd name="connsiteX80-34595" fmla="*/ 9829506 w 10693106"/>
              <a:gd name="connsiteY80-34596" fmla="*/ 3378556 h 5292022"/>
              <a:gd name="connsiteX81-34597" fmla="*/ 9727906 w 10693106"/>
              <a:gd name="connsiteY81-34598" fmla="*/ 3420889 h 5292022"/>
              <a:gd name="connsiteX82-34599" fmla="*/ 9634773 w 10693106"/>
              <a:gd name="connsiteY82-34600" fmla="*/ 3446289 h 5292022"/>
              <a:gd name="connsiteX83-34601" fmla="*/ 9456973 w 10693106"/>
              <a:gd name="connsiteY83-34602" fmla="*/ 3539422 h 5292022"/>
              <a:gd name="connsiteX84-34603" fmla="*/ 9313040 w 10693106"/>
              <a:gd name="connsiteY84-34604" fmla="*/ 3666422 h 5292022"/>
              <a:gd name="connsiteX85-34605" fmla="*/ 9279173 w 10693106"/>
              <a:gd name="connsiteY85-34606" fmla="*/ 3683356 h 5292022"/>
              <a:gd name="connsiteX86-34607" fmla="*/ 9067506 w 10693106"/>
              <a:gd name="connsiteY86-34608" fmla="*/ 3861156 h 5292022"/>
              <a:gd name="connsiteX87-34609" fmla="*/ 8999773 w 10693106"/>
              <a:gd name="connsiteY87-34610" fmla="*/ 3928889 h 5292022"/>
              <a:gd name="connsiteX88-34611" fmla="*/ 8813506 w 10693106"/>
              <a:gd name="connsiteY88-34612" fmla="*/ 4064356 h 5292022"/>
              <a:gd name="connsiteX89-34613" fmla="*/ 8728840 w 10693106"/>
              <a:gd name="connsiteY89-34614" fmla="*/ 4106689 h 5292022"/>
              <a:gd name="connsiteX90-34615" fmla="*/ 8373240 w 10693106"/>
              <a:gd name="connsiteY90-34616" fmla="*/ 4140556 h 5292022"/>
              <a:gd name="connsiteX91-34617" fmla="*/ 7966840 w 10693106"/>
              <a:gd name="connsiteY91-34618" fmla="*/ 4233689 h 5292022"/>
              <a:gd name="connsiteX92-34619" fmla="*/ 7687440 w 10693106"/>
              <a:gd name="connsiteY92-34620" fmla="*/ 4394556 h 5292022"/>
              <a:gd name="connsiteX93-34621" fmla="*/ 7374173 w 10693106"/>
              <a:gd name="connsiteY93-34622" fmla="*/ 4657022 h 5292022"/>
              <a:gd name="connsiteX94-34623" fmla="*/ 7374173 w 10693106"/>
              <a:gd name="connsiteY94-34624" fmla="*/ 4657022 h 5292022"/>
              <a:gd name="connsiteX95-34625" fmla="*/ 7221773 w 10693106"/>
              <a:gd name="connsiteY95-34626" fmla="*/ 4775556 h 5292022"/>
              <a:gd name="connsiteX96-34627" fmla="*/ 7027040 w 10693106"/>
              <a:gd name="connsiteY96-34628" fmla="*/ 4902556 h 5292022"/>
              <a:gd name="connsiteX97-34629" fmla="*/ 6883106 w 10693106"/>
              <a:gd name="connsiteY97-34630" fmla="*/ 4970289 h 5292022"/>
              <a:gd name="connsiteX98-34631" fmla="*/ 6815373 w 10693106"/>
              <a:gd name="connsiteY98-34632" fmla="*/ 5012622 h 5292022"/>
              <a:gd name="connsiteX99-34633" fmla="*/ 6646040 w 10693106"/>
              <a:gd name="connsiteY99-34634" fmla="*/ 5105756 h 5292022"/>
              <a:gd name="connsiteX100-34635" fmla="*/ 6527506 w 10693106"/>
              <a:gd name="connsiteY100-34636" fmla="*/ 5165022 h 5292022"/>
              <a:gd name="connsiteX101-34637" fmla="*/ 6298906 w 10693106"/>
              <a:gd name="connsiteY101-34638" fmla="*/ 5241222 h 5292022"/>
              <a:gd name="connsiteX102-34639" fmla="*/ 6197306 w 10693106"/>
              <a:gd name="connsiteY102-34640" fmla="*/ 5266622 h 5292022"/>
              <a:gd name="connsiteX103-34641" fmla="*/ 6061840 w 10693106"/>
              <a:gd name="connsiteY103-34642" fmla="*/ 5275089 h 5292022"/>
              <a:gd name="connsiteX104-34643" fmla="*/ 5917906 w 10693106"/>
              <a:gd name="connsiteY104-34644" fmla="*/ 5292022 h 5292022"/>
              <a:gd name="connsiteX105-34645" fmla="*/ 5748573 w 10693106"/>
              <a:gd name="connsiteY105-34646" fmla="*/ 5283556 h 5292022"/>
              <a:gd name="connsiteX106-34647" fmla="*/ 5282906 w 10693106"/>
              <a:gd name="connsiteY106-34648" fmla="*/ 5173489 h 5292022"/>
              <a:gd name="connsiteX107-34649" fmla="*/ 4959480 w 10693106"/>
              <a:gd name="connsiteY107-34650" fmla="*/ 4988069 h 5292022"/>
              <a:gd name="connsiteX108-34651" fmla="*/ 4686853 w 10693106"/>
              <a:gd name="connsiteY108-34652" fmla="*/ 4788256 h 5292022"/>
              <a:gd name="connsiteX109-34653" fmla="*/ 3977346 w 10693106"/>
              <a:gd name="connsiteY109-34654" fmla="*/ 4470544 h 5292022"/>
              <a:gd name="connsiteX110-34655" fmla="*/ 3741550 w 10693106"/>
              <a:gd name="connsiteY110-34656" fmla="*/ 4154102 h 5292022"/>
              <a:gd name="connsiteX111-34657" fmla="*/ 3562056 w 10693106"/>
              <a:gd name="connsiteY111-34658" fmla="*/ 3406919 h 5292022"/>
              <a:gd name="connsiteX112-34659" fmla="*/ 3242440 w 10693106"/>
              <a:gd name="connsiteY112-34660" fmla="*/ 3099156 h 5292022"/>
              <a:gd name="connsiteX113-34661" fmla="*/ 3123906 w 10693106"/>
              <a:gd name="connsiteY113-34662" fmla="*/ 2997556 h 5292022"/>
              <a:gd name="connsiteX114-34663" fmla="*/ 2988440 w 10693106"/>
              <a:gd name="connsiteY114-34664" fmla="*/ 2802822 h 5292022"/>
              <a:gd name="connsiteX115-34665" fmla="*/ 2971506 w 10693106"/>
              <a:gd name="connsiteY115-34666" fmla="*/ 2743556 h 5292022"/>
              <a:gd name="connsiteX116-34667" fmla="*/ 2996906 w 10693106"/>
              <a:gd name="connsiteY116-34668" fmla="*/ 2531889 h 5292022"/>
              <a:gd name="connsiteX117-34669" fmla="*/ 3013840 w 10693106"/>
              <a:gd name="connsiteY117-34670" fmla="*/ 2430289 h 5292022"/>
              <a:gd name="connsiteX118-34671" fmla="*/ 3005373 w 10693106"/>
              <a:gd name="connsiteY118-34672" fmla="*/ 2311756 h 5292022"/>
              <a:gd name="connsiteX119-34673" fmla="*/ 2988440 w 10693106"/>
              <a:gd name="connsiteY119-34674" fmla="*/ 2260956 h 5292022"/>
              <a:gd name="connsiteX120-34675" fmla="*/ 2802173 w 10693106"/>
              <a:gd name="connsiteY120-34676" fmla="*/ 2006956 h 5292022"/>
              <a:gd name="connsiteX121-34677" fmla="*/ 2641306 w 10693106"/>
              <a:gd name="connsiteY121-34678" fmla="*/ 1863022 h 5292022"/>
              <a:gd name="connsiteX122-34679" fmla="*/ 2590506 w 10693106"/>
              <a:gd name="connsiteY122-34680" fmla="*/ 1837622 h 5292022"/>
              <a:gd name="connsiteX123-34681" fmla="*/ 2531240 w 10693106"/>
              <a:gd name="connsiteY123-34682" fmla="*/ 1829156 h 5292022"/>
              <a:gd name="connsiteX124-34683" fmla="*/ 2446573 w 10693106"/>
              <a:gd name="connsiteY124-34684" fmla="*/ 1812222 h 5292022"/>
              <a:gd name="connsiteX125-34685" fmla="*/ 2251840 w 10693106"/>
              <a:gd name="connsiteY125-34686" fmla="*/ 1837622 h 5292022"/>
              <a:gd name="connsiteX126-34687" fmla="*/ 2167173 w 10693106"/>
              <a:gd name="connsiteY126-34688" fmla="*/ 1879956 h 5292022"/>
              <a:gd name="connsiteX127-34689" fmla="*/ 1980906 w 10693106"/>
              <a:gd name="connsiteY127-34690" fmla="*/ 1939222 h 5292022"/>
              <a:gd name="connsiteX128-34691" fmla="*/ 1904706 w 10693106"/>
              <a:gd name="connsiteY128-34692" fmla="*/ 1973089 h 5292022"/>
              <a:gd name="connsiteX129-34693" fmla="*/ 1828506 w 10693106"/>
              <a:gd name="connsiteY129-34694" fmla="*/ 1990022 h 5292022"/>
              <a:gd name="connsiteX130-34695" fmla="*/ 1726906 w 10693106"/>
              <a:gd name="connsiteY130-34696" fmla="*/ 2040822 h 5292022"/>
              <a:gd name="connsiteX131-34697" fmla="*/ 1659173 w 10693106"/>
              <a:gd name="connsiteY131-34698" fmla="*/ 2074689 h 5292022"/>
              <a:gd name="connsiteX132-34699" fmla="*/ 1498306 w 10693106"/>
              <a:gd name="connsiteY132-34700" fmla="*/ 2100089 h 5292022"/>
              <a:gd name="connsiteX133-34701" fmla="*/ 914106 w 10693106"/>
              <a:gd name="connsiteY133-34702" fmla="*/ 2032356 h 5292022"/>
              <a:gd name="connsiteX134-34703" fmla="*/ 617773 w 10693106"/>
              <a:gd name="connsiteY134-34704" fmla="*/ 1922289 h 5292022"/>
              <a:gd name="connsiteX135-34705" fmla="*/ 516173 w 10693106"/>
              <a:gd name="connsiteY135-34706" fmla="*/ 1837622 h 5292022"/>
              <a:gd name="connsiteX136-34707" fmla="*/ 355306 w 10693106"/>
              <a:gd name="connsiteY136-34708" fmla="*/ 1625956 h 5292022"/>
              <a:gd name="connsiteX137-34709" fmla="*/ 296040 w 10693106"/>
              <a:gd name="connsiteY137-34710" fmla="*/ 1524356 h 5292022"/>
              <a:gd name="connsiteX138-34711" fmla="*/ 253706 w 10693106"/>
              <a:gd name="connsiteY138-34712" fmla="*/ 1346556 h 5292022"/>
              <a:gd name="connsiteX139-34713" fmla="*/ 245240 w 10693106"/>
              <a:gd name="connsiteY139-34714" fmla="*/ 1219556 h 5292022"/>
              <a:gd name="connsiteX140-34715" fmla="*/ 236773 w 10693106"/>
              <a:gd name="connsiteY140-34716" fmla="*/ 1117956 h 5292022"/>
              <a:gd name="connsiteX141-34717" fmla="*/ 245240 w 10693106"/>
              <a:gd name="connsiteY141-34718" fmla="*/ 847022 h 5292022"/>
              <a:gd name="connsiteX142-34719" fmla="*/ 236773 w 10693106"/>
              <a:gd name="connsiteY142-34720" fmla="*/ 703089 h 5292022"/>
              <a:gd name="connsiteX143-34721" fmla="*/ 109773 w 10693106"/>
              <a:gd name="connsiteY143-34722" fmla="*/ 559156 h 5292022"/>
              <a:gd name="connsiteX144-34723" fmla="*/ 58973 w 10693106"/>
              <a:gd name="connsiteY144-34724" fmla="*/ 482956 h 5292022"/>
              <a:gd name="connsiteX145-34725" fmla="*/ 16640 w 10693106"/>
              <a:gd name="connsiteY145-34726" fmla="*/ 432156 h 5292022"/>
              <a:gd name="connsiteX146-34727" fmla="*/ 8173 w 10693106"/>
              <a:gd name="connsiteY146-34728" fmla="*/ 389822 h 5292022"/>
              <a:gd name="connsiteX147-34729" fmla="*/ 16640 w 10693106"/>
              <a:gd name="connsiteY147-34730" fmla="*/ 339022 h 5292022"/>
              <a:gd name="connsiteX0-34731" fmla="*/ 16640 w 10693106"/>
              <a:gd name="connsiteY0-34732" fmla="*/ 339022 h 5292022"/>
              <a:gd name="connsiteX1-34733" fmla="*/ 58973 w 10693106"/>
              <a:gd name="connsiteY1-34734" fmla="*/ 245889 h 5292022"/>
              <a:gd name="connsiteX2-34735" fmla="*/ 109773 w 10693106"/>
              <a:gd name="connsiteY2-34736" fmla="*/ 178156 h 5292022"/>
              <a:gd name="connsiteX3-34737" fmla="*/ 202906 w 10693106"/>
              <a:gd name="connsiteY3-34738" fmla="*/ 93489 h 5292022"/>
              <a:gd name="connsiteX4-34739" fmla="*/ 236773 w 10693106"/>
              <a:gd name="connsiteY4-34740" fmla="*/ 68089 h 5292022"/>
              <a:gd name="connsiteX5-34741" fmla="*/ 335410 w 10693106"/>
              <a:gd name="connsiteY5-34742" fmla="*/ 58352 h 5292022"/>
              <a:gd name="connsiteX6-34743" fmla="*/ 382400 w 10693106"/>
              <a:gd name="connsiteY6-34744" fmla="*/ 51156 h 5292022"/>
              <a:gd name="connsiteX7-34745" fmla="*/ 434912 w 10693106"/>
              <a:gd name="connsiteY7-34746" fmla="*/ 70071 h 5292022"/>
              <a:gd name="connsiteX8-34747" fmla="*/ 492697 w 10693106"/>
              <a:gd name="connsiteY8-34748" fmla="*/ 74247 h 5292022"/>
              <a:gd name="connsiteX9-34749" fmla="*/ 822897 w 10693106"/>
              <a:gd name="connsiteY9-34750" fmla="*/ 82713 h 5292022"/>
              <a:gd name="connsiteX10-34751" fmla="*/ 1091906 w 10693106"/>
              <a:gd name="connsiteY10-34752" fmla="*/ 356 h 5292022"/>
              <a:gd name="connsiteX11-34753" fmla="*/ 1235840 w 10693106"/>
              <a:gd name="connsiteY11-34754" fmla="*/ 59622 h 5292022"/>
              <a:gd name="connsiteX12-34755" fmla="*/ 1337440 w 10693106"/>
              <a:gd name="connsiteY12-34756" fmla="*/ 135822 h 5292022"/>
              <a:gd name="connsiteX13-34757" fmla="*/ 1422106 w 10693106"/>
              <a:gd name="connsiteY13-34758" fmla="*/ 245889 h 5292022"/>
              <a:gd name="connsiteX14-34759" fmla="*/ 1481373 w 10693106"/>
              <a:gd name="connsiteY14-34760" fmla="*/ 313622 h 5292022"/>
              <a:gd name="connsiteX15-34761" fmla="*/ 1532173 w 10693106"/>
              <a:gd name="connsiteY15-34762" fmla="*/ 347489 h 5292022"/>
              <a:gd name="connsiteX16-34763" fmla="*/ 1684573 w 10693106"/>
              <a:gd name="connsiteY16-34764" fmla="*/ 406756 h 5292022"/>
              <a:gd name="connsiteX17-34765" fmla="*/ 1760773 w 10693106"/>
              <a:gd name="connsiteY17-34766" fmla="*/ 423689 h 5292022"/>
              <a:gd name="connsiteX18-34767" fmla="*/ 1997840 w 10693106"/>
              <a:gd name="connsiteY18-34768" fmla="*/ 415222 h 5292022"/>
              <a:gd name="connsiteX19-34769" fmla="*/ 2116373 w 10693106"/>
              <a:gd name="connsiteY19-34770" fmla="*/ 398289 h 5292022"/>
              <a:gd name="connsiteX20-34771" fmla="*/ 2260306 w 10693106"/>
              <a:gd name="connsiteY20-34772" fmla="*/ 381356 h 5292022"/>
              <a:gd name="connsiteX21-34773" fmla="*/ 2404240 w 10693106"/>
              <a:gd name="connsiteY21-34774" fmla="*/ 355956 h 5292022"/>
              <a:gd name="connsiteX22-34775" fmla="*/ 2455040 w 10693106"/>
              <a:gd name="connsiteY22-34776" fmla="*/ 330556 h 5292022"/>
              <a:gd name="connsiteX23-34777" fmla="*/ 2531240 w 10693106"/>
              <a:gd name="connsiteY23-34778" fmla="*/ 305156 h 5292022"/>
              <a:gd name="connsiteX24-34779" fmla="*/ 2649350 w 10693106"/>
              <a:gd name="connsiteY24-34780" fmla="*/ 225781 h 5292022"/>
              <a:gd name="connsiteX25-34781" fmla="*/ 2742906 w 10693106"/>
              <a:gd name="connsiteY25-34782" fmla="*/ 186622 h 5292022"/>
              <a:gd name="connsiteX26-34783" fmla="*/ 2764920 w 10693106"/>
              <a:gd name="connsiteY26-34784" fmla="*/ 173076 h 5292022"/>
              <a:gd name="connsiteX27-34785" fmla="*/ 2832653 w 10693106"/>
              <a:gd name="connsiteY27-34786" fmla="*/ 167996 h 5292022"/>
              <a:gd name="connsiteX28-34787" fmla="*/ 3002294 w 10693106"/>
              <a:gd name="connsiteY28-34788" fmla="*/ 154680 h 5292022"/>
              <a:gd name="connsiteX29-34789" fmla="*/ 3142763 w 10693106"/>
              <a:gd name="connsiteY29-34790" fmla="*/ 110421 h 5292022"/>
              <a:gd name="connsiteX30-34791" fmla="*/ 3398918 w 10693106"/>
              <a:gd name="connsiteY30-34792" fmla="*/ 72322 h 5292022"/>
              <a:gd name="connsiteX31-34793" fmla="*/ 3606506 w 10693106"/>
              <a:gd name="connsiteY31-34794" fmla="*/ 60393 h 5292022"/>
              <a:gd name="connsiteX32-34795" fmla="*/ 3682706 w 10693106"/>
              <a:gd name="connsiteY32-34796" fmla="*/ 79942 h 5292022"/>
              <a:gd name="connsiteX33-34797" fmla="*/ 3741973 w 10693106"/>
              <a:gd name="connsiteY33-34798" fmla="*/ 86561 h 5292022"/>
              <a:gd name="connsiteX34-34799" fmla="*/ 3794678 w 10693106"/>
              <a:gd name="connsiteY34-34800" fmla="*/ 101321 h 5292022"/>
              <a:gd name="connsiteX35-34801" fmla="*/ 3833625 w 10693106"/>
              <a:gd name="connsiteY35-34802" fmla="*/ 110846 h 5292022"/>
              <a:gd name="connsiteX36-34803" fmla="*/ 3892487 w 10693106"/>
              <a:gd name="connsiteY36-34804" fmla="*/ 116984 h 5292022"/>
              <a:gd name="connsiteX37-34805" fmla="*/ 3933108 w 10693106"/>
              <a:gd name="connsiteY37-34806" fmla="*/ 128837 h 5292022"/>
              <a:gd name="connsiteX38-34807" fmla="*/ 3976923 w 10693106"/>
              <a:gd name="connsiteY38-34808" fmla="*/ 135187 h 5292022"/>
              <a:gd name="connsiteX39-34809" fmla="*/ 4021373 w 10693106"/>
              <a:gd name="connsiteY39-34810" fmla="*/ 144289 h 5292022"/>
              <a:gd name="connsiteX40-34811" fmla="*/ 4055240 w 10693106"/>
              <a:gd name="connsiteY40-34812" fmla="*/ 152756 h 5292022"/>
              <a:gd name="connsiteX41-34813" fmla="*/ 4275373 w 10693106"/>
              <a:gd name="connsiteY41-34814" fmla="*/ 195089 h 5292022"/>
              <a:gd name="connsiteX42-34815" fmla="*/ 4529373 w 10693106"/>
              <a:gd name="connsiteY42-34816" fmla="*/ 271289 h 5292022"/>
              <a:gd name="connsiteX43-34817" fmla="*/ 5630810 w 10693106"/>
              <a:gd name="connsiteY43-34818" fmla="*/ 1149898 h 5292022"/>
              <a:gd name="connsiteX44-34819" fmla="*/ 6881490 w 10693106"/>
              <a:gd name="connsiteY44-34820" fmla="*/ 1366452 h 5292022"/>
              <a:gd name="connsiteX45-34821" fmla="*/ 7839032 w 10693106"/>
              <a:gd name="connsiteY45-34822" fmla="*/ 1183996 h 5292022"/>
              <a:gd name="connsiteX46-34823" fmla="*/ 8652640 w 10693106"/>
              <a:gd name="connsiteY46-34824" fmla="*/ 677689 h 5292022"/>
              <a:gd name="connsiteX47-34825" fmla="*/ 8982840 w 10693106"/>
              <a:gd name="connsiteY47-34826" fmla="*/ 398289 h 5292022"/>
              <a:gd name="connsiteX48-34827" fmla="*/ 9380773 w 10693106"/>
              <a:gd name="connsiteY48-34828" fmla="*/ 355956 h 5292022"/>
              <a:gd name="connsiteX49-34829" fmla="*/ 9744840 w 10693106"/>
              <a:gd name="connsiteY49-34830" fmla="*/ 466022 h 5292022"/>
              <a:gd name="connsiteX50-34831" fmla="*/ 9888773 w 10693106"/>
              <a:gd name="connsiteY50-34832" fmla="*/ 508356 h 5292022"/>
              <a:gd name="connsiteX51-34833" fmla="*/ 9998840 w 10693106"/>
              <a:gd name="connsiteY51-34834" fmla="*/ 559156 h 5292022"/>
              <a:gd name="connsiteX52-34835" fmla="*/ 10083506 w 10693106"/>
              <a:gd name="connsiteY52-34836" fmla="*/ 618422 h 5292022"/>
              <a:gd name="connsiteX53-34837" fmla="*/ 10286706 w 10693106"/>
              <a:gd name="connsiteY53-34838" fmla="*/ 686156 h 5292022"/>
              <a:gd name="connsiteX54-34839" fmla="*/ 10388306 w 10693106"/>
              <a:gd name="connsiteY54-34840" fmla="*/ 889356 h 5292022"/>
              <a:gd name="connsiteX55-34841" fmla="*/ 10540706 w 10693106"/>
              <a:gd name="connsiteY55-34842" fmla="*/ 1261889 h 5292022"/>
              <a:gd name="connsiteX56-34843" fmla="*/ 10557640 w 10693106"/>
              <a:gd name="connsiteY56-34844" fmla="*/ 1346556 h 5292022"/>
              <a:gd name="connsiteX57-34845" fmla="*/ 10583040 w 10693106"/>
              <a:gd name="connsiteY57-34846" fmla="*/ 1448156 h 5292022"/>
              <a:gd name="connsiteX58-34847" fmla="*/ 10616906 w 10693106"/>
              <a:gd name="connsiteY58-34848" fmla="*/ 1651356 h 5292022"/>
              <a:gd name="connsiteX59-34849" fmla="*/ 10633840 w 10693106"/>
              <a:gd name="connsiteY59-34850" fmla="*/ 1736022 h 5292022"/>
              <a:gd name="connsiteX60-34851" fmla="*/ 10650773 w 10693106"/>
              <a:gd name="connsiteY60-34852" fmla="*/ 1769889 h 5292022"/>
              <a:gd name="connsiteX61-34853" fmla="*/ 10676173 w 10693106"/>
              <a:gd name="connsiteY61-34854" fmla="*/ 1854556 h 5292022"/>
              <a:gd name="connsiteX62-34855" fmla="*/ 10693106 w 10693106"/>
              <a:gd name="connsiteY62-34856" fmla="*/ 2006956 h 5292022"/>
              <a:gd name="connsiteX63-34857" fmla="*/ 10625373 w 10693106"/>
              <a:gd name="connsiteY63-34858" fmla="*/ 2227089 h 5292022"/>
              <a:gd name="connsiteX64-34859" fmla="*/ 10608440 w 10693106"/>
              <a:gd name="connsiteY64-34860" fmla="*/ 2252489 h 5292022"/>
              <a:gd name="connsiteX65-34861" fmla="*/ 10540706 w 10693106"/>
              <a:gd name="connsiteY65-34862" fmla="*/ 2396422 h 5292022"/>
              <a:gd name="connsiteX66-34863" fmla="*/ 10498373 w 10693106"/>
              <a:gd name="connsiteY66-34864" fmla="*/ 2481089 h 5292022"/>
              <a:gd name="connsiteX67-34865" fmla="*/ 10439106 w 10693106"/>
              <a:gd name="connsiteY67-34866" fmla="*/ 2667356 h 5292022"/>
              <a:gd name="connsiteX68-34867" fmla="*/ 10430640 w 10693106"/>
              <a:gd name="connsiteY68-34868" fmla="*/ 2709689 h 5292022"/>
              <a:gd name="connsiteX69-34869" fmla="*/ 10405240 w 10693106"/>
              <a:gd name="connsiteY69-34870" fmla="*/ 2785889 h 5292022"/>
              <a:gd name="connsiteX70-34871" fmla="*/ 10396773 w 10693106"/>
              <a:gd name="connsiteY70-34872" fmla="*/ 2819756 h 5292022"/>
              <a:gd name="connsiteX71-34873" fmla="*/ 10362906 w 10693106"/>
              <a:gd name="connsiteY71-34874" fmla="*/ 2912889 h 5292022"/>
              <a:gd name="connsiteX72-34875" fmla="*/ 10329040 w 10693106"/>
              <a:gd name="connsiteY72-34876" fmla="*/ 2955222 h 5292022"/>
              <a:gd name="connsiteX73-34877" fmla="*/ 10227440 w 10693106"/>
              <a:gd name="connsiteY73-34878" fmla="*/ 3056822 h 5292022"/>
              <a:gd name="connsiteX74-34879" fmla="*/ 10168173 w 10693106"/>
              <a:gd name="connsiteY74-34880" fmla="*/ 3124556 h 5292022"/>
              <a:gd name="connsiteX75-34881" fmla="*/ 10117373 w 10693106"/>
              <a:gd name="connsiteY75-34882" fmla="*/ 3175356 h 5292022"/>
              <a:gd name="connsiteX76-34883" fmla="*/ 10032706 w 10693106"/>
              <a:gd name="connsiteY76-34884" fmla="*/ 3276956 h 5292022"/>
              <a:gd name="connsiteX77-34885" fmla="*/ 9948040 w 10693106"/>
              <a:gd name="connsiteY77-34886" fmla="*/ 3336222 h 5292022"/>
              <a:gd name="connsiteX78-34887" fmla="*/ 9905706 w 10693106"/>
              <a:gd name="connsiteY78-34888" fmla="*/ 3361622 h 5292022"/>
              <a:gd name="connsiteX79-34889" fmla="*/ 9829506 w 10693106"/>
              <a:gd name="connsiteY79-34890" fmla="*/ 3378556 h 5292022"/>
              <a:gd name="connsiteX80-34891" fmla="*/ 9727906 w 10693106"/>
              <a:gd name="connsiteY80-34892" fmla="*/ 3420889 h 5292022"/>
              <a:gd name="connsiteX81-34893" fmla="*/ 9634773 w 10693106"/>
              <a:gd name="connsiteY81-34894" fmla="*/ 3446289 h 5292022"/>
              <a:gd name="connsiteX82-34895" fmla="*/ 9456973 w 10693106"/>
              <a:gd name="connsiteY82-34896" fmla="*/ 3539422 h 5292022"/>
              <a:gd name="connsiteX83-34897" fmla="*/ 9313040 w 10693106"/>
              <a:gd name="connsiteY83-34898" fmla="*/ 3666422 h 5292022"/>
              <a:gd name="connsiteX84-34899" fmla="*/ 9279173 w 10693106"/>
              <a:gd name="connsiteY84-34900" fmla="*/ 3683356 h 5292022"/>
              <a:gd name="connsiteX85-34901" fmla="*/ 9067506 w 10693106"/>
              <a:gd name="connsiteY85-34902" fmla="*/ 3861156 h 5292022"/>
              <a:gd name="connsiteX86-34903" fmla="*/ 8999773 w 10693106"/>
              <a:gd name="connsiteY86-34904" fmla="*/ 3928889 h 5292022"/>
              <a:gd name="connsiteX87-34905" fmla="*/ 8813506 w 10693106"/>
              <a:gd name="connsiteY87-34906" fmla="*/ 4064356 h 5292022"/>
              <a:gd name="connsiteX88-34907" fmla="*/ 8728840 w 10693106"/>
              <a:gd name="connsiteY88-34908" fmla="*/ 4106689 h 5292022"/>
              <a:gd name="connsiteX89-34909" fmla="*/ 8373240 w 10693106"/>
              <a:gd name="connsiteY89-34910" fmla="*/ 4140556 h 5292022"/>
              <a:gd name="connsiteX90-34911" fmla="*/ 7966840 w 10693106"/>
              <a:gd name="connsiteY90-34912" fmla="*/ 4233689 h 5292022"/>
              <a:gd name="connsiteX91-34913" fmla="*/ 7687440 w 10693106"/>
              <a:gd name="connsiteY91-34914" fmla="*/ 4394556 h 5292022"/>
              <a:gd name="connsiteX92-34915" fmla="*/ 7374173 w 10693106"/>
              <a:gd name="connsiteY92-34916" fmla="*/ 4657022 h 5292022"/>
              <a:gd name="connsiteX93-34917" fmla="*/ 7374173 w 10693106"/>
              <a:gd name="connsiteY93-34918" fmla="*/ 4657022 h 5292022"/>
              <a:gd name="connsiteX94-34919" fmla="*/ 7221773 w 10693106"/>
              <a:gd name="connsiteY94-34920" fmla="*/ 4775556 h 5292022"/>
              <a:gd name="connsiteX95-34921" fmla="*/ 7027040 w 10693106"/>
              <a:gd name="connsiteY95-34922" fmla="*/ 4902556 h 5292022"/>
              <a:gd name="connsiteX96-34923" fmla="*/ 6883106 w 10693106"/>
              <a:gd name="connsiteY96-34924" fmla="*/ 4970289 h 5292022"/>
              <a:gd name="connsiteX97-34925" fmla="*/ 6815373 w 10693106"/>
              <a:gd name="connsiteY97-34926" fmla="*/ 5012622 h 5292022"/>
              <a:gd name="connsiteX98-34927" fmla="*/ 6646040 w 10693106"/>
              <a:gd name="connsiteY98-34928" fmla="*/ 5105756 h 5292022"/>
              <a:gd name="connsiteX99-34929" fmla="*/ 6527506 w 10693106"/>
              <a:gd name="connsiteY99-34930" fmla="*/ 5165022 h 5292022"/>
              <a:gd name="connsiteX100-34931" fmla="*/ 6298906 w 10693106"/>
              <a:gd name="connsiteY100-34932" fmla="*/ 5241222 h 5292022"/>
              <a:gd name="connsiteX101-34933" fmla="*/ 6197306 w 10693106"/>
              <a:gd name="connsiteY101-34934" fmla="*/ 5266622 h 5292022"/>
              <a:gd name="connsiteX102-34935" fmla="*/ 6061840 w 10693106"/>
              <a:gd name="connsiteY102-34936" fmla="*/ 5275089 h 5292022"/>
              <a:gd name="connsiteX103-34937" fmla="*/ 5917906 w 10693106"/>
              <a:gd name="connsiteY103-34938" fmla="*/ 5292022 h 5292022"/>
              <a:gd name="connsiteX104-34939" fmla="*/ 5748573 w 10693106"/>
              <a:gd name="connsiteY104-34940" fmla="*/ 5283556 h 5292022"/>
              <a:gd name="connsiteX105-34941" fmla="*/ 5282906 w 10693106"/>
              <a:gd name="connsiteY105-34942" fmla="*/ 5173489 h 5292022"/>
              <a:gd name="connsiteX106-34943" fmla="*/ 4959480 w 10693106"/>
              <a:gd name="connsiteY106-34944" fmla="*/ 4988069 h 5292022"/>
              <a:gd name="connsiteX107-34945" fmla="*/ 4686853 w 10693106"/>
              <a:gd name="connsiteY107-34946" fmla="*/ 4788256 h 5292022"/>
              <a:gd name="connsiteX108-34947" fmla="*/ 3977346 w 10693106"/>
              <a:gd name="connsiteY108-34948" fmla="*/ 4470544 h 5292022"/>
              <a:gd name="connsiteX109-34949" fmla="*/ 3741550 w 10693106"/>
              <a:gd name="connsiteY109-34950" fmla="*/ 4154102 h 5292022"/>
              <a:gd name="connsiteX110-34951" fmla="*/ 3562056 w 10693106"/>
              <a:gd name="connsiteY110-34952" fmla="*/ 3406919 h 5292022"/>
              <a:gd name="connsiteX111-34953" fmla="*/ 3242440 w 10693106"/>
              <a:gd name="connsiteY111-34954" fmla="*/ 3099156 h 5292022"/>
              <a:gd name="connsiteX112-34955" fmla="*/ 3123906 w 10693106"/>
              <a:gd name="connsiteY112-34956" fmla="*/ 2997556 h 5292022"/>
              <a:gd name="connsiteX113-34957" fmla="*/ 2988440 w 10693106"/>
              <a:gd name="connsiteY113-34958" fmla="*/ 2802822 h 5292022"/>
              <a:gd name="connsiteX114-34959" fmla="*/ 2971506 w 10693106"/>
              <a:gd name="connsiteY114-34960" fmla="*/ 2743556 h 5292022"/>
              <a:gd name="connsiteX115-34961" fmla="*/ 2996906 w 10693106"/>
              <a:gd name="connsiteY115-34962" fmla="*/ 2531889 h 5292022"/>
              <a:gd name="connsiteX116-34963" fmla="*/ 3013840 w 10693106"/>
              <a:gd name="connsiteY116-34964" fmla="*/ 2430289 h 5292022"/>
              <a:gd name="connsiteX117-34965" fmla="*/ 3005373 w 10693106"/>
              <a:gd name="connsiteY117-34966" fmla="*/ 2311756 h 5292022"/>
              <a:gd name="connsiteX118-34967" fmla="*/ 2988440 w 10693106"/>
              <a:gd name="connsiteY118-34968" fmla="*/ 2260956 h 5292022"/>
              <a:gd name="connsiteX119-34969" fmla="*/ 2802173 w 10693106"/>
              <a:gd name="connsiteY119-34970" fmla="*/ 2006956 h 5292022"/>
              <a:gd name="connsiteX120-34971" fmla="*/ 2641306 w 10693106"/>
              <a:gd name="connsiteY120-34972" fmla="*/ 1863022 h 5292022"/>
              <a:gd name="connsiteX121-34973" fmla="*/ 2590506 w 10693106"/>
              <a:gd name="connsiteY121-34974" fmla="*/ 1837622 h 5292022"/>
              <a:gd name="connsiteX122-34975" fmla="*/ 2531240 w 10693106"/>
              <a:gd name="connsiteY122-34976" fmla="*/ 1829156 h 5292022"/>
              <a:gd name="connsiteX123-34977" fmla="*/ 2446573 w 10693106"/>
              <a:gd name="connsiteY123-34978" fmla="*/ 1812222 h 5292022"/>
              <a:gd name="connsiteX124-34979" fmla="*/ 2251840 w 10693106"/>
              <a:gd name="connsiteY124-34980" fmla="*/ 1837622 h 5292022"/>
              <a:gd name="connsiteX125-34981" fmla="*/ 2167173 w 10693106"/>
              <a:gd name="connsiteY125-34982" fmla="*/ 1879956 h 5292022"/>
              <a:gd name="connsiteX126-34983" fmla="*/ 1980906 w 10693106"/>
              <a:gd name="connsiteY126-34984" fmla="*/ 1939222 h 5292022"/>
              <a:gd name="connsiteX127-34985" fmla="*/ 1904706 w 10693106"/>
              <a:gd name="connsiteY127-34986" fmla="*/ 1973089 h 5292022"/>
              <a:gd name="connsiteX128-34987" fmla="*/ 1828506 w 10693106"/>
              <a:gd name="connsiteY128-34988" fmla="*/ 1990022 h 5292022"/>
              <a:gd name="connsiteX129-34989" fmla="*/ 1726906 w 10693106"/>
              <a:gd name="connsiteY129-34990" fmla="*/ 2040822 h 5292022"/>
              <a:gd name="connsiteX130-34991" fmla="*/ 1659173 w 10693106"/>
              <a:gd name="connsiteY130-34992" fmla="*/ 2074689 h 5292022"/>
              <a:gd name="connsiteX131-34993" fmla="*/ 1498306 w 10693106"/>
              <a:gd name="connsiteY131-34994" fmla="*/ 2100089 h 5292022"/>
              <a:gd name="connsiteX132-34995" fmla="*/ 914106 w 10693106"/>
              <a:gd name="connsiteY132-34996" fmla="*/ 2032356 h 5292022"/>
              <a:gd name="connsiteX133-34997" fmla="*/ 617773 w 10693106"/>
              <a:gd name="connsiteY133-34998" fmla="*/ 1922289 h 5292022"/>
              <a:gd name="connsiteX134-34999" fmla="*/ 516173 w 10693106"/>
              <a:gd name="connsiteY134-35000" fmla="*/ 1837622 h 5292022"/>
              <a:gd name="connsiteX135-35001" fmla="*/ 355306 w 10693106"/>
              <a:gd name="connsiteY135-35002" fmla="*/ 1625956 h 5292022"/>
              <a:gd name="connsiteX136-35003" fmla="*/ 296040 w 10693106"/>
              <a:gd name="connsiteY136-35004" fmla="*/ 1524356 h 5292022"/>
              <a:gd name="connsiteX137-35005" fmla="*/ 253706 w 10693106"/>
              <a:gd name="connsiteY137-35006" fmla="*/ 1346556 h 5292022"/>
              <a:gd name="connsiteX138-35007" fmla="*/ 245240 w 10693106"/>
              <a:gd name="connsiteY138-35008" fmla="*/ 1219556 h 5292022"/>
              <a:gd name="connsiteX139-35009" fmla="*/ 236773 w 10693106"/>
              <a:gd name="connsiteY139-35010" fmla="*/ 1117956 h 5292022"/>
              <a:gd name="connsiteX140-35011" fmla="*/ 245240 w 10693106"/>
              <a:gd name="connsiteY140-35012" fmla="*/ 847022 h 5292022"/>
              <a:gd name="connsiteX141-35013" fmla="*/ 236773 w 10693106"/>
              <a:gd name="connsiteY141-35014" fmla="*/ 703089 h 5292022"/>
              <a:gd name="connsiteX142-35015" fmla="*/ 109773 w 10693106"/>
              <a:gd name="connsiteY142-35016" fmla="*/ 559156 h 5292022"/>
              <a:gd name="connsiteX143-35017" fmla="*/ 58973 w 10693106"/>
              <a:gd name="connsiteY143-35018" fmla="*/ 482956 h 5292022"/>
              <a:gd name="connsiteX144-35019" fmla="*/ 16640 w 10693106"/>
              <a:gd name="connsiteY144-35020" fmla="*/ 432156 h 5292022"/>
              <a:gd name="connsiteX145-35021" fmla="*/ 8173 w 10693106"/>
              <a:gd name="connsiteY145-35022" fmla="*/ 389822 h 5292022"/>
              <a:gd name="connsiteX146-35023" fmla="*/ 16640 w 10693106"/>
              <a:gd name="connsiteY146-35024" fmla="*/ 339022 h 5292022"/>
              <a:gd name="connsiteX0-35025" fmla="*/ 16640 w 10693106"/>
              <a:gd name="connsiteY0-35026" fmla="*/ 339022 h 5292022"/>
              <a:gd name="connsiteX1-35027" fmla="*/ 58973 w 10693106"/>
              <a:gd name="connsiteY1-35028" fmla="*/ 245889 h 5292022"/>
              <a:gd name="connsiteX2-35029" fmla="*/ 109773 w 10693106"/>
              <a:gd name="connsiteY2-35030" fmla="*/ 178156 h 5292022"/>
              <a:gd name="connsiteX3-35031" fmla="*/ 202906 w 10693106"/>
              <a:gd name="connsiteY3-35032" fmla="*/ 93489 h 5292022"/>
              <a:gd name="connsiteX4-35033" fmla="*/ 236773 w 10693106"/>
              <a:gd name="connsiteY4-35034" fmla="*/ 68089 h 5292022"/>
              <a:gd name="connsiteX5-35035" fmla="*/ 335410 w 10693106"/>
              <a:gd name="connsiteY5-35036" fmla="*/ 58352 h 5292022"/>
              <a:gd name="connsiteX6-35037" fmla="*/ 382400 w 10693106"/>
              <a:gd name="connsiteY6-35038" fmla="*/ 51156 h 5292022"/>
              <a:gd name="connsiteX7-35039" fmla="*/ 434912 w 10693106"/>
              <a:gd name="connsiteY7-35040" fmla="*/ 70071 h 5292022"/>
              <a:gd name="connsiteX8-35041" fmla="*/ 492697 w 10693106"/>
              <a:gd name="connsiteY8-35042" fmla="*/ 74247 h 5292022"/>
              <a:gd name="connsiteX9-35043" fmla="*/ 822897 w 10693106"/>
              <a:gd name="connsiteY9-35044" fmla="*/ 82713 h 5292022"/>
              <a:gd name="connsiteX10-35045" fmla="*/ 1091906 w 10693106"/>
              <a:gd name="connsiteY10-35046" fmla="*/ 356 h 5292022"/>
              <a:gd name="connsiteX11-35047" fmla="*/ 1235840 w 10693106"/>
              <a:gd name="connsiteY11-35048" fmla="*/ 59622 h 5292022"/>
              <a:gd name="connsiteX12-35049" fmla="*/ 1337440 w 10693106"/>
              <a:gd name="connsiteY12-35050" fmla="*/ 135822 h 5292022"/>
              <a:gd name="connsiteX13-35051" fmla="*/ 1422106 w 10693106"/>
              <a:gd name="connsiteY13-35052" fmla="*/ 245889 h 5292022"/>
              <a:gd name="connsiteX14-35053" fmla="*/ 1481373 w 10693106"/>
              <a:gd name="connsiteY14-35054" fmla="*/ 313622 h 5292022"/>
              <a:gd name="connsiteX15-35055" fmla="*/ 1532173 w 10693106"/>
              <a:gd name="connsiteY15-35056" fmla="*/ 347489 h 5292022"/>
              <a:gd name="connsiteX16-35057" fmla="*/ 1684573 w 10693106"/>
              <a:gd name="connsiteY16-35058" fmla="*/ 406756 h 5292022"/>
              <a:gd name="connsiteX17-35059" fmla="*/ 1760773 w 10693106"/>
              <a:gd name="connsiteY17-35060" fmla="*/ 423689 h 5292022"/>
              <a:gd name="connsiteX18-35061" fmla="*/ 1997840 w 10693106"/>
              <a:gd name="connsiteY18-35062" fmla="*/ 415222 h 5292022"/>
              <a:gd name="connsiteX19-35063" fmla="*/ 2116373 w 10693106"/>
              <a:gd name="connsiteY19-35064" fmla="*/ 398289 h 5292022"/>
              <a:gd name="connsiteX20-35065" fmla="*/ 2260306 w 10693106"/>
              <a:gd name="connsiteY20-35066" fmla="*/ 381356 h 5292022"/>
              <a:gd name="connsiteX21-35067" fmla="*/ 2404240 w 10693106"/>
              <a:gd name="connsiteY21-35068" fmla="*/ 355956 h 5292022"/>
              <a:gd name="connsiteX22-35069" fmla="*/ 2455040 w 10693106"/>
              <a:gd name="connsiteY22-35070" fmla="*/ 330556 h 5292022"/>
              <a:gd name="connsiteX23-35071" fmla="*/ 2531240 w 10693106"/>
              <a:gd name="connsiteY23-35072" fmla="*/ 305156 h 5292022"/>
              <a:gd name="connsiteX24-35073" fmla="*/ 2649350 w 10693106"/>
              <a:gd name="connsiteY24-35074" fmla="*/ 225781 h 5292022"/>
              <a:gd name="connsiteX25-35075" fmla="*/ 2742906 w 10693106"/>
              <a:gd name="connsiteY25-35076" fmla="*/ 186622 h 5292022"/>
              <a:gd name="connsiteX26-35077" fmla="*/ 2764920 w 10693106"/>
              <a:gd name="connsiteY26-35078" fmla="*/ 173076 h 5292022"/>
              <a:gd name="connsiteX27-35079" fmla="*/ 2832653 w 10693106"/>
              <a:gd name="connsiteY27-35080" fmla="*/ 167996 h 5292022"/>
              <a:gd name="connsiteX28-35081" fmla="*/ 3002294 w 10693106"/>
              <a:gd name="connsiteY28-35082" fmla="*/ 154680 h 5292022"/>
              <a:gd name="connsiteX29-35083" fmla="*/ 3142763 w 10693106"/>
              <a:gd name="connsiteY29-35084" fmla="*/ 110421 h 5292022"/>
              <a:gd name="connsiteX30-35085" fmla="*/ 3398918 w 10693106"/>
              <a:gd name="connsiteY30-35086" fmla="*/ 72322 h 5292022"/>
              <a:gd name="connsiteX31-35087" fmla="*/ 3606506 w 10693106"/>
              <a:gd name="connsiteY31-35088" fmla="*/ 60393 h 5292022"/>
              <a:gd name="connsiteX32-35089" fmla="*/ 3682706 w 10693106"/>
              <a:gd name="connsiteY32-35090" fmla="*/ 79942 h 5292022"/>
              <a:gd name="connsiteX33-35091" fmla="*/ 3741973 w 10693106"/>
              <a:gd name="connsiteY33-35092" fmla="*/ 86561 h 5292022"/>
              <a:gd name="connsiteX34-35093" fmla="*/ 3794678 w 10693106"/>
              <a:gd name="connsiteY34-35094" fmla="*/ 101321 h 5292022"/>
              <a:gd name="connsiteX35-35095" fmla="*/ 3833625 w 10693106"/>
              <a:gd name="connsiteY35-35096" fmla="*/ 110846 h 5292022"/>
              <a:gd name="connsiteX36-35097" fmla="*/ 3892487 w 10693106"/>
              <a:gd name="connsiteY36-35098" fmla="*/ 116984 h 5292022"/>
              <a:gd name="connsiteX37-35099" fmla="*/ 3933108 w 10693106"/>
              <a:gd name="connsiteY37-35100" fmla="*/ 128837 h 5292022"/>
              <a:gd name="connsiteX38-35101" fmla="*/ 3976923 w 10693106"/>
              <a:gd name="connsiteY38-35102" fmla="*/ 135187 h 5292022"/>
              <a:gd name="connsiteX39-35103" fmla="*/ 4021373 w 10693106"/>
              <a:gd name="connsiteY39-35104" fmla="*/ 144289 h 5292022"/>
              <a:gd name="connsiteX40-35105" fmla="*/ 4055240 w 10693106"/>
              <a:gd name="connsiteY40-35106" fmla="*/ 152756 h 5292022"/>
              <a:gd name="connsiteX41-35107" fmla="*/ 4529373 w 10693106"/>
              <a:gd name="connsiteY41-35108" fmla="*/ 271289 h 5292022"/>
              <a:gd name="connsiteX42-35109" fmla="*/ 5630810 w 10693106"/>
              <a:gd name="connsiteY42-35110" fmla="*/ 1149898 h 5292022"/>
              <a:gd name="connsiteX43-35111" fmla="*/ 6881490 w 10693106"/>
              <a:gd name="connsiteY43-35112" fmla="*/ 1366452 h 5292022"/>
              <a:gd name="connsiteX44-35113" fmla="*/ 7839032 w 10693106"/>
              <a:gd name="connsiteY44-35114" fmla="*/ 1183996 h 5292022"/>
              <a:gd name="connsiteX45-35115" fmla="*/ 8652640 w 10693106"/>
              <a:gd name="connsiteY45-35116" fmla="*/ 677689 h 5292022"/>
              <a:gd name="connsiteX46-35117" fmla="*/ 8982840 w 10693106"/>
              <a:gd name="connsiteY46-35118" fmla="*/ 398289 h 5292022"/>
              <a:gd name="connsiteX47-35119" fmla="*/ 9380773 w 10693106"/>
              <a:gd name="connsiteY47-35120" fmla="*/ 355956 h 5292022"/>
              <a:gd name="connsiteX48-35121" fmla="*/ 9744840 w 10693106"/>
              <a:gd name="connsiteY48-35122" fmla="*/ 466022 h 5292022"/>
              <a:gd name="connsiteX49-35123" fmla="*/ 9888773 w 10693106"/>
              <a:gd name="connsiteY49-35124" fmla="*/ 508356 h 5292022"/>
              <a:gd name="connsiteX50-35125" fmla="*/ 9998840 w 10693106"/>
              <a:gd name="connsiteY50-35126" fmla="*/ 559156 h 5292022"/>
              <a:gd name="connsiteX51-35127" fmla="*/ 10083506 w 10693106"/>
              <a:gd name="connsiteY51-35128" fmla="*/ 618422 h 5292022"/>
              <a:gd name="connsiteX52-35129" fmla="*/ 10286706 w 10693106"/>
              <a:gd name="connsiteY52-35130" fmla="*/ 686156 h 5292022"/>
              <a:gd name="connsiteX53-35131" fmla="*/ 10388306 w 10693106"/>
              <a:gd name="connsiteY53-35132" fmla="*/ 889356 h 5292022"/>
              <a:gd name="connsiteX54-35133" fmla="*/ 10540706 w 10693106"/>
              <a:gd name="connsiteY54-35134" fmla="*/ 1261889 h 5292022"/>
              <a:gd name="connsiteX55-35135" fmla="*/ 10557640 w 10693106"/>
              <a:gd name="connsiteY55-35136" fmla="*/ 1346556 h 5292022"/>
              <a:gd name="connsiteX56-35137" fmla="*/ 10583040 w 10693106"/>
              <a:gd name="connsiteY56-35138" fmla="*/ 1448156 h 5292022"/>
              <a:gd name="connsiteX57-35139" fmla="*/ 10616906 w 10693106"/>
              <a:gd name="connsiteY57-35140" fmla="*/ 1651356 h 5292022"/>
              <a:gd name="connsiteX58-35141" fmla="*/ 10633840 w 10693106"/>
              <a:gd name="connsiteY58-35142" fmla="*/ 1736022 h 5292022"/>
              <a:gd name="connsiteX59-35143" fmla="*/ 10650773 w 10693106"/>
              <a:gd name="connsiteY59-35144" fmla="*/ 1769889 h 5292022"/>
              <a:gd name="connsiteX60-35145" fmla="*/ 10676173 w 10693106"/>
              <a:gd name="connsiteY60-35146" fmla="*/ 1854556 h 5292022"/>
              <a:gd name="connsiteX61-35147" fmla="*/ 10693106 w 10693106"/>
              <a:gd name="connsiteY61-35148" fmla="*/ 2006956 h 5292022"/>
              <a:gd name="connsiteX62-35149" fmla="*/ 10625373 w 10693106"/>
              <a:gd name="connsiteY62-35150" fmla="*/ 2227089 h 5292022"/>
              <a:gd name="connsiteX63-35151" fmla="*/ 10608440 w 10693106"/>
              <a:gd name="connsiteY63-35152" fmla="*/ 2252489 h 5292022"/>
              <a:gd name="connsiteX64-35153" fmla="*/ 10540706 w 10693106"/>
              <a:gd name="connsiteY64-35154" fmla="*/ 2396422 h 5292022"/>
              <a:gd name="connsiteX65-35155" fmla="*/ 10498373 w 10693106"/>
              <a:gd name="connsiteY65-35156" fmla="*/ 2481089 h 5292022"/>
              <a:gd name="connsiteX66-35157" fmla="*/ 10439106 w 10693106"/>
              <a:gd name="connsiteY66-35158" fmla="*/ 2667356 h 5292022"/>
              <a:gd name="connsiteX67-35159" fmla="*/ 10430640 w 10693106"/>
              <a:gd name="connsiteY67-35160" fmla="*/ 2709689 h 5292022"/>
              <a:gd name="connsiteX68-35161" fmla="*/ 10405240 w 10693106"/>
              <a:gd name="connsiteY68-35162" fmla="*/ 2785889 h 5292022"/>
              <a:gd name="connsiteX69-35163" fmla="*/ 10396773 w 10693106"/>
              <a:gd name="connsiteY69-35164" fmla="*/ 2819756 h 5292022"/>
              <a:gd name="connsiteX70-35165" fmla="*/ 10362906 w 10693106"/>
              <a:gd name="connsiteY70-35166" fmla="*/ 2912889 h 5292022"/>
              <a:gd name="connsiteX71-35167" fmla="*/ 10329040 w 10693106"/>
              <a:gd name="connsiteY71-35168" fmla="*/ 2955222 h 5292022"/>
              <a:gd name="connsiteX72-35169" fmla="*/ 10227440 w 10693106"/>
              <a:gd name="connsiteY72-35170" fmla="*/ 3056822 h 5292022"/>
              <a:gd name="connsiteX73-35171" fmla="*/ 10168173 w 10693106"/>
              <a:gd name="connsiteY73-35172" fmla="*/ 3124556 h 5292022"/>
              <a:gd name="connsiteX74-35173" fmla="*/ 10117373 w 10693106"/>
              <a:gd name="connsiteY74-35174" fmla="*/ 3175356 h 5292022"/>
              <a:gd name="connsiteX75-35175" fmla="*/ 10032706 w 10693106"/>
              <a:gd name="connsiteY75-35176" fmla="*/ 3276956 h 5292022"/>
              <a:gd name="connsiteX76-35177" fmla="*/ 9948040 w 10693106"/>
              <a:gd name="connsiteY76-35178" fmla="*/ 3336222 h 5292022"/>
              <a:gd name="connsiteX77-35179" fmla="*/ 9905706 w 10693106"/>
              <a:gd name="connsiteY77-35180" fmla="*/ 3361622 h 5292022"/>
              <a:gd name="connsiteX78-35181" fmla="*/ 9829506 w 10693106"/>
              <a:gd name="connsiteY78-35182" fmla="*/ 3378556 h 5292022"/>
              <a:gd name="connsiteX79-35183" fmla="*/ 9727906 w 10693106"/>
              <a:gd name="connsiteY79-35184" fmla="*/ 3420889 h 5292022"/>
              <a:gd name="connsiteX80-35185" fmla="*/ 9634773 w 10693106"/>
              <a:gd name="connsiteY80-35186" fmla="*/ 3446289 h 5292022"/>
              <a:gd name="connsiteX81-35187" fmla="*/ 9456973 w 10693106"/>
              <a:gd name="connsiteY81-35188" fmla="*/ 3539422 h 5292022"/>
              <a:gd name="connsiteX82-35189" fmla="*/ 9313040 w 10693106"/>
              <a:gd name="connsiteY82-35190" fmla="*/ 3666422 h 5292022"/>
              <a:gd name="connsiteX83-35191" fmla="*/ 9279173 w 10693106"/>
              <a:gd name="connsiteY83-35192" fmla="*/ 3683356 h 5292022"/>
              <a:gd name="connsiteX84-35193" fmla="*/ 9067506 w 10693106"/>
              <a:gd name="connsiteY84-35194" fmla="*/ 3861156 h 5292022"/>
              <a:gd name="connsiteX85-35195" fmla="*/ 8999773 w 10693106"/>
              <a:gd name="connsiteY85-35196" fmla="*/ 3928889 h 5292022"/>
              <a:gd name="connsiteX86-35197" fmla="*/ 8813506 w 10693106"/>
              <a:gd name="connsiteY86-35198" fmla="*/ 4064356 h 5292022"/>
              <a:gd name="connsiteX87-35199" fmla="*/ 8728840 w 10693106"/>
              <a:gd name="connsiteY87-35200" fmla="*/ 4106689 h 5292022"/>
              <a:gd name="connsiteX88-35201" fmla="*/ 8373240 w 10693106"/>
              <a:gd name="connsiteY88-35202" fmla="*/ 4140556 h 5292022"/>
              <a:gd name="connsiteX89-35203" fmla="*/ 7966840 w 10693106"/>
              <a:gd name="connsiteY89-35204" fmla="*/ 4233689 h 5292022"/>
              <a:gd name="connsiteX90-35205" fmla="*/ 7687440 w 10693106"/>
              <a:gd name="connsiteY90-35206" fmla="*/ 4394556 h 5292022"/>
              <a:gd name="connsiteX91-35207" fmla="*/ 7374173 w 10693106"/>
              <a:gd name="connsiteY91-35208" fmla="*/ 4657022 h 5292022"/>
              <a:gd name="connsiteX92-35209" fmla="*/ 7374173 w 10693106"/>
              <a:gd name="connsiteY92-35210" fmla="*/ 4657022 h 5292022"/>
              <a:gd name="connsiteX93-35211" fmla="*/ 7221773 w 10693106"/>
              <a:gd name="connsiteY93-35212" fmla="*/ 4775556 h 5292022"/>
              <a:gd name="connsiteX94-35213" fmla="*/ 7027040 w 10693106"/>
              <a:gd name="connsiteY94-35214" fmla="*/ 4902556 h 5292022"/>
              <a:gd name="connsiteX95-35215" fmla="*/ 6883106 w 10693106"/>
              <a:gd name="connsiteY95-35216" fmla="*/ 4970289 h 5292022"/>
              <a:gd name="connsiteX96-35217" fmla="*/ 6815373 w 10693106"/>
              <a:gd name="connsiteY96-35218" fmla="*/ 5012622 h 5292022"/>
              <a:gd name="connsiteX97-35219" fmla="*/ 6646040 w 10693106"/>
              <a:gd name="connsiteY97-35220" fmla="*/ 5105756 h 5292022"/>
              <a:gd name="connsiteX98-35221" fmla="*/ 6527506 w 10693106"/>
              <a:gd name="connsiteY98-35222" fmla="*/ 5165022 h 5292022"/>
              <a:gd name="connsiteX99-35223" fmla="*/ 6298906 w 10693106"/>
              <a:gd name="connsiteY99-35224" fmla="*/ 5241222 h 5292022"/>
              <a:gd name="connsiteX100-35225" fmla="*/ 6197306 w 10693106"/>
              <a:gd name="connsiteY100-35226" fmla="*/ 5266622 h 5292022"/>
              <a:gd name="connsiteX101-35227" fmla="*/ 6061840 w 10693106"/>
              <a:gd name="connsiteY101-35228" fmla="*/ 5275089 h 5292022"/>
              <a:gd name="connsiteX102-35229" fmla="*/ 5917906 w 10693106"/>
              <a:gd name="connsiteY102-35230" fmla="*/ 5292022 h 5292022"/>
              <a:gd name="connsiteX103-35231" fmla="*/ 5748573 w 10693106"/>
              <a:gd name="connsiteY103-35232" fmla="*/ 5283556 h 5292022"/>
              <a:gd name="connsiteX104-35233" fmla="*/ 5282906 w 10693106"/>
              <a:gd name="connsiteY104-35234" fmla="*/ 5173489 h 5292022"/>
              <a:gd name="connsiteX105-35235" fmla="*/ 4959480 w 10693106"/>
              <a:gd name="connsiteY105-35236" fmla="*/ 4988069 h 5292022"/>
              <a:gd name="connsiteX106-35237" fmla="*/ 4686853 w 10693106"/>
              <a:gd name="connsiteY106-35238" fmla="*/ 4788256 h 5292022"/>
              <a:gd name="connsiteX107-35239" fmla="*/ 3977346 w 10693106"/>
              <a:gd name="connsiteY107-35240" fmla="*/ 4470544 h 5292022"/>
              <a:gd name="connsiteX108-35241" fmla="*/ 3741550 w 10693106"/>
              <a:gd name="connsiteY108-35242" fmla="*/ 4154102 h 5292022"/>
              <a:gd name="connsiteX109-35243" fmla="*/ 3562056 w 10693106"/>
              <a:gd name="connsiteY109-35244" fmla="*/ 3406919 h 5292022"/>
              <a:gd name="connsiteX110-35245" fmla="*/ 3242440 w 10693106"/>
              <a:gd name="connsiteY110-35246" fmla="*/ 3099156 h 5292022"/>
              <a:gd name="connsiteX111-35247" fmla="*/ 3123906 w 10693106"/>
              <a:gd name="connsiteY111-35248" fmla="*/ 2997556 h 5292022"/>
              <a:gd name="connsiteX112-35249" fmla="*/ 2988440 w 10693106"/>
              <a:gd name="connsiteY112-35250" fmla="*/ 2802822 h 5292022"/>
              <a:gd name="connsiteX113-35251" fmla="*/ 2971506 w 10693106"/>
              <a:gd name="connsiteY113-35252" fmla="*/ 2743556 h 5292022"/>
              <a:gd name="connsiteX114-35253" fmla="*/ 2996906 w 10693106"/>
              <a:gd name="connsiteY114-35254" fmla="*/ 2531889 h 5292022"/>
              <a:gd name="connsiteX115-35255" fmla="*/ 3013840 w 10693106"/>
              <a:gd name="connsiteY115-35256" fmla="*/ 2430289 h 5292022"/>
              <a:gd name="connsiteX116-35257" fmla="*/ 3005373 w 10693106"/>
              <a:gd name="connsiteY116-35258" fmla="*/ 2311756 h 5292022"/>
              <a:gd name="connsiteX117-35259" fmla="*/ 2988440 w 10693106"/>
              <a:gd name="connsiteY117-35260" fmla="*/ 2260956 h 5292022"/>
              <a:gd name="connsiteX118-35261" fmla="*/ 2802173 w 10693106"/>
              <a:gd name="connsiteY118-35262" fmla="*/ 2006956 h 5292022"/>
              <a:gd name="connsiteX119-35263" fmla="*/ 2641306 w 10693106"/>
              <a:gd name="connsiteY119-35264" fmla="*/ 1863022 h 5292022"/>
              <a:gd name="connsiteX120-35265" fmla="*/ 2590506 w 10693106"/>
              <a:gd name="connsiteY120-35266" fmla="*/ 1837622 h 5292022"/>
              <a:gd name="connsiteX121-35267" fmla="*/ 2531240 w 10693106"/>
              <a:gd name="connsiteY121-35268" fmla="*/ 1829156 h 5292022"/>
              <a:gd name="connsiteX122-35269" fmla="*/ 2446573 w 10693106"/>
              <a:gd name="connsiteY122-35270" fmla="*/ 1812222 h 5292022"/>
              <a:gd name="connsiteX123-35271" fmla="*/ 2251840 w 10693106"/>
              <a:gd name="connsiteY123-35272" fmla="*/ 1837622 h 5292022"/>
              <a:gd name="connsiteX124-35273" fmla="*/ 2167173 w 10693106"/>
              <a:gd name="connsiteY124-35274" fmla="*/ 1879956 h 5292022"/>
              <a:gd name="connsiteX125-35275" fmla="*/ 1980906 w 10693106"/>
              <a:gd name="connsiteY125-35276" fmla="*/ 1939222 h 5292022"/>
              <a:gd name="connsiteX126-35277" fmla="*/ 1904706 w 10693106"/>
              <a:gd name="connsiteY126-35278" fmla="*/ 1973089 h 5292022"/>
              <a:gd name="connsiteX127-35279" fmla="*/ 1828506 w 10693106"/>
              <a:gd name="connsiteY127-35280" fmla="*/ 1990022 h 5292022"/>
              <a:gd name="connsiteX128-35281" fmla="*/ 1726906 w 10693106"/>
              <a:gd name="connsiteY128-35282" fmla="*/ 2040822 h 5292022"/>
              <a:gd name="connsiteX129-35283" fmla="*/ 1659173 w 10693106"/>
              <a:gd name="connsiteY129-35284" fmla="*/ 2074689 h 5292022"/>
              <a:gd name="connsiteX130-35285" fmla="*/ 1498306 w 10693106"/>
              <a:gd name="connsiteY130-35286" fmla="*/ 2100089 h 5292022"/>
              <a:gd name="connsiteX131-35287" fmla="*/ 914106 w 10693106"/>
              <a:gd name="connsiteY131-35288" fmla="*/ 2032356 h 5292022"/>
              <a:gd name="connsiteX132-35289" fmla="*/ 617773 w 10693106"/>
              <a:gd name="connsiteY132-35290" fmla="*/ 1922289 h 5292022"/>
              <a:gd name="connsiteX133-35291" fmla="*/ 516173 w 10693106"/>
              <a:gd name="connsiteY133-35292" fmla="*/ 1837622 h 5292022"/>
              <a:gd name="connsiteX134-35293" fmla="*/ 355306 w 10693106"/>
              <a:gd name="connsiteY134-35294" fmla="*/ 1625956 h 5292022"/>
              <a:gd name="connsiteX135-35295" fmla="*/ 296040 w 10693106"/>
              <a:gd name="connsiteY135-35296" fmla="*/ 1524356 h 5292022"/>
              <a:gd name="connsiteX136-35297" fmla="*/ 253706 w 10693106"/>
              <a:gd name="connsiteY136-35298" fmla="*/ 1346556 h 5292022"/>
              <a:gd name="connsiteX137-35299" fmla="*/ 245240 w 10693106"/>
              <a:gd name="connsiteY137-35300" fmla="*/ 1219556 h 5292022"/>
              <a:gd name="connsiteX138-35301" fmla="*/ 236773 w 10693106"/>
              <a:gd name="connsiteY138-35302" fmla="*/ 1117956 h 5292022"/>
              <a:gd name="connsiteX139-35303" fmla="*/ 245240 w 10693106"/>
              <a:gd name="connsiteY139-35304" fmla="*/ 847022 h 5292022"/>
              <a:gd name="connsiteX140-35305" fmla="*/ 236773 w 10693106"/>
              <a:gd name="connsiteY140-35306" fmla="*/ 703089 h 5292022"/>
              <a:gd name="connsiteX141-35307" fmla="*/ 109773 w 10693106"/>
              <a:gd name="connsiteY141-35308" fmla="*/ 559156 h 5292022"/>
              <a:gd name="connsiteX142-35309" fmla="*/ 58973 w 10693106"/>
              <a:gd name="connsiteY142-35310" fmla="*/ 482956 h 5292022"/>
              <a:gd name="connsiteX143-35311" fmla="*/ 16640 w 10693106"/>
              <a:gd name="connsiteY143-35312" fmla="*/ 432156 h 5292022"/>
              <a:gd name="connsiteX144-35313" fmla="*/ 8173 w 10693106"/>
              <a:gd name="connsiteY144-35314" fmla="*/ 389822 h 5292022"/>
              <a:gd name="connsiteX145-35315" fmla="*/ 16640 w 10693106"/>
              <a:gd name="connsiteY145-35316" fmla="*/ 339022 h 5292022"/>
              <a:gd name="connsiteX0-35317" fmla="*/ 16640 w 10693106"/>
              <a:gd name="connsiteY0-35318" fmla="*/ 339022 h 5292022"/>
              <a:gd name="connsiteX1-35319" fmla="*/ 58973 w 10693106"/>
              <a:gd name="connsiteY1-35320" fmla="*/ 245889 h 5292022"/>
              <a:gd name="connsiteX2-35321" fmla="*/ 109773 w 10693106"/>
              <a:gd name="connsiteY2-35322" fmla="*/ 178156 h 5292022"/>
              <a:gd name="connsiteX3-35323" fmla="*/ 202906 w 10693106"/>
              <a:gd name="connsiteY3-35324" fmla="*/ 93489 h 5292022"/>
              <a:gd name="connsiteX4-35325" fmla="*/ 236773 w 10693106"/>
              <a:gd name="connsiteY4-35326" fmla="*/ 68089 h 5292022"/>
              <a:gd name="connsiteX5-35327" fmla="*/ 335410 w 10693106"/>
              <a:gd name="connsiteY5-35328" fmla="*/ 58352 h 5292022"/>
              <a:gd name="connsiteX6-35329" fmla="*/ 382400 w 10693106"/>
              <a:gd name="connsiteY6-35330" fmla="*/ 51156 h 5292022"/>
              <a:gd name="connsiteX7-35331" fmla="*/ 434912 w 10693106"/>
              <a:gd name="connsiteY7-35332" fmla="*/ 70071 h 5292022"/>
              <a:gd name="connsiteX8-35333" fmla="*/ 492697 w 10693106"/>
              <a:gd name="connsiteY8-35334" fmla="*/ 74247 h 5292022"/>
              <a:gd name="connsiteX9-35335" fmla="*/ 822897 w 10693106"/>
              <a:gd name="connsiteY9-35336" fmla="*/ 82713 h 5292022"/>
              <a:gd name="connsiteX10-35337" fmla="*/ 1091906 w 10693106"/>
              <a:gd name="connsiteY10-35338" fmla="*/ 356 h 5292022"/>
              <a:gd name="connsiteX11-35339" fmla="*/ 1235840 w 10693106"/>
              <a:gd name="connsiteY11-35340" fmla="*/ 59622 h 5292022"/>
              <a:gd name="connsiteX12-35341" fmla="*/ 1337440 w 10693106"/>
              <a:gd name="connsiteY12-35342" fmla="*/ 135822 h 5292022"/>
              <a:gd name="connsiteX13-35343" fmla="*/ 1422106 w 10693106"/>
              <a:gd name="connsiteY13-35344" fmla="*/ 245889 h 5292022"/>
              <a:gd name="connsiteX14-35345" fmla="*/ 1481373 w 10693106"/>
              <a:gd name="connsiteY14-35346" fmla="*/ 313622 h 5292022"/>
              <a:gd name="connsiteX15-35347" fmla="*/ 1532173 w 10693106"/>
              <a:gd name="connsiteY15-35348" fmla="*/ 347489 h 5292022"/>
              <a:gd name="connsiteX16-35349" fmla="*/ 1684573 w 10693106"/>
              <a:gd name="connsiteY16-35350" fmla="*/ 406756 h 5292022"/>
              <a:gd name="connsiteX17-35351" fmla="*/ 1760773 w 10693106"/>
              <a:gd name="connsiteY17-35352" fmla="*/ 423689 h 5292022"/>
              <a:gd name="connsiteX18-35353" fmla="*/ 1997840 w 10693106"/>
              <a:gd name="connsiteY18-35354" fmla="*/ 415222 h 5292022"/>
              <a:gd name="connsiteX19-35355" fmla="*/ 2116373 w 10693106"/>
              <a:gd name="connsiteY19-35356" fmla="*/ 398289 h 5292022"/>
              <a:gd name="connsiteX20-35357" fmla="*/ 2260306 w 10693106"/>
              <a:gd name="connsiteY20-35358" fmla="*/ 381356 h 5292022"/>
              <a:gd name="connsiteX21-35359" fmla="*/ 2404240 w 10693106"/>
              <a:gd name="connsiteY21-35360" fmla="*/ 355956 h 5292022"/>
              <a:gd name="connsiteX22-35361" fmla="*/ 2455040 w 10693106"/>
              <a:gd name="connsiteY22-35362" fmla="*/ 330556 h 5292022"/>
              <a:gd name="connsiteX23-35363" fmla="*/ 2531240 w 10693106"/>
              <a:gd name="connsiteY23-35364" fmla="*/ 305156 h 5292022"/>
              <a:gd name="connsiteX24-35365" fmla="*/ 2649350 w 10693106"/>
              <a:gd name="connsiteY24-35366" fmla="*/ 225781 h 5292022"/>
              <a:gd name="connsiteX25-35367" fmla="*/ 2742906 w 10693106"/>
              <a:gd name="connsiteY25-35368" fmla="*/ 186622 h 5292022"/>
              <a:gd name="connsiteX26-35369" fmla="*/ 2764920 w 10693106"/>
              <a:gd name="connsiteY26-35370" fmla="*/ 173076 h 5292022"/>
              <a:gd name="connsiteX27-35371" fmla="*/ 2832653 w 10693106"/>
              <a:gd name="connsiteY27-35372" fmla="*/ 167996 h 5292022"/>
              <a:gd name="connsiteX28-35373" fmla="*/ 3002294 w 10693106"/>
              <a:gd name="connsiteY28-35374" fmla="*/ 154680 h 5292022"/>
              <a:gd name="connsiteX29-35375" fmla="*/ 3142763 w 10693106"/>
              <a:gd name="connsiteY29-35376" fmla="*/ 110421 h 5292022"/>
              <a:gd name="connsiteX30-35377" fmla="*/ 3398918 w 10693106"/>
              <a:gd name="connsiteY30-35378" fmla="*/ 72322 h 5292022"/>
              <a:gd name="connsiteX31-35379" fmla="*/ 3606506 w 10693106"/>
              <a:gd name="connsiteY31-35380" fmla="*/ 60393 h 5292022"/>
              <a:gd name="connsiteX32-35381" fmla="*/ 3682706 w 10693106"/>
              <a:gd name="connsiteY32-35382" fmla="*/ 79942 h 5292022"/>
              <a:gd name="connsiteX33-35383" fmla="*/ 3741973 w 10693106"/>
              <a:gd name="connsiteY33-35384" fmla="*/ 86561 h 5292022"/>
              <a:gd name="connsiteX34-35385" fmla="*/ 3794678 w 10693106"/>
              <a:gd name="connsiteY34-35386" fmla="*/ 101321 h 5292022"/>
              <a:gd name="connsiteX35-35387" fmla="*/ 3833625 w 10693106"/>
              <a:gd name="connsiteY35-35388" fmla="*/ 110846 h 5292022"/>
              <a:gd name="connsiteX36-35389" fmla="*/ 3892487 w 10693106"/>
              <a:gd name="connsiteY36-35390" fmla="*/ 116984 h 5292022"/>
              <a:gd name="connsiteX37-35391" fmla="*/ 3933108 w 10693106"/>
              <a:gd name="connsiteY37-35392" fmla="*/ 128837 h 5292022"/>
              <a:gd name="connsiteX38-35393" fmla="*/ 3976923 w 10693106"/>
              <a:gd name="connsiteY38-35394" fmla="*/ 135187 h 5292022"/>
              <a:gd name="connsiteX39-35395" fmla="*/ 4021373 w 10693106"/>
              <a:gd name="connsiteY39-35396" fmla="*/ 144289 h 5292022"/>
              <a:gd name="connsiteX40-35397" fmla="*/ 4529373 w 10693106"/>
              <a:gd name="connsiteY40-35398" fmla="*/ 271289 h 5292022"/>
              <a:gd name="connsiteX41-35399" fmla="*/ 5630810 w 10693106"/>
              <a:gd name="connsiteY41-35400" fmla="*/ 1149898 h 5292022"/>
              <a:gd name="connsiteX42-35401" fmla="*/ 6881490 w 10693106"/>
              <a:gd name="connsiteY42-35402" fmla="*/ 1366452 h 5292022"/>
              <a:gd name="connsiteX43-35403" fmla="*/ 7839032 w 10693106"/>
              <a:gd name="connsiteY43-35404" fmla="*/ 1183996 h 5292022"/>
              <a:gd name="connsiteX44-35405" fmla="*/ 8652640 w 10693106"/>
              <a:gd name="connsiteY44-35406" fmla="*/ 677689 h 5292022"/>
              <a:gd name="connsiteX45-35407" fmla="*/ 8982840 w 10693106"/>
              <a:gd name="connsiteY45-35408" fmla="*/ 398289 h 5292022"/>
              <a:gd name="connsiteX46-35409" fmla="*/ 9380773 w 10693106"/>
              <a:gd name="connsiteY46-35410" fmla="*/ 355956 h 5292022"/>
              <a:gd name="connsiteX47-35411" fmla="*/ 9744840 w 10693106"/>
              <a:gd name="connsiteY47-35412" fmla="*/ 466022 h 5292022"/>
              <a:gd name="connsiteX48-35413" fmla="*/ 9888773 w 10693106"/>
              <a:gd name="connsiteY48-35414" fmla="*/ 508356 h 5292022"/>
              <a:gd name="connsiteX49-35415" fmla="*/ 9998840 w 10693106"/>
              <a:gd name="connsiteY49-35416" fmla="*/ 559156 h 5292022"/>
              <a:gd name="connsiteX50-35417" fmla="*/ 10083506 w 10693106"/>
              <a:gd name="connsiteY50-35418" fmla="*/ 618422 h 5292022"/>
              <a:gd name="connsiteX51-35419" fmla="*/ 10286706 w 10693106"/>
              <a:gd name="connsiteY51-35420" fmla="*/ 686156 h 5292022"/>
              <a:gd name="connsiteX52-35421" fmla="*/ 10388306 w 10693106"/>
              <a:gd name="connsiteY52-35422" fmla="*/ 889356 h 5292022"/>
              <a:gd name="connsiteX53-35423" fmla="*/ 10540706 w 10693106"/>
              <a:gd name="connsiteY53-35424" fmla="*/ 1261889 h 5292022"/>
              <a:gd name="connsiteX54-35425" fmla="*/ 10557640 w 10693106"/>
              <a:gd name="connsiteY54-35426" fmla="*/ 1346556 h 5292022"/>
              <a:gd name="connsiteX55-35427" fmla="*/ 10583040 w 10693106"/>
              <a:gd name="connsiteY55-35428" fmla="*/ 1448156 h 5292022"/>
              <a:gd name="connsiteX56-35429" fmla="*/ 10616906 w 10693106"/>
              <a:gd name="connsiteY56-35430" fmla="*/ 1651356 h 5292022"/>
              <a:gd name="connsiteX57-35431" fmla="*/ 10633840 w 10693106"/>
              <a:gd name="connsiteY57-35432" fmla="*/ 1736022 h 5292022"/>
              <a:gd name="connsiteX58-35433" fmla="*/ 10650773 w 10693106"/>
              <a:gd name="connsiteY58-35434" fmla="*/ 1769889 h 5292022"/>
              <a:gd name="connsiteX59-35435" fmla="*/ 10676173 w 10693106"/>
              <a:gd name="connsiteY59-35436" fmla="*/ 1854556 h 5292022"/>
              <a:gd name="connsiteX60-35437" fmla="*/ 10693106 w 10693106"/>
              <a:gd name="connsiteY60-35438" fmla="*/ 2006956 h 5292022"/>
              <a:gd name="connsiteX61-35439" fmla="*/ 10625373 w 10693106"/>
              <a:gd name="connsiteY61-35440" fmla="*/ 2227089 h 5292022"/>
              <a:gd name="connsiteX62-35441" fmla="*/ 10608440 w 10693106"/>
              <a:gd name="connsiteY62-35442" fmla="*/ 2252489 h 5292022"/>
              <a:gd name="connsiteX63-35443" fmla="*/ 10540706 w 10693106"/>
              <a:gd name="connsiteY63-35444" fmla="*/ 2396422 h 5292022"/>
              <a:gd name="connsiteX64-35445" fmla="*/ 10498373 w 10693106"/>
              <a:gd name="connsiteY64-35446" fmla="*/ 2481089 h 5292022"/>
              <a:gd name="connsiteX65-35447" fmla="*/ 10439106 w 10693106"/>
              <a:gd name="connsiteY65-35448" fmla="*/ 2667356 h 5292022"/>
              <a:gd name="connsiteX66-35449" fmla="*/ 10430640 w 10693106"/>
              <a:gd name="connsiteY66-35450" fmla="*/ 2709689 h 5292022"/>
              <a:gd name="connsiteX67-35451" fmla="*/ 10405240 w 10693106"/>
              <a:gd name="connsiteY67-35452" fmla="*/ 2785889 h 5292022"/>
              <a:gd name="connsiteX68-35453" fmla="*/ 10396773 w 10693106"/>
              <a:gd name="connsiteY68-35454" fmla="*/ 2819756 h 5292022"/>
              <a:gd name="connsiteX69-35455" fmla="*/ 10362906 w 10693106"/>
              <a:gd name="connsiteY69-35456" fmla="*/ 2912889 h 5292022"/>
              <a:gd name="connsiteX70-35457" fmla="*/ 10329040 w 10693106"/>
              <a:gd name="connsiteY70-35458" fmla="*/ 2955222 h 5292022"/>
              <a:gd name="connsiteX71-35459" fmla="*/ 10227440 w 10693106"/>
              <a:gd name="connsiteY71-35460" fmla="*/ 3056822 h 5292022"/>
              <a:gd name="connsiteX72-35461" fmla="*/ 10168173 w 10693106"/>
              <a:gd name="connsiteY72-35462" fmla="*/ 3124556 h 5292022"/>
              <a:gd name="connsiteX73-35463" fmla="*/ 10117373 w 10693106"/>
              <a:gd name="connsiteY73-35464" fmla="*/ 3175356 h 5292022"/>
              <a:gd name="connsiteX74-35465" fmla="*/ 10032706 w 10693106"/>
              <a:gd name="connsiteY74-35466" fmla="*/ 3276956 h 5292022"/>
              <a:gd name="connsiteX75-35467" fmla="*/ 9948040 w 10693106"/>
              <a:gd name="connsiteY75-35468" fmla="*/ 3336222 h 5292022"/>
              <a:gd name="connsiteX76-35469" fmla="*/ 9905706 w 10693106"/>
              <a:gd name="connsiteY76-35470" fmla="*/ 3361622 h 5292022"/>
              <a:gd name="connsiteX77-35471" fmla="*/ 9829506 w 10693106"/>
              <a:gd name="connsiteY77-35472" fmla="*/ 3378556 h 5292022"/>
              <a:gd name="connsiteX78-35473" fmla="*/ 9727906 w 10693106"/>
              <a:gd name="connsiteY78-35474" fmla="*/ 3420889 h 5292022"/>
              <a:gd name="connsiteX79-35475" fmla="*/ 9634773 w 10693106"/>
              <a:gd name="connsiteY79-35476" fmla="*/ 3446289 h 5292022"/>
              <a:gd name="connsiteX80-35477" fmla="*/ 9456973 w 10693106"/>
              <a:gd name="connsiteY80-35478" fmla="*/ 3539422 h 5292022"/>
              <a:gd name="connsiteX81-35479" fmla="*/ 9313040 w 10693106"/>
              <a:gd name="connsiteY81-35480" fmla="*/ 3666422 h 5292022"/>
              <a:gd name="connsiteX82-35481" fmla="*/ 9279173 w 10693106"/>
              <a:gd name="connsiteY82-35482" fmla="*/ 3683356 h 5292022"/>
              <a:gd name="connsiteX83-35483" fmla="*/ 9067506 w 10693106"/>
              <a:gd name="connsiteY83-35484" fmla="*/ 3861156 h 5292022"/>
              <a:gd name="connsiteX84-35485" fmla="*/ 8999773 w 10693106"/>
              <a:gd name="connsiteY84-35486" fmla="*/ 3928889 h 5292022"/>
              <a:gd name="connsiteX85-35487" fmla="*/ 8813506 w 10693106"/>
              <a:gd name="connsiteY85-35488" fmla="*/ 4064356 h 5292022"/>
              <a:gd name="connsiteX86-35489" fmla="*/ 8728840 w 10693106"/>
              <a:gd name="connsiteY86-35490" fmla="*/ 4106689 h 5292022"/>
              <a:gd name="connsiteX87-35491" fmla="*/ 8373240 w 10693106"/>
              <a:gd name="connsiteY87-35492" fmla="*/ 4140556 h 5292022"/>
              <a:gd name="connsiteX88-35493" fmla="*/ 7966840 w 10693106"/>
              <a:gd name="connsiteY88-35494" fmla="*/ 4233689 h 5292022"/>
              <a:gd name="connsiteX89-35495" fmla="*/ 7687440 w 10693106"/>
              <a:gd name="connsiteY89-35496" fmla="*/ 4394556 h 5292022"/>
              <a:gd name="connsiteX90-35497" fmla="*/ 7374173 w 10693106"/>
              <a:gd name="connsiteY90-35498" fmla="*/ 4657022 h 5292022"/>
              <a:gd name="connsiteX91-35499" fmla="*/ 7374173 w 10693106"/>
              <a:gd name="connsiteY91-35500" fmla="*/ 4657022 h 5292022"/>
              <a:gd name="connsiteX92-35501" fmla="*/ 7221773 w 10693106"/>
              <a:gd name="connsiteY92-35502" fmla="*/ 4775556 h 5292022"/>
              <a:gd name="connsiteX93-35503" fmla="*/ 7027040 w 10693106"/>
              <a:gd name="connsiteY93-35504" fmla="*/ 4902556 h 5292022"/>
              <a:gd name="connsiteX94-35505" fmla="*/ 6883106 w 10693106"/>
              <a:gd name="connsiteY94-35506" fmla="*/ 4970289 h 5292022"/>
              <a:gd name="connsiteX95-35507" fmla="*/ 6815373 w 10693106"/>
              <a:gd name="connsiteY95-35508" fmla="*/ 5012622 h 5292022"/>
              <a:gd name="connsiteX96-35509" fmla="*/ 6646040 w 10693106"/>
              <a:gd name="connsiteY96-35510" fmla="*/ 5105756 h 5292022"/>
              <a:gd name="connsiteX97-35511" fmla="*/ 6527506 w 10693106"/>
              <a:gd name="connsiteY97-35512" fmla="*/ 5165022 h 5292022"/>
              <a:gd name="connsiteX98-35513" fmla="*/ 6298906 w 10693106"/>
              <a:gd name="connsiteY98-35514" fmla="*/ 5241222 h 5292022"/>
              <a:gd name="connsiteX99-35515" fmla="*/ 6197306 w 10693106"/>
              <a:gd name="connsiteY99-35516" fmla="*/ 5266622 h 5292022"/>
              <a:gd name="connsiteX100-35517" fmla="*/ 6061840 w 10693106"/>
              <a:gd name="connsiteY100-35518" fmla="*/ 5275089 h 5292022"/>
              <a:gd name="connsiteX101-35519" fmla="*/ 5917906 w 10693106"/>
              <a:gd name="connsiteY101-35520" fmla="*/ 5292022 h 5292022"/>
              <a:gd name="connsiteX102-35521" fmla="*/ 5748573 w 10693106"/>
              <a:gd name="connsiteY102-35522" fmla="*/ 5283556 h 5292022"/>
              <a:gd name="connsiteX103-35523" fmla="*/ 5282906 w 10693106"/>
              <a:gd name="connsiteY103-35524" fmla="*/ 5173489 h 5292022"/>
              <a:gd name="connsiteX104-35525" fmla="*/ 4959480 w 10693106"/>
              <a:gd name="connsiteY104-35526" fmla="*/ 4988069 h 5292022"/>
              <a:gd name="connsiteX105-35527" fmla="*/ 4686853 w 10693106"/>
              <a:gd name="connsiteY105-35528" fmla="*/ 4788256 h 5292022"/>
              <a:gd name="connsiteX106-35529" fmla="*/ 3977346 w 10693106"/>
              <a:gd name="connsiteY106-35530" fmla="*/ 4470544 h 5292022"/>
              <a:gd name="connsiteX107-35531" fmla="*/ 3741550 w 10693106"/>
              <a:gd name="connsiteY107-35532" fmla="*/ 4154102 h 5292022"/>
              <a:gd name="connsiteX108-35533" fmla="*/ 3562056 w 10693106"/>
              <a:gd name="connsiteY108-35534" fmla="*/ 3406919 h 5292022"/>
              <a:gd name="connsiteX109-35535" fmla="*/ 3242440 w 10693106"/>
              <a:gd name="connsiteY109-35536" fmla="*/ 3099156 h 5292022"/>
              <a:gd name="connsiteX110-35537" fmla="*/ 3123906 w 10693106"/>
              <a:gd name="connsiteY110-35538" fmla="*/ 2997556 h 5292022"/>
              <a:gd name="connsiteX111-35539" fmla="*/ 2988440 w 10693106"/>
              <a:gd name="connsiteY111-35540" fmla="*/ 2802822 h 5292022"/>
              <a:gd name="connsiteX112-35541" fmla="*/ 2971506 w 10693106"/>
              <a:gd name="connsiteY112-35542" fmla="*/ 2743556 h 5292022"/>
              <a:gd name="connsiteX113-35543" fmla="*/ 2996906 w 10693106"/>
              <a:gd name="connsiteY113-35544" fmla="*/ 2531889 h 5292022"/>
              <a:gd name="connsiteX114-35545" fmla="*/ 3013840 w 10693106"/>
              <a:gd name="connsiteY114-35546" fmla="*/ 2430289 h 5292022"/>
              <a:gd name="connsiteX115-35547" fmla="*/ 3005373 w 10693106"/>
              <a:gd name="connsiteY115-35548" fmla="*/ 2311756 h 5292022"/>
              <a:gd name="connsiteX116-35549" fmla="*/ 2988440 w 10693106"/>
              <a:gd name="connsiteY116-35550" fmla="*/ 2260956 h 5292022"/>
              <a:gd name="connsiteX117-35551" fmla="*/ 2802173 w 10693106"/>
              <a:gd name="connsiteY117-35552" fmla="*/ 2006956 h 5292022"/>
              <a:gd name="connsiteX118-35553" fmla="*/ 2641306 w 10693106"/>
              <a:gd name="connsiteY118-35554" fmla="*/ 1863022 h 5292022"/>
              <a:gd name="connsiteX119-35555" fmla="*/ 2590506 w 10693106"/>
              <a:gd name="connsiteY119-35556" fmla="*/ 1837622 h 5292022"/>
              <a:gd name="connsiteX120-35557" fmla="*/ 2531240 w 10693106"/>
              <a:gd name="connsiteY120-35558" fmla="*/ 1829156 h 5292022"/>
              <a:gd name="connsiteX121-35559" fmla="*/ 2446573 w 10693106"/>
              <a:gd name="connsiteY121-35560" fmla="*/ 1812222 h 5292022"/>
              <a:gd name="connsiteX122-35561" fmla="*/ 2251840 w 10693106"/>
              <a:gd name="connsiteY122-35562" fmla="*/ 1837622 h 5292022"/>
              <a:gd name="connsiteX123-35563" fmla="*/ 2167173 w 10693106"/>
              <a:gd name="connsiteY123-35564" fmla="*/ 1879956 h 5292022"/>
              <a:gd name="connsiteX124-35565" fmla="*/ 1980906 w 10693106"/>
              <a:gd name="connsiteY124-35566" fmla="*/ 1939222 h 5292022"/>
              <a:gd name="connsiteX125-35567" fmla="*/ 1904706 w 10693106"/>
              <a:gd name="connsiteY125-35568" fmla="*/ 1973089 h 5292022"/>
              <a:gd name="connsiteX126-35569" fmla="*/ 1828506 w 10693106"/>
              <a:gd name="connsiteY126-35570" fmla="*/ 1990022 h 5292022"/>
              <a:gd name="connsiteX127-35571" fmla="*/ 1726906 w 10693106"/>
              <a:gd name="connsiteY127-35572" fmla="*/ 2040822 h 5292022"/>
              <a:gd name="connsiteX128-35573" fmla="*/ 1659173 w 10693106"/>
              <a:gd name="connsiteY128-35574" fmla="*/ 2074689 h 5292022"/>
              <a:gd name="connsiteX129-35575" fmla="*/ 1498306 w 10693106"/>
              <a:gd name="connsiteY129-35576" fmla="*/ 2100089 h 5292022"/>
              <a:gd name="connsiteX130-35577" fmla="*/ 914106 w 10693106"/>
              <a:gd name="connsiteY130-35578" fmla="*/ 2032356 h 5292022"/>
              <a:gd name="connsiteX131-35579" fmla="*/ 617773 w 10693106"/>
              <a:gd name="connsiteY131-35580" fmla="*/ 1922289 h 5292022"/>
              <a:gd name="connsiteX132-35581" fmla="*/ 516173 w 10693106"/>
              <a:gd name="connsiteY132-35582" fmla="*/ 1837622 h 5292022"/>
              <a:gd name="connsiteX133-35583" fmla="*/ 355306 w 10693106"/>
              <a:gd name="connsiteY133-35584" fmla="*/ 1625956 h 5292022"/>
              <a:gd name="connsiteX134-35585" fmla="*/ 296040 w 10693106"/>
              <a:gd name="connsiteY134-35586" fmla="*/ 1524356 h 5292022"/>
              <a:gd name="connsiteX135-35587" fmla="*/ 253706 w 10693106"/>
              <a:gd name="connsiteY135-35588" fmla="*/ 1346556 h 5292022"/>
              <a:gd name="connsiteX136-35589" fmla="*/ 245240 w 10693106"/>
              <a:gd name="connsiteY136-35590" fmla="*/ 1219556 h 5292022"/>
              <a:gd name="connsiteX137-35591" fmla="*/ 236773 w 10693106"/>
              <a:gd name="connsiteY137-35592" fmla="*/ 1117956 h 5292022"/>
              <a:gd name="connsiteX138-35593" fmla="*/ 245240 w 10693106"/>
              <a:gd name="connsiteY138-35594" fmla="*/ 847022 h 5292022"/>
              <a:gd name="connsiteX139-35595" fmla="*/ 236773 w 10693106"/>
              <a:gd name="connsiteY139-35596" fmla="*/ 703089 h 5292022"/>
              <a:gd name="connsiteX140-35597" fmla="*/ 109773 w 10693106"/>
              <a:gd name="connsiteY140-35598" fmla="*/ 559156 h 5292022"/>
              <a:gd name="connsiteX141-35599" fmla="*/ 58973 w 10693106"/>
              <a:gd name="connsiteY141-35600" fmla="*/ 482956 h 5292022"/>
              <a:gd name="connsiteX142-35601" fmla="*/ 16640 w 10693106"/>
              <a:gd name="connsiteY142-35602" fmla="*/ 432156 h 5292022"/>
              <a:gd name="connsiteX143-35603" fmla="*/ 8173 w 10693106"/>
              <a:gd name="connsiteY143-35604" fmla="*/ 389822 h 5292022"/>
              <a:gd name="connsiteX144-35605" fmla="*/ 16640 w 10693106"/>
              <a:gd name="connsiteY144-35606" fmla="*/ 339022 h 5292022"/>
              <a:gd name="connsiteX0-35607" fmla="*/ 16640 w 10693106"/>
              <a:gd name="connsiteY0-35608" fmla="*/ 339022 h 5292022"/>
              <a:gd name="connsiteX1-35609" fmla="*/ 58973 w 10693106"/>
              <a:gd name="connsiteY1-35610" fmla="*/ 245889 h 5292022"/>
              <a:gd name="connsiteX2-35611" fmla="*/ 109773 w 10693106"/>
              <a:gd name="connsiteY2-35612" fmla="*/ 178156 h 5292022"/>
              <a:gd name="connsiteX3-35613" fmla="*/ 202906 w 10693106"/>
              <a:gd name="connsiteY3-35614" fmla="*/ 93489 h 5292022"/>
              <a:gd name="connsiteX4-35615" fmla="*/ 236773 w 10693106"/>
              <a:gd name="connsiteY4-35616" fmla="*/ 68089 h 5292022"/>
              <a:gd name="connsiteX5-35617" fmla="*/ 335410 w 10693106"/>
              <a:gd name="connsiteY5-35618" fmla="*/ 58352 h 5292022"/>
              <a:gd name="connsiteX6-35619" fmla="*/ 382400 w 10693106"/>
              <a:gd name="connsiteY6-35620" fmla="*/ 51156 h 5292022"/>
              <a:gd name="connsiteX7-35621" fmla="*/ 434912 w 10693106"/>
              <a:gd name="connsiteY7-35622" fmla="*/ 70071 h 5292022"/>
              <a:gd name="connsiteX8-35623" fmla="*/ 492697 w 10693106"/>
              <a:gd name="connsiteY8-35624" fmla="*/ 74247 h 5292022"/>
              <a:gd name="connsiteX9-35625" fmla="*/ 822897 w 10693106"/>
              <a:gd name="connsiteY9-35626" fmla="*/ 82713 h 5292022"/>
              <a:gd name="connsiteX10-35627" fmla="*/ 1091906 w 10693106"/>
              <a:gd name="connsiteY10-35628" fmla="*/ 356 h 5292022"/>
              <a:gd name="connsiteX11-35629" fmla="*/ 1235840 w 10693106"/>
              <a:gd name="connsiteY11-35630" fmla="*/ 59622 h 5292022"/>
              <a:gd name="connsiteX12-35631" fmla="*/ 1337440 w 10693106"/>
              <a:gd name="connsiteY12-35632" fmla="*/ 135822 h 5292022"/>
              <a:gd name="connsiteX13-35633" fmla="*/ 1422106 w 10693106"/>
              <a:gd name="connsiteY13-35634" fmla="*/ 245889 h 5292022"/>
              <a:gd name="connsiteX14-35635" fmla="*/ 1481373 w 10693106"/>
              <a:gd name="connsiteY14-35636" fmla="*/ 313622 h 5292022"/>
              <a:gd name="connsiteX15-35637" fmla="*/ 1532173 w 10693106"/>
              <a:gd name="connsiteY15-35638" fmla="*/ 347489 h 5292022"/>
              <a:gd name="connsiteX16-35639" fmla="*/ 1684573 w 10693106"/>
              <a:gd name="connsiteY16-35640" fmla="*/ 406756 h 5292022"/>
              <a:gd name="connsiteX17-35641" fmla="*/ 1760773 w 10693106"/>
              <a:gd name="connsiteY17-35642" fmla="*/ 423689 h 5292022"/>
              <a:gd name="connsiteX18-35643" fmla="*/ 1997840 w 10693106"/>
              <a:gd name="connsiteY18-35644" fmla="*/ 415222 h 5292022"/>
              <a:gd name="connsiteX19-35645" fmla="*/ 2116373 w 10693106"/>
              <a:gd name="connsiteY19-35646" fmla="*/ 398289 h 5292022"/>
              <a:gd name="connsiteX20-35647" fmla="*/ 2260306 w 10693106"/>
              <a:gd name="connsiteY20-35648" fmla="*/ 381356 h 5292022"/>
              <a:gd name="connsiteX21-35649" fmla="*/ 2404240 w 10693106"/>
              <a:gd name="connsiteY21-35650" fmla="*/ 355956 h 5292022"/>
              <a:gd name="connsiteX22-35651" fmla="*/ 2455040 w 10693106"/>
              <a:gd name="connsiteY22-35652" fmla="*/ 330556 h 5292022"/>
              <a:gd name="connsiteX23-35653" fmla="*/ 2531240 w 10693106"/>
              <a:gd name="connsiteY23-35654" fmla="*/ 305156 h 5292022"/>
              <a:gd name="connsiteX24-35655" fmla="*/ 2649350 w 10693106"/>
              <a:gd name="connsiteY24-35656" fmla="*/ 225781 h 5292022"/>
              <a:gd name="connsiteX25-35657" fmla="*/ 2742906 w 10693106"/>
              <a:gd name="connsiteY25-35658" fmla="*/ 186622 h 5292022"/>
              <a:gd name="connsiteX26-35659" fmla="*/ 2764920 w 10693106"/>
              <a:gd name="connsiteY26-35660" fmla="*/ 173076 h 5292022"/>
              <a:gd name="connsiteX27-35661" fmla="*/ 2832653 w 10693106"/>
              <a:gd name="connsiteY27-35662" fmla="*/ 167996 h 5292022"/>
              <a:gd name="connsiteX28-35663" fmla="*/ 3002294 w 10693106"/>
              <a:gd name="connsiteY28-35664" fmla="*/ 154680 h 5292022"/>
              <a:gd name="connsiteX29-35665" fmla="*/ 3142763 w 10693106"/>
              <a:gd name="connsiteY29-35666" fmla="*/ 110421 h 5292022"/>
              <a:gd name="connsiteX30-35667" fmla="*/ 3398918 w 10693106"/>
              <a:gd name="connsiteY30-35668" fmla="*/ 72322 h 5292022"/>
              <a:gd name="connsiteX31-35669" fmla="*/ 3606506 w 10693106"/>
              <a:gd name="connsiteY31-35670" fmla="*/ 60393 h 5292022"/>
              <a:gd name="connsiteX32-35671" fmla="*/ 3682706 w 10693106"/>
              <a:gd name="connsiteY32-35672" fmla="*/ 79942 h 5292022"/>
              <a:gd name="connsiteX33-35673" fmla="*/ 3741973 w 10693106"/>
              <a:gd name="connsiteY33-35674" fmla="*/ 86561 h 5292022"/>
              <a:gd name="connsiteX34-35675" fmla="*/ 3794678 w 10693106"/>
              <a:gd name="connsiteY34-35676" fmla="*/ 101321 h 5292022"/>
              <a:gd name="connsiteX35-35677" fmla="*/ 3833625 w 10693106"/>
              <a:gd name="connsiteY35-35678" fmla="*/ 110846 h 5292022"/>
              <a:gd name="connsiteX36-35679" fmla="*/ 3892487 w 10693106"/>
              <a:gd name="connsiteY36-35680" fmla="*/ 116984 h 5292022"/>
              <a:gd name="connsiteX37-35681" fmla="*/ 3976923 w 10693106"/>
              <a:gd name="connsiteY37-35682" fmla="*/ 135187 h 5292022"/>
              <a:gd name="connsiteX38-35683" fmla="*/ 4021373 w 10693106"/>
              <a:gd name="connsiteY38-35684" fmla="*/ 144289 h 5292022"/>
              <a:gd name="connsiteX39-35685" fmla="*/ 4529373 w 10693106"/>
              <a:gd name="connsiteY39-35686" fmla="*/ 271289 h 5292022"/>
              <a:gd name="connsiteX40-35687" fmla="*/ 5630810 w 10693106"/>
              <a:gd name="connsiteY40-35688" fmla="*/ 1149898 h 5292022"/>
              <a:gd name="connsiteX41-35689" fmla="*/ 6881490 w 10693106"/>
              <a:gd name="connsiteY41-35690" fmla="*/ 1366452 h 5292022"/>
              <a:gd name="connsiteX42-35691" fmla="*/ 7839032 w 10693106"/>
              <a:gd name="connsiteY42-35692" fmla="*/ 1183996 h 5292022"/>
              <a:gd name="connsiteX43-35693" fmla="*/ 8652640 w 10693106"/>
              <a:gd name="connsiteY43-35694" fmla="*/ 677689 h 5292022"/>
              <a:gd name="connsiteX44-35695" fmla="*/ 8982840 w 10693106"/>
              <a:gd name="connsiteY44-35696" fmla="*/ 398289 h 5292022"/>
              <a:gd name="connsiteX45-35697" fmla="*/ 9380773 w 10693106"/>
              <a:gd name="connsiteY45-35698" fmla="*/ 355956 h 5292022"/>
              <a:gd name="connsiteX46-35699" fmla="*/ 9744840 w 10693106"/>
              <a:gd name="connsiteY46-35700" fmla="*/ 466022 h 5292022"/>
              <a:gd name="connsiteX47-35701" fmla="*/ 9888773 w 10693106"/>
              <a:gd name="connsiteY47-35702" fmla="*/ 508356 h 5292022"/>
              <a:gd name="connsiteX48-35703" fmla="*/ 9998840 w 10693106"/>
              <a:gd name="connsiteY48-35704" fmla="*/ 559156 h 5292022"/>
              <a:gd name="connsiteX49-35705" fmla="*/ 10083506 w 10693106"/>
              <a:gd name="connsiteY49-35706" fmla="*/ 618422 h 5292022"/>
              <a:gd name="connsiteX50-35707" fmla="*/ 10286706 w 10693106"/>
              <a:gd name="connsiteY50-35708" fmla="*/ 686156 h 5292022"/>
              <a:gd name="connsiteX51-35709" fmla="*/ 10388306 w 10693106"/>
              <a:gd name="connsiteY51-35710" fmla="*/ 889356 h 5292022"/>
              <a:gd name="connsiteX52-35711" fmla="*/ 10540706 w 10693106"/>
              <a:gd name="connsiteY52-35712" fmla="*/ 1261889 h 5292022"/>
              <a:gd name="connsiteX53-35713" fmla="*/ 10557640 w 10693106"/>
              <a:gd name="connsiteY53-35714" fmla="*/ 1346556 h 5292022"/>
              <a:gd name="connsiteX54-35715" fmla="*/ 10583040 w 10693106"/>
              <a:gd name="connsiteY54-35716" fmla="*/ 1448156 h 5292022"/>
              <a:gd name="connsiteX55-35717" fmla="*/ 10616906 w 10693106"/>
              <a:gd name="connsiteY55-35718" fmla="*/ 1651356 h 5292022"/>
              <a:gd name="connsiteX56-35719" fmla="*/ 10633840 w 10693106"/>
              <a:gd name="connsiteY56-35720" fmla="*/ 1736022 h 5292022"/>
              <a:gd name="connsiteX57-35721" fmla="*/ 10650773 w 10693106"/>
              <a:gd name="connsiteY57-35722" fmla="*/ 1769889 h 5292022"/>
              <a:gd name="connsiteX58-35723" fmla="*/ 10676173 w 10693106"/>
              <a:gd name="connsiteY58-35724" fmla="*/ 1854556 h 5292022"/>
              <a:gd name="connsiteX59-35725" fmla="*/ 10693106 w 10693106"/>
              <a:gd name="connsiteY59-35726" fmla="*/ 2006956 h 5292022"/>
              <a:gd name="connsiteX60-35727" fmla="*/ 10625373 w 10693106"/>
              <a:gd name="connsiteY60-35728" fmla="*/ 2227089 h 5292022"/>
              <a:gd name="connsiteX61-35729" fmla="*/ 10608440 w 10693106"/>
              <a:gd name="connsiteY61-35730" fmla="*/ 2252489 h 5292022"/>
              <a:gd name="connsiteX62-35731" fmla="*/ 10540706 w 10693106"/>
              <a:gd name="connsiteY62-35732" fmla="*/ 2396422 h 5292022"/>
              <a:gd name="connsiteX63-35733" fmla="*/ 10498373 w 10693106"/>
              <a:gd name="connsiteY63-35734" fmla="*/ 2481089 h 5292022"/>
              <a:gd name="connsiteX64-35735" fmla="*/ 10439106 w 10693106"/>
              <a:gd name="connsiteY64-35736" fmla="*/ 2667356 h 5292022"/>
              <a:gd name="connsiteX65-35737" fmla="*/ 10430640 w 10693106"/>
              <a:gd name="connsiteY65-35738" fmla="*/ 2709689 h 5292022"/>
              <a:gd name="connsiteX66-35739" fmla="*/ 10405240 w 10693106"/>
              <a:gd name="connsiteY66-35740" fmla="*/ 2785889 h 5292022"/>
              <a:gd name="connsiteX67-35741" fmla="*/ 10396773 w 10693106"/>
              <a:gd name="connsiteY67-35742" fmla="*/ 2819756 h 5292022"/>
              <a:gd name="connsiteX68-35743" fmla="*/ 10362906 w 10693106"/>
              <a:gd name="connsiteY68-35744" fmla="*/ 2912889 h 5292022"/>
              <a:gd name="connsiteX69-35745" fmla="*/ 10329040 w 10693106"/>
              <a:gd name="connsiteY69-35746" fmla="*/ 2955222 h 5292022"/>
              <a:gd name="connsiteX70-35747" fmla="*/ 10227440 w 10693106"/>
              <a:gd name="connsiteY70-35748" fmla="*/ 3056822 h 5292022"/>
              <a:gd name="connsiteX71-35749" fmla="*/ 10168173 w 10693106"/>
              <a:gd name="connsiteY71-35750" fmla="*/ 3124556 h 5292022"/>
              <a:gd name="connsiteX72-35751" fmla="*/ 10117373 w 10693106"/>
              <a:gd name="connsiteY72-35752" fmla="*/ 3175356 h 5292022"/>
              <a:gd name="connsiteX73-35753" fmla="*/ 10032706 w 10693106"/>
              <a:gd name="connsiteY73-35754" fmla="*/ 3276956 h 5292022"/>
              <a:gd name="connsiteX74-35755" fmla="*/ 9948040 w 10693106"/>
              <a:gd name="connsiteY74-35756" fmla="*/ 3336222 h 5292022"/>
              <a:gd name="connsiteX75-35757" fmla="*/ 9905706 w 10693106"/>
              <a:gd name="connsiteY75-35758" fmla="*/ 3361622 h 5292022"/>
              <a:gd name="connsiteX76-35759" fmla="*/ 9829506 w 10693106"/>
              <a:gd name="connsiteY76-35760" fmla="*/ 3378556 h 5292022"/>
              <a:gd name="connsiteX77-35761" fmla="*/ 9727906 w 10693106"/>
              <a:gd name="connsiteY77-35762" fmla="*/ 3420889 h 5292022"/>
              <a:gd name="connsiteX78-35763" fmla="*/ 9634773 w 10693106"/>
              <a:gd name="connsiteY78-35764" fmla="*/ 3446289 h 5292022"/>
              <a:gd name="connsiteX79-35765" fmla="*/ 9456973 w 10693106"/>
              <a:gd name="connsiteY79-35766" fmla="*/ 3539422 h 5292022"/>
              <a:gd name="connsiteX80-35767" fmla="*/ 9313040 w 10693106"/>
              <a:gd name="connsiteY80-35768" fmla="*/ 3666422 h 5292022"/>
              <a:gd name="connsiteX81-35769" fmla="*/ 9279173 w 10693106"/>
              <a:gd name="connsiteY81-35770" fmla="*/ 3683356 h 5292022"/>
              <a:gd name="connsiteX82-35771" fmla="*/ 9067506 w 10693106"/>
              <a:gd name="connsiteY82-35772" fmla="*/ 3861156 h 5292022"/>
              <a:gd name="connsiteX83-35773" fmla="*/ 8999773 w 10693106"/>
              <a:gd name="connsiteY83-35774" fmla="*/ 3928889 h 5292022"/>
              <a:gd name="connsiteX84-35775" fmla="*/ 8813506 w 10693106"/>
              <a:gd name="connsiteY84-35776" fmla="*/ 4064356 h 5292022"/>
              <a:gd name="connsiteX85-35777" fmla="*/ 8728840 w 10693106"/>
              <a:gd name="connsiteY85-35778" fmla="*/ 4106689 h 5292022"/>
              <a:gd name="connsiteX86-35779" fmla="*/ 8373240 w 10693106"/>
              <a:gd name="connsiteY86-35780" fmla="*/ 4140556 h 5292022"/>
              <a:gd name="connsiteX87-35781" fmla="*/ 7966840 w 10693106"/>
              <a:gd name="connsiteY87-35782" fmla="*/ 4233689 h 5292022"/>
              <a:gd name="connsiteX88-35783" fmla="*/ 7687440 w 10693106"/>
              <a:gd name="connsiteY88-35784" fmla="*/ 4394556 h 5292022"/>
              <a:gd name="connsiteX89-35785" fmla="*/ 7374173 w 10693106"/>
              <a:gd name="connsiteY89-35786" fmla="*/ 4657022 h 5292022"/>
              <a:gd name="connsiteX90-35787" fmla="*/ 7374173 w 10693106"/>
              <a:gd name="connsiteY90-35788" fmla="*/ 4657022 h 5292022"/>
              <a:gd name="connsiteX91-35789" fmla="*/ 7221773 w 10693106"/>
              <a:gd name="connsiteY91-35790" fmla="*/ 4775556 h 5292022"/>
              <a:gd name="connsiteX92-35791" fmla="*/ 7027040 w 10693106"/>
              <a:gd name="connsiteY92-35792" fmla="*/ 4902556 h 5292022"/>
              <a:gd name="connsiteX93-35793" fmla="*/ 6883106 w 10693106"/>
              <a:gd name="connsiteY93-35794" fmla="*/ 4970289 h 5292022"/>
              <a:gd name="connsiteX94-35795" fmla="*/ 6815373 w 10693106"/>
              <a:gd name="connsiteY94-35796" fmla="*/ 5012622 h 5292022"/>
              <a:gd name="connsiteX95-35797" fmla="*/ 6646040 w 10693106"/>
              <a:gd name="connsiteY95-35798" fmla="*/ 5105756 h 5292022"/>
              <a:gd name="connsiteX96-35799" fmla="*/ 6527506 w 10693106"/>
              <a:gd name="connsiteY96-35800" fmla="*/ 5165022 h 5292022"/>
              <a:gd name="connsiteX97-35801" fmla="*/ 6298906 w 10693106"/>
              <a:gd name="connsiteY97-35802" fmla="*/ 5241222 h 5292022"/>
              <a:gd name="connsiteX98-35803" fmla="*/ 6197306 w 10693106"/>
              <a:gd name="connsiteY98-35804" fmla="*/ 5266622 h 5292022"/>
              <a:gd name="connsiteX99-35805" fmla="*/ 6061840 w 10693106"/>
              <a:gd name="connsiteY99-35806" fmla="*/ 5275089 h 5292022"/>
              <a:gd name="connsiteX100-35807" fmla="*/ 5917906 w 10693106"/>
              <a:gd name="connsiteY100-35808" fmla="*/ 5292022 h 5292022"/>
              <a:gd name="connsiteX101-35809" fmla="*/ 5748573 w 10693106"/>
              <a:gd name="connsiteY101-35810" fmla="*/ 5283556 h 5292022"/>
              <a:gd name="connsiteX102-35811" fmla="*/ 5282906 w 10693106"/>
              <a:gd name="connsiteY102-35812" fmla="*/ 5173489 h 5292022"/>
              <a:gd name="connsiteX103-35813" fmla="*/ 4959480 w 10693106"/>
              <a:gd name="connsiteY103-35814" fmla="*/ 4988069 h 5292022"/>
              <a:gd name="connsiteX104-35815" fmla="*/ 4686853 w 10693106"/>
              <a:gd name="connsiteY104-35816" fmla="*/ 4788256 h 5292022"/>
              <a:gd name="connsiteX105-35817" fmla="*/ 3977346 w 10693106"/>
              <a:gd name="connsiteY105-35818" fmla="*/ 4470544 h 5292022"/>
              <a:gd name="connsiteX106-35819" fmla="*/ 3741550 w 10693106"/>
              <a:gd name="connsiteY106-35820" fmla="*/ 4154102 h 5292022"/>
              <a:gd name="connsiteX107-35821" fmla="*/ 3562056 w 10693106"/>
              <a:gd name="connsiteY107-35822" fmla="*/ 3406919 h 5292022"/>
              <a:gd name="connsiteX108-35823" fmla="*/ 3242440 w 10693106"/>
              <a:gd name="connsiteY108-35824" fmla="*/ 3099156 h 5292022"/>
              <a:gd name="connsiteX109-35825" fmla="*/ 3123906 w 10693106"/>
              <a:gd name="connsiteY109-35826" fmla="*/ 2997556 h 5292022"/>
              <a:gd name="connsiteX110-35827" fmla="*/ 2988440 w 10693106"/>
              <a:gd name="connsiteY110-35828" fmla="*/ 2802822 h 5292022"/>
              <a:gd name="connsiteX111-35829" fmla="*/ 2971506 w 10693106"/>
              <a:gd name="connsiteY111-35830" fmla="*/ 2743556 h 5292022"/>
              <a:gd name="connsiteX112-35831" fmla="*/ 2996906 w 10693106"/>
              <a:gd name="connsiteY112-35832" fmla="*/ 2531889 h 5292022"/>
              <a:gd name="connsiteX113-35833" fmla="*/ 3013840 w 10693106"/>
              <a:gd name="connsiteY113-35834" fmla="*/ 2430289 h 5292022"/>
              <a:gd name="connsiteX114-35835" fmla="*/ 3005373 w 10693106"/>
              <a:gd name="connsiteY114-35836" fmla="*/ 2311756 h 5292022"/>
              <a:gd name="connsiteX115-35837" fmla="*/ 2988440 w 10693106"/>
              <a:gd name="connsiteY115-35838" fmla="*/ 2260956 h 5292022"/>
              <a:gd name="connsiteX116-35839" fmla="*/ 2802173 w 10693106"/>
              <a:gd name="connsiteY116-35840" fmla="*/ 2006956 h 5292022"/>
              <a:gd name="connsiteX117-35841" fmla="*/ 2641306 w 10693106"/>
              <a:gd name="connsiteY117-35842" fmla="*/ 1863022 h 5292022"/>
              <a:gd name="connsiteX118-35843" fmla="*/ 2590506 w 10693106"/>
              <a:gd name="connsiteY118-35844" fmla="*/ 1837622 h 5292022"/>
              <a:gd name="connsiteX119-35845" fmla="*/ 2531240 w 10693106"/>
              <a:gd name="connsiteY119-35846" fmla="*/ 1829156 h 5292022"/>
              <a:gd name="connsiteX120-35847" fmla="*/ 2446573 w 10693106"/>
              <a:gd name="connsiteY120-35848" fmla="*/ 1812222 h 5292022"/>
              <a:gd name="connsiteX121-35849" fmla="*/ 2251840 w 10693106"/>
              <a:gd name="connsiteY121-35850" fmla="*/ 1837622 h 5292022"/>
              <a:gd name="connsiteX122-35851" fmla="*/ 2167173 w 10693106"/>
              <a:gd name="connsiteY122-35852" fmla="*/ 1879956 h 5292022"/>
              <a:gd name="connsiteX123-35853" fmla="*/ 1980906 w 10693106"/>
              <a:gd name="connsiteY123-35854" fmla="*/ 1939222 h 5292022"/>
              <a:gd name="connsiteX124-35855" fmla="*/ 1904706 w 10693106"/>
              <a:gd name="connsiteY124-35856" fmla="*/ 1973089 h 5292022"/>
              <a:gd name="connsiteX125-35857" fmla="*/ 1828506 w 10693106"/>
              <a:gd name="connsiteY125-35858" fmla="*/ 1990022 h 5292022"/>
              <a:gd name="connsiteX126-35859" fmla="*/ 1726906 w 10693106"/>
              <a:gd name="connsiteY126-35860" fmla="*/ 2040822 h 5292022"/>
              <a:gd name="connsiteX127-35861" fmla="*/ 1659173 w 10693106"/>
              <a:gd name="connsiteY127-35862" fmla="*/ 2074689 h 5292022"/>
              <a:gd name="connsiteX128-35863" fmla="*/ 1498306 w 10693106"/>
              <a:gd name="connsiteY128-35864" fmla="*/ 2100089 h 5292022"/>
              <a:gd name="connsiteX129-35865" fmla="*/ 914106 w 10693106"/>
              <a:gd name="connsiteY129-35866" fmla="*/ 2032356 h 5292022"/>
              <a:gd name="connsiteX130-35867" fmla="*/ 617773 w 10693106"/>
              <a:gd name="connsiteY130-35868" fmla="*/ 1922289 h 5292022"/>
              <a:gd name="connsiteX131-35869" fmla="*/ 516173 w 10693106"/>
              <a:gd name="connsiteY131-35870" fmla="*/ 1837622 h 5292022"/>
              <a:gd name="connsiteX132-35871" fmla="*/ 355306 w 10693106"/>
              <a:gd name="connsiteY132-35872" fmla="*/ 1625956 h 5292022"/>
              <a:gd name="connsiteX133-35873" fmla="*/ 296040 w 10693106"/>
              <a:gd name="connsiteY133-35874" fmla="*/ 1524356 h 5292022"/>
              <a:gd name="connsiteX134-35875" fmla="*/ 253706 w 10693106"/>
              <a:gd name="connsiteY134-35876" fmla="*/ 1346556 h 5292022"/>
              <a:gd name="connsiteX135-35877" fmla="*/ 245240 w 10693106"/>
              <a:gd name="connsiteY135-35878" fmla="*/ 1219556 h 5292022"/>
              <a:gd name="connsiteX136-35879" fmla="*/ 236773 w 10693106"/>
              <a:gd name="connsiteY136-35880" fmla="*/ 1117956 h 5292022"/>
              <a:gd name="connsiteX137-35881" fmla="*/ 245240 w 10693106"/>
              <a:gd name="connsiteY137-35882" fmla="*/ 847022 h 5292022"/>
              <a:gd name="connsiteX138-35883" fmla="*/ 236773 w 10693106"/>
              <a:gd name="connsiteY138-35884" fmla="*/ 703089 h 5292022"/>
              <a:gd name="connsiteX139-35885" fmla="*/ 109773 w 10693106"/>
              <a:gd name="connsiteY139-35886" fmla="*/ 559156 h 5292022"/>
              <a:gd name="connsiteX140-35887" fmla="*/ 58973 w 10693106"/>
              <a:gd name="connsiteY140-35888" fmla="*/ 482956 h 5292022"/>
              <a:gd name="connsiteX141-35889" fmla="*/ 16640 w 10693106"/>
              <a:gd name="connsiteY141-35890" fmla="*/ 432156 h 5292022"/>
              <a:gd name="connsiteX142-35891" fmla="*/ 8173 w 10693106"/>
              <a:gd name="connsiteY142-35892" fmla="*/ 389822 h 5292022"/>
              <a:gd name="connsiteX143-35893" fmla="*/ 16640 w 10693106"/>
              <a:gd name="connsiteY143-35894" fmla="*/ 339022 h 5292022"/>
              <a:gd name="connsiteX0-35895" fmla="*/ 16640 w 10693106"/>
              <a:gd name="connsiteY0-35896" fmla="*/ 339022 h 5292022"/>
              <a:gd name="connsiteX1-35897" fmla="*/ 58973 w 10693106"/>
              <a:gd name="connsiteY1-35898" fmla="*/ 245889 h 5292022"/>
              <a:gd name="connsiteX2-35899" fmla="*/ 109773 w 10693106"/>
              <a:gd name="connsiteY2-35900" fmla="*/ 178156 h 5292022"/>
              <a:gd name="connsiteX3-35901" fmla="*/ 202906 w 10693106"/>
              <a:gd name="connsiteY3-35902" fmla="*/ 93489 h 5292022"/>
              <a:gd name="connsiteX4-35903" fmla="*/ 236773 w 10693106"/>
              <a:gd name="connsiteY4-35904" fmla="*/ 68089 h 5292022"/>
              <a:gd name="connsiteX5-35905" fmla="*/ 335410 w 10693106"/>
              <a:gd name="connsiteY5-35906" fmla="*/ 58352 h 5292022"/>
              <a:gd name="connsiteX6-35907" fmla="*/ 382400 w 10693106"/>
              <a:gd name="connsiteY6-35908" fmla="*/ 51156 h 5292022"/>
              <a:gd name="connsiteX7-35909" fmla="*/ 434912 w 10693106"/>
              <a:gd name="connsiteY7-35910" fmla="*/ 70071 h 5292022"/>
              <a:gd name="connsiteX8-35911" fmla="*/ 492697 w 10693106"/>
              <a:gd name="connsiteY8-35912" fmla="*/ 74247 h 5292022"/>
              <a:gd name="connsiteX9-35913" fmla="*/ 822897 w 10693106"/>
              <a:gd name="connsiteY9-35914" fmla="*/ 82713 h 5292022"/>
              <a:gd name="connsiteX10-35915" fmla="*/ 1091906 w 10693106"/>
              <a:gd name="connsiteY10-35916" fmla="*/ 356 h 5292022"/>
              <a:gd name="connsiteX11-35917" fmla="*/ 1235840 w 10693106"/>
              <a:gd name="connsiteY11-35918" fmla="*/ 59622 h 5292022"/>
              <a:gd name="connsiteX12-35919" fmla="*/ 1337440 w 10693106"/>
              <a:gd name="connsiteY12-35920" fmla="*/ 135822 h 5292022"/>
              <a:gd name="connsiteX13-35921" fmla="*/ 1422106 w 10693106"/>
              <a:gd name="connsiteY13-35922" fmla="*/ 245889 h 5292022"/>
              <a:gd name="connsiteX14-35923" fmla="*/ 1481373 w 10693106"/>
              <a:gd name="connsiteY14-35924" fmla="*/ 313622 h 5292022"/>
              <a:gd name="connsiteX15-35925" fmla="*/ 1532173 w 10693106"/>
              <a:gd name="connsiteY15-35926" fmla="*/ 347489 h 5292022"/>
              <a:gd name="connsiteX16-35927" fmla="*/ 1684573 w 10693106"/>
              <a:gd name="connsiteY16-35928" fmla="*/ 406756 h 5292022"/>
              <a:gd name="connsiteX17-35929" fmla="*/ 1760773 w 10693106"/>
              <a:gd name="connsiteY17-35930" fmla="*/ 423689 h 5292022"/>
              <a:gd name="connsiteX18-35931" fmla="*/ 1997840 w 10693106"/>
              <a:gd name="connsiteY18-35932" fmla="*/ 415222 h 5292022"/>
              <a:gd name="connsiteX19-35933" fmla="*/ 2116373 w 10693106"/>
              <a:gd name="connsiteY19-35934" fmla="*/ 398289 h 5292022"/>
              <a:gd name="connsiteX20-35935" fmla="*/ 2260306 w 10693106"/>
              <a:gd name="connsiteY20-35936" fmla="*/ 381356 h 5292022"/>
              <a:gd name="connsiteX21-35937" fmla="*/ 2404240 w 10693106"/>
              <a:gd name="connsiteY21-35938" fmla="*/ 355956 h 5292022"/>
              <a:gd name="connsiteX22-35939" fmla="*/ 2455040 w 10693106"/>
              <a:gd name="connsiteY22-35940" fmla="*/ 330556 h 5292022"/>
              <a:gd name="connsiteX23-35941" fmla="*/ 2531240 w 10693106"/>
              <a:gd name="connsiteY23-35942" fmla="*/ 305156 h 5292022"/>
              <a:gd name="connsiteX24-35943" fmla="*/ 2649350 w 10693106"/>
              <a:gd name="connsiteY24-35944" fmla="*/ 225781 h 5292022"/>
              <a:gd name="connsiteX25-35945" fmla="*/ 2742906 w 10693106"/>
              <a:gd name="connsiteY25-35946" fmla="*/ 186622 h 5292022"/>
              <a:gd name="connsiteX26-35947" fmla="*/ 2764920 w 10693106"/>
              <a:gd name="connsiteY26-35948" fmla="*/ 173076 h 5292022"/>
              <a:gd name="connsiteX27-35949" fmla="*/ 2832653 w 10693106"/>
              <a:gd name="connsiteY27-35950" fmla="*/ 167996 h 5292022"/>
              <a:gd name="connsiteX28-35951" fmla="*/ 3002294 w 10693106"/>
              <a:gd name="connsiteY28-35952" fmla="*/ 154680 h 5292022"/>
              <a:gd name="connsiteX29-35953" fmla="*/ 3142763 w 10693106"/>
              <a:gd name="connsiteY29-35954" fmla="*/ 110421 h 5292022"/>
              <a:gd name="connsiteX30-35955" fmla="*/ 3398918 w 10693106"/>
              <a:gd name="connsiteY30-35956" fmla="*/ 72322 h 5292022"/>
              <a:gd name="connsiteX31-35957" fmla="*/ 3606506 w 10693106"/>
              <a:gd name="connsiteY31-35958" fmla="*/ 60393 h 5292022"/>
              <a:gd name="connsiteX32-35959" fmla="*/ 3682706 w 10693106"/>
              <a:gd name="connsiteY32-35960" fmla="*/ 79942 h 5292022"/>
              <a:gd name="connsiteX33-35961" fmla="*/ 3741973 w 10693106"/>
              <a:gd name="connsiteY33-35962" fmla="*/ 86561 h 5292022"/>
              <a:gd name="connsiteX34-35963" fmla="*/ 3794678 w 10693106"/>
              <a:gd name="connsiteY34-35964" fmla="*/ 101321 h 5292022"/>
              <a:gd name="connsiteX35-35965" fmla="*/ 3833625 w 10693106"/>
              <a:gd name="connsiteY35-35966" fmla="*/ 110846 h 5292022"/>
              <a:gd name="connsiteX36-35967" fmla="*/ 3976923 w 10693106"/>
              <a:gd name="connsiteY36-35968" fmla="*/ 135187 h 5292022"/>
              <a:gd name="connsiteX37-35969" fmla="*/ 4021373 w 10693106"/>
              <a:gd name="connsiteY37-35970" fmla="*/ 144289 h 5292022"/>
              <a:gd name="connsiteX38-35971" fmla="*/ 4529373 w 10693106"/>
              <a:gd name="connsiteY38-35972" fmla="*/ 271289 h 5292022"/>
              <a:gd name="connsiteX39-35973" fmla="*/ 5630810 w 10693106"/>
              <a:gd name="connsiteY39-35974" fmla="*/ 1149898 h 5292022"/>
              <a:gd name="connsiteX40-35975" fmla="*/ 6881490 w 10693106"/>
              <a:gd name="connsiteY40-35976" fmla="*/ 1366452 h 5292022"/>
              <a:gd name="connsiteX41-35977" fmla="*/ 7839032 w 10693106"/>
              <a:gd name="connsiteY41-35978" fmla="*/ 1183996 h 5292022"/>
              <a:gd name="connsiteX42-35979" fmla="*/ 8652640 w 10693106"/>
              <a:gd name="connsiteY42-35980" fmla="*/ 677689 h 5292022"/>
              <a:gd name="connsiteX43-35981" fmla="*/ 8982840 w 10693106"/>
              <a:gd name="connsiteY43-35982" fmla="*/ 398289 h 5292022"/>
              <a:gd name="connsiteX44-35983" fmla="*/ 9380773 w 10693106"/>
              <a:gd name="connsiteY44-35984" fmla="*/ 355956 h 5292022"/>
              <a:gd name="connsiteX45-35985" fmla="*/ 9744840 w 10693106"/>
              <a:gd name="connsiteY45-35986" fmla="*/ 466022 h 5292022"/>
              <a:gd name="connsiteX46-35987" fmla="*/ 9888773 w 10693106"/>
              <a:gd name="connsiteY46-35988" fmla="*/ 508356 h 5292022"/>
              <a:gd name="connsiteX47-35989" fmla="*/ 9998840 w 10693106"/>
              <a:gd name="connsiteY47-35990" fmla="*/ 559156 h 5292022"/>
              <a:gd name="connsiteX48-35991" fmla="*/ 10083506 w 10693106"/>
              <a:gd name="connsiteY48-35992" fmla="*/ 618422 h 5292022"/>
              <a:gd name="connsiteX49-35993" fmla="*/ 10286706 w 10693106"/>
              <a:gd name="connsiteY49-35994" fmla="*/ 686156 h 5292022"/>
              <a:gd name="connsiteX50-35995" fmla="*/ 10388306 w 10693106"/>
              <a:gd name="connsiteY50-35996" fmla="*/ 889356 h 5292022"/>
              <a:gd name="connsiteX51-35997" fmla="*/ 10540706 w 10693106"/>
              <a:gd name="connsiteY51-35998" fmla="*/ 1261889 h 5292022"/>
              <a:gd name="connsiteX52-35999" fmla="*/ 10557640 w 10693106"/>
              <a:gd name="connsiteY52-36000" fmla="*/ 1346556 h 5292022"/>
              <a:gd name="connsiteX53-36001" fmla="*/ 10583040 w 10693106"/>
              <a:gd name="connsiteY53-36002" fmla="*/ 1448156 h 5292022"/>
              <a:gd name="connsiteX54-36003" fmla="*/ 10616906 w 10693106"/>
              <a:gd name="connsiteY54-36004" fmla="*/ 1651356 h 5292022"/>
              <a:gd name="connsiteX55-36005" fmla="*/ 10633840 w 10693106"/>
              <a:gd name="connsiteY55-36006" fmla="*/ 1736022 h 5292022"/>
              <a:gd name="connsiteX56-36007" fmla="*/ 10650773 w 10693106"/>
              <a:gd name="connsiteY56-36008" fmla="*/ 1769889 h 5292022"/>
              <a:gd name="connsiteX57-36009" fmla="*/ 10676173 w 10693106"/>
              <a:gd name="connsiteY57-36010" fmla="*/ 1854556 h 5292022"/>
              <a:gd name="connsiteX58-36011" fmla="*/ 10693106 w 10693106"/>
              <a:gd name="connsiteY58-36012" fmla="*/ 2006956 h 5292022"/>
              <a:gd name="connsiteX59-36013" fmla="*/ 10625373 w 10693106"/>
              <a:gd name="connsiteY59-36014" fmla="*/ 2227089 h 5292022"/>
              <a:gd name="connsiteX60-36015" fmla="*/ 10608440 w 10693106"/>
              <a:gd name="connsiteY60-36016" fmla="*/ 2252489 h 5292022"/>
              <a:gd name="connsiteX61-36017" fmla="*/ 10540706 w 10693106"/>
              <a:gd name="connsiteY61-36018" fmla="*/ 2396422 h 5292022"/>
              <a:gd name="connsiteX62-36019" fmla="*/ 10498373 w 10693106"/>
              <a:gd name="connsiteY62-36020" fmla="*/ 2481089 h 5292022"/>
              <a:gd name="connsiteX63-36021" fmla="*/ 10439106 w 10693106"/>
              <a:gd name="connsiteY63-36022" fmla="*/ 2667356 h 5292022"/>
              <a:gd name="connsiteX64-36023" fmla="*/ 10430640 w 10693106"/>
              <a:gd name="connsiteY64-36024" fmla="*/ 2709689 h 5292022"/>
              <a:gd name="connsiteX65-36025" fmla="*/ 10405240 w 10693106"/>
              <a:gd name="connsiteY65-36026" fmla="*/ 2785889 h 5292022"/>
              <a:gd name="connsiteX66-36027" fmla="*/ 10396773 w 10693106"/>
              <a:gd name="connsiteY66-36028" fmla="*/ 2819756 h 5292022"/>
              <a:gd name="connsiteX67-36029" fmla="*/ 10362906 w 10693106"/>
              <a:gd name="connsiteY67-36030" fmla="*/ 2912889 h 5292022"/>
              <a:gd name="connsiteX68-36031" fmla="*/ 10329040 w 10693106"/>
              <a:gd name="connsiteY68-36032" fmla="*/ 2955222 h 5292022"/>
              <a:gd name="connsiteX69-36033" fmla="*/ 10227440 w 10693106"/>
              <a:gd name="connsiteY69-36034" fmla="*/ 3056822 h 5292022"/>
              <a:gd name="connsiteX70-36035" fmla="*/ 10168173 w 10693106"/>
              <a:gd name="connsiteY70-36036" fmla="*/ 3124556 h 5292022"/>
              <a:gd name="connsiteX71-36037" fmla="*/ 10117373 w 10693106"/>
              <a:gd name="connsiteY71-36038" fmla="*/ 3175356 h 5292022"/>
              <a:gd name="connsiteX72-36039" fmla="*/ 10032706 w 10693106"/>
              <a:gd name="connsiteY72-36040" fmla="*/ 3276956 h 5292022"/>
              <a:gd name="connsiteX73-36041" fmla="*/ 9948040 w 10693106"/>
              <a:gd name="connsiteY73-36042" fmla="*/ 3336222 h 5292022"/>
              <a:gd name="connsiteX74-36043" fmla="*/ 9905706 w 10693106"/>
              <a:gd name="connsiteY74-36044" fmla="*/ 3361622 h 5292022"/>
              <a:gd name="connsiteX75-36045" fmla="*/ 9829506 w 10693106"/>
              <a:gd name="connsiteY75-36046" fmla="*/ 3378556 h 5292022"/>
              <a:gd name="connsiteX76-36047" fmla="*/ 9727906 w 10693106"/>
              <a:gd name="connsiteY76-36048" fmla="*/ 3420889 h 5292022"/>
              <a:gd name="connsiteX77-36049" fmla="*/ 9634773 w 10693106"/>
              <a:gd name="connsiteY77-36050" fmla="*/ 3446289 h 5292022"/>
              <a:gd name="connsiteX78-36051" fmla="*/ 9456973 w 10693106"/>
              <a:gd name="connsiteY78-36052" fmla="*/ 3539422 h 5292022"/>
              <a:gd name="connsiteX79-36053" fmla="*/ 9313040 w 10693106"/>
              <a:gd name="connsiteY79-36054" fmla="*/ 3666422 h 5292022"/>
              <a:gd name="connsiteX80-36055" fmla="*/ 9279173 w 10693106"/>
              <a:gd name="connsiteY80-36056" fmla="*/ 3683356 h 5292022"/>
              <a:gd name="connsiteX81-36057" fmla="*/ 9067506 w 10693106"/>
              <a:gd name="connsiteY81-36058" fmla="*/ 3861156 h 5292022"/>
              <a:gd name="connsiteX82-36059" fmla="*/ 8999773 w 10693106"/>
              <a:gd name="connsiteY82-36060" fmla="*/ 3928889 h 5292022"/>
              <a:gd name="connsiteX83-36061" fmla="*/ 8813506 w 10693106"/>
              <a:gd name="connsiteY83-36062" fmla="*/ 4064356 h 5292022"/>
              <a:gd name="connsiteX84-36063" fmla="*/ 8728840 w 10693106"/>
              <a:gd name="connsiteY84-36064" fmla="*/ 4106689 h 5292022"/>
              <a:gd name="connsiteX85-36065" fmla="*/ 8373240 w 10693106"/>
              <a:gd name="connsiteY85-36066" fmla="*/ 4140556 h 5292022"/>
              <a:gd name="connsiteX86-36067" fmla="*/ 7966840 w 10693106"/>
              <a:gd name="connsiteY86-36068" fmla="*/ 4233689 h 5292022"/>
              <a:gd name="connsiteX87-36069" fmla="*/ 7687440 w 10693106"/>
              <a:gd name="connsiteY87-36070" fmla="*/ 4394556 h 5292022"/>
              <a:gd name="connsiteX88-36071" fmla="*/ 7374173 w 10693106"/>
              <a:gd name="connsiteY88-36072" fmla="*/ 4657022 h 5292022"/>
              <a:gd name="connsiteX89-36073" fmla="*/ 7374173 w 10693106"/>
              <a:gd name="connsiteY89-36074" fmla="*/ 4657022 h 5292022"/>
              <a:gd name="connsiteX90-36075" fmla="*/ 7221773 w 10693106"/>
              <a:gd name="connsiteY90-36076" fmla="*/ 4775556 h 5292022"/>
              <a:gd name="connsiteX91-36077" fmla="*/ 7027040 w 10693106"/>
              <a:gd name="connsiteY91-36078" fmla="*/ 4902556 h 5292022"/>
              <a:gd name="connsiteX92-36079" fmla="*/ 6883106 w 10693106"/>
              <a:gd name="connsiteY92-36080" fmla="*/ 4970289 h 5292022"/>
              <a:gd name="connsiteX93-36081" fmla="*/ 6815373 w 10693106"/>
              <a:gd name="connsiteY93-36082" fmla="*/ 5012622 h 5292022"/>
              <a:gd name="connsiteX94-36083" fmla="*/ 6646040 w 10693106"/>
              <a:gd name="connsiteY94-36084" fmla="*/ 5105756 h 5292022"/>
              <a:gd name="connsiteX95-36085" fmla="*/ 6527506 w 10693106"/>
              <a:gd name="connsiteY95-36086" fmla="*/ 5165022 h 5292022"/>
              <a:gd name="connsiteX96-36087" fmla="*/ 6298906 w 10693106"/>
              <a:gd name="connsiteY96-36088" fmla="*/ 5241222 h 5292022"/>
              <a:gd name="connsiteX97-36089" fmla="*/ 6197306 w 10693106"/>
              <a:gd name="connsiteY97-36090" fmla="*/ 5266622 h 5292022"/>
              <a:gd name="connsiteX98-36091" fmla="*/ 6061840 w 10693106"/>
              <a:gd name="connsiteY98-36092" fmla="*/ 5275089 h 5292022"/>
              <a:gd name="connsiteX99-36093" fmla="*/ 5917906 w 10693106"/>
              <a:gd name="connsiteY99-36094" fmla="*/ 5292022 h 5292022"/>
              <a:gd name="connsiteX100-36095" fmla="*/ 5748573 w 10693106"/>
              <a:gd name="connsiteY100-36096" fmla="*/ 5283556 h 5292022"/>
              <a:gd name="connsiteX101-36097" fmla="*/ 5282906 w 10693106"/>
              <a:gd name="connsiteY101-36098" fmla="*/ 5173489 h 5292022"/>
              <a:gd name="connsiteX102-36099" fmla="*/ 4959480 w 10693106"/>
              <a:gd name="connsiteY102-36100" fmla="*/ 4988069 h 5292022"/>
              <a:gd name="connsiteX103-36101" fmla="*/ 4686853 w 10693106"/>
              <a:gd name="connsiteY103-36102" fmla="*/ 4788256 h 5292022"/>
              <a:gd name="connsiteX104-36103" fmla="*/ 3977346 w 10693106"/>
              <a:gd name="connsiteY104-36104" fmla="*/ 4470544 h 5292022"/>
              <a:gd name="connsiteX105-36105" fmla="*/ 3741550 w 10693106"/>
              <a:gd name="connsiteY105-36106" fmla="*/ 4154102 h 5292022"/>
              <a:gd name="connsiteX106-36107" fmla="*/ 3562056 w 10693106"/>
              <a:gd name="connsiteY106-36108" fmla="*/ 3406919 h 5292022"/>
              <a:gd name="connsiteX107-36109" fmla="*/ 3242440 w 10693106"/>
              <a:gd name="connsiteY107-36110" fmla="*/ 3099156 h 5292022"/>
              <a:gd name="connsiteX108-36111" fmla="*/ 3123906 w 10693106"/>
              <a:gd name="connsiteY108-36112" fmla="*/ 2997556 h 5292022"/>
              <a:gd name="connsiteX109-36113" fmla="*/ 2988440 w 10693106"/>
              <a:gd name="connsiteY109-36114" fmla="*/ 2802822 h 5292022"/>
              <a:gd name="connsiteX110-36115" fmla="*/ 2971506 w 10693106"/>
              <a:gd name="connsiteY110-36116" fmla="*/ 2743556 h 5292022"/>
              <a:gd name="connsiteX111-36117" fmla="*/ 2996906 w 10693106"/>
              <a:gd name="connsiteY111-36118" fmla="*/ 2531889 h 5292022"/>
              <a:gd name="connsiteX112-36119" fmla="*/ 3013840 w 10693106"/>
              <a:gd name="connsiteY112-36120" fmla="*/ 2430289 h 5292022"/>
              <a:gd name="connsiteX113-36121" fmla="*/ 3005373 w 10693106"/>
              <a:gd name="connsiteY113-36122" fmla="*/ 2311756 h 5292022"/>
              <a:gd name="connsiteX114-36123" fmla="*/ 2988440 w 10693106"/>
              <a:gd name="connsiteY114-36124" fmla="*/ 2260956 h 5292022"/>
              <a:gd name="connsiteX115-36125" fmla="*/ 2802173 w 10693106"/>
              <a:gd name="connsiteY115-36126" fmla="*/ 2006956 h 5292022"/>
              <a:gd name="connsiteX116-36127" fmla="*/ 2641306 w 10693106"/>
              <a:gd name="connsiteY116-36128" fmla="*/ 1863022 h 5292022"/>
              <a:gd name="connsiteX117-36129" fmla="*/ 2590506 w 10693106"/>
              <a:gd name="connsiteY117-36130" fmla="*/ 1837622 h 5292022"/>
              <a:gd name="connsiteX118-36131" fmla="*/ 2531240 w 10693106"/>
              <a:gd name="connsiteY118-36132" fmla="*/ 1829156 h 5292022"/>
              <a:gd name="connsiteX119-36133" fmla="*/ 2446573 w 10693106"/>
              <a:gd name="connsiteY119-36134" fmla="*/ 1812222 h 5292022"/>
              <a:gd name="connsiteX120-36135" fmla="*/ 2251840 w 10693106"/>
              <a:gd name="connsiteY120-36136" fmla="*/ 1837622 h 5292022"/>
              <a:gd name="connsiteX121-36137" fmla="*/ 2167173 w 10693106"/>
              <a:gd name="connsiteY121-36138" fmla="*/ 1879956 h 5292022"/>
              <a:gd name="connsiteX122-36139" fmla="*/ 1980906 w 10693106"/>
              <a:gd name="connsiteY122-36140" fmla="*/ 1939222 h 5292022"/>
              <a:gd name="connsiteX123-36141" fmla="*/ 1904706 w 10693106"/>
              <a:gd name="connsiteY123-36142" fmla="*/ 1973089 h 5292022"/>
              <a:gd name="connsiteX124-36143" fmla="*/ 1828506 w 10693106"/>
              <a:gd name="connsiteY124-36144" fmla="*/ 1990022 h 5292022"/>
              <a:gd name="connsiteX125-36145" fmla="*/ 1726906 w 10693106"/>
              <a:gd name="connsiteY125-36146" fmla="*/ 2040822 h 5292022"/>
              <a:gd name="connsiteX126-36147" fmla="*/ 1659173 w 10693106"/>
              <a:gd name="connsiteY126-36148" fmla="*/ 2074689 h 5292022"/>
              <a:gd name="connsiteX127-36149" fmla="*/ 1498306 w 10693106"/>
              <a:gd name="connsiteY127-36150" fmla="*/ 2100089 h 5292022"/>
              <a:gd name="connsiteX128-36151" fmla="*/ 914106 w 10693106"/>
              <a:gd name="connsiteY128-36152" fmla="*/ 2032356 h 5292022"/>
              <a:gd name="connsiteX129-36153" fmla="*/ 617773 w 10693106"/>
              <a:gd name="connsiteY129-36154" fmla="*/ 1922289 h 5292022"/>
              <a:gd name="connsiteX130-36155" fmla="*/ 516173 w 10693106"/>
              <a:gd name="connsiteY130-36156" fmla="*/ 1837622 h 5292022"/>
              <a:gd name="connsiteX131-36157" fmla="*/ 355306 w 10693106"/>
              <a:gd name="connsiteY131-36158" fmla="*/ 1625956 h 5292022"/>
              <a:gd name="connsiteX132-36159" fmla="*/ 296040 w 10693106"/>
              <a:gd name="connsiteY132-36160" fmla="*/ 1524356 h 5292022"/>
              <a:gd name="connsiteX133-36161" fmla="*/ 253706 w 10693106"/>
              <a:gd name="connsiteY133-36162" fmla="*/ 1346556 h 5292022"/>
              <a:gd name="connsiteX134-36163" fmla="*/ 245240 w 10693106"/>
              <a:gd name="connsiteY134-36164" fmla="*/ 1219556 h 5292022"/>
              <a:gd name="connsiteX135-36165" fmla="*/ 236773 w 10693106"/>
              <a:gd name="connsiteY135-36166" fmla="*/ 1117956 h 5292022"/>
              <a:gd name="connsiteX136-36167" fmla="*/ 245240 w 10693106"/>
              <a:gd name="connsiteY136-36168" fmla="*/ 847022 h 5292022"/>
              <a:gd name="connsiteX137-36169" fmla="*/ 236773 w 10693106"/>
              <a:gd name="connsiteY137-36170" fmla="*/ 703089 h 5292022"/>
              <a:gd name="connsiteX138-36171" fmla="*/ 109773 w 10693106"/>
              <a:gd name="connsiteY138-36172" fmla="*/ 559156 h 5292022"/>
              <a:gd name="connsiteX139-36173" fmla="*/ 58973 w 10693106"/>
              <a:gd name="connsiteY139-36174" fmla="*/ 482956 h 5292022"/>
              <a:gd name="connsiteX140-36175" fmla="*/ 16640 w 10693106"/>
              <a:gd name="connsiteY140-36176" fmla="*/ 432156 h 5292022"/>
              <a:gd name="connsiteX141-36177" fmla="*/ 8173 w 10693106"/>
              <a:gd name="connsiteY141-36178" fmla="*/ 389822 h 5292022"/>
              <a:gd name="connsiteX142-36179" fmla="*/ 16640 w 10693106"/>
              <a:gd name="connsiteY142-36180" fmla="*/ 339022 h 5292022"/>
              <a:gd name="connsiteX0-36181" fmla="*/ 16640 w 10693106"/>
              <a:gd name="connsiteY0-36182" fmla="*/ 339022 h 5292022"/>
              <a:gd name="connsiteX1-36183" fmla="*/ 58973 w 10693106"/>
              <a:gd name="connsiteY1-36184" fmla="*/ 245889 h 5292022"/>
              <a:gd name="connsiteX2-36185" fmla="*/ 109773 w 10693106"/>
              <a:gd name="connsiteY2-36186" fmla="*/ 178156 h 5292022"/>
              <a:gd name="connsiteX3-36187" fmla="*/ 202906 w 10693106"/>
              <a:gd name="connsiteY3-36188" fmla="*/ 93489 h 5292022"/>
              <a:gd name="connsiteX4-36189" fmla="*/ 236773 w 10693106"/>
              <a:gd name="connsiteY4-36190" fmla="*/ 68089 h 5292022"/>
              <a:gd name="connsiteX5-36191" fmla="*/ 335410 w 10693106"/>
              <a:gd name="connsiteY5-36192" fmla="*/ 58352 h 5292022"/>
              <a:gd name="connsiteX6-36193" fmla="*/ 382400 w 10693106"/>
              <a:gd name="connsiteY6-36194" fmla="*/ 51156 h 5292022"/>
              <a:gd name="connsiteX7-36195" fmla="*/ 434912 w 10693106"/>
              <a:gd name="connsiteY7-36196" fmla="*/ 70071 h 5292022"/>
              <a:gd name="connsiteX8-36197" fmla="*/ 492697 w 10693106"/>
              <a:gd name="connsiteY8-36198" fmla="*/ 74247 h 5292022"/>
              <a:gd name="connsiteX9-36199" fmla="*/ 822897 w 10693106"/>
              <a:gd name="connsiteY9-36200" fmla="*/ 82713 h 5292022"/>
              <a:gd name="connsiteX10-36201" fmla="*/ 1091906 w 10693106"/>
              <a:gd name="connsiteY10-36202" fmla="*/ 356 h 5292022"/>
              <a:gd name="connsiteX11-36203" fmla="*/ 1235840 w 10693106"/>
              <a:gd name="connsiteY11-36204" fmla="*/ 59622 h 5292022"/>
              <a:gd name="connsiteX12-36205" fmla="*/ 1337440 w 10693106"/>
              <a:gd name="connsiteY12-36206" fmla="*/ 135822 h 5292022"/>
              <a:gd name="connsiteX13-36207" fmla="*/ 1422106 w 10693106"/>
              <a:gd name="connsiteY13-36208" fmla="*/ 245889 h 5292022"/>
              <a:gd name="connsiteX14-36209" fmla="*/ 1481373 w 10693106"/>
              <a:gd name="connsiteY14-36210" fmla="*/ 313622 h 5292022"/>
              <a:gd name="connsiteX15-36211" fmla="*/ 1532173 w 10693106"/>
              <a:gd name="connsiteY15-36212" fmla="*/ 347489 h 5292022"/>
              <a:gd name="connsiteX16-36213" fmla="*/ 1684573 w 10693106"/>
              <a:gd name="connsiteY16-36214" fmla="*/ 406756 h 5292022"/>
              <a:gd name="connsiteX17-36215" fmla="*/ 1760773 w 10693106"/>
              <a:gd name="connsiteY17-36216" fmla="*/ 423689 h 5292022"/>
              <a:gd name="connsiteX18-36217" fmla="*/ 1997840 w 10693106"/>
              <a:gd name="connsiteY18-36218" fmla="*/ 415222 h 5292022"/>
              <a:gd name="connsiteX19-36219" fmla="*/ 2116373 w 10693106"/>
              <a:gd name="connsiteY19-36220" fmla="*/ 398289 h 5292022"/>
              <a:gd name="connsiteX20-36221" fmla="*/ 2260306 w 10693106"/>
              <a:gd name="connsiteY20-36222" fmla="*/ 381356 h 5292022"/>
              <a:gd name="connsiteX21-36223" fmla="*/ 2404240 w 10693106"/>
              <a:gd name="connsiteY21-36224" fmla="*/ 355956 h 5292022"/>
              <a:gd name="connsiteX22-36225" fmla="*/ 2455040 w 10693106"/>
              <a:gd name="connsiteY22-36226" fmla="*/ 330556 h 5292022"/>
              <a:gd name="connsiteX23-36227" fmla="*/ 2531240 w 10693106"/>
              <a:gd name="connsiteY23-36228" fmla="*/ 305156 h 5292022"/>
              <a:gd name="connsiteX24-36229" fmla="*/ 2649350 w 10693106"/>
              <a:gd name="connsiteY24-36230" fmla="*/ 225781 h 5292022"/>
              <a:gd name="connsiteX25-36231" fmla="*/ 2742906 w 10693106"/>
              <a:gd name="connsiteY25-36232" fmla="*/ 186622 h 5292022"/>
              <a:gd name="connsiteX26-36233" fmla="*/ 2764920 w 10693106"/>
              <a:gd name="connsiteY26-36234" fmla="*/ 173076 h 5292022"/>
              <a:gd name="connsiteX27-36235" fmla="*/ 2832653 w 10693106"/>
              <a:gd name="connsiteY27-36236" fmla="*/ 167996 h 5292022"/>
              <a:gd name="connsiteX28-36237" fmla="*/ 3002294 w 10693106"/>
              <a:gd name="connsiteY28-36238" fmla="*/ 154680 h 5292022"/>
              <a:gd name="connsiteX29-36239" fmla="*/ 3142763 w 10693106"/>
              <a:gd name="connsiteY29-36240" fmla="*/ 110421 h 5292022"/>
              <a:gd name="connsiteX30-36241" fmla="*/ 3398918 w 10693106"/>
              <a:gd name="connsiteY30-36242" fmla="*/ 72322 h 5292022"/>
              <a:gd name="connsiteX31-36243" fmla="*/ 3606506 w 10693106"/>
              <a:gd name="connsiteY31-36244" fmla="*/ 60393 h 5292022"/>
              <a:gd name="connsiteX32-36245" fmla="*/ 3682706 w 10693106"/>
              <a:gd name="connsiteY32-36246" fmla="*/ 79942 h 5292022"/>
              <a:gd name="connsiteX33-36247" fmla="*/ 3741973 w 10693106"/>
              <a:gd name="connsiteY33-36248" fmla="*/ 86561 h 5292022"/>
              <a:gd name="connsiteX34-36249" fmla="*/ 3833625 w 10693106"/>
              <a:gd name="connsiteY34-36250" fmla="*/ 110846 h 5292022"/>
              <a:gd name="connsiteX35-36251" fmla="*/ 3976923 w 10693106"/>
              <a:gd name="connsiteY35-36252" fmla="*/ 135187 h 5292022"/>
              <a:gd name="connsiteX36-36253" fmla="*/ 4021373 w 10693106"/>
              <a:gd name="connsiteY36-36254" fmla="*/ 144289 h 5292022"/>
              <a:gd name="connsiteX37-36255" fmla="*/ 4529373 w 10693106"/>
              <a:gd name="connsiteY37-36256" fmla="*/ 271289 h 5292022"/>
              <a:gd name="connsiteX38-36257" fmla="*/ 5630810 w 10693106"/>
              <a:gd name="connsiteY38-36258" fmla="*/ 1149898 h 5292022"/>
              <a:gd name="connsiteX39-36259" fmla="*/ 6881490 w 10693106"/>
              <a:gd name="connsiteY39-36260" fmla="*/ 1366452 h 5292022"/>
              <a:gd name="connsiteX40-36261" fmla="*/ 7839032 w 10693106"/>
              <a:gd name="connsiteY40-36262" fmla="*/ 1183996 h 5292022"/>
              <a:gd name="connsiteX41-36263" fmla="*/ 8652640 w 10693106"/>
              <a:gd name="connsiteY41-36264" fmla="*/ 677689 h 5292022"/>
              <a:gd name="connsiteX42-36265" fmla="*/ 8982840 w 10693106"/>
              <a:gd name="connsiteY42-36266" fmla="*/ 398289 h 5292022"/>
              <a:gd name="connsiteX43-36267" fmla="*/ 9380773 w 10693106"/>
              <a:gd name="connsiteY43-36268" fmla="*/ 355956 h 5292022"/>
              <a:gd name="connsiteX44-36269" fmla="*/ 9744840 w 10693106"/>
              <a:gd name="connsiteY44-36270" fmla="*/ 466022 h 5292022"/>
              <a:gd name="connsiteX45-36271" fmla="*/ 9888773 w 10693106"/>
              <a:gd name="connsiteY45-36272" fmla="*/ 508356 h 5292022"/>
              <a:gd name="connsiteX46-36273" fmla="*/ 9998840 w 10693106"/>
              <a:gd name="connsiteY46-36274" fmla="*/ 559156 h 5292022"/>
              <a:gd name="connsiteX47-36275" fmla="*/ 10083506 w 10693106"/>
              <a:gd name="connsiteY47-36276" fmla="*/ 618422 h 5292022"/>
              <a:gd name="connsiteX48-36277" fmla="*/ 10286706 w 10693106"/>
              <a:gd name="connsiteY48-36278" fmla="*/ 686156 h 5292022"/>
              <a:gd name="connsiteX49-36279" fmla="*/ 10388306 w 10693106"/>
              <a:gd name="connsiteY49-36280" fmla="*/ 889356 h 5292022"/>
              <a:gd name="connsiteX50-36281" fmla="*/ 10540706 w 10693106"/>
              <a:gd name="connsiteY50-36282" fmla="*/ 1261889 h 5292022"/>
              <a:gd name="connsiteX51-36283" fmla="*/ 10557640 w 10693106"/>
              <a:gd name="connsiteY51-36284" fmla="*/ 1346556 h 5292022"/>
              <a:gd name="connsiteX52-36285" fmla="*/ 10583040 w 10693106"/>
              <a:gd name="connsiteY52-36286" fmla="*/ 1448156 h 5292022"/>
              <a:gd name="connsiteX53-36287" fmla="*/ 10616906 w 10693106"/>
              <a:gd name="connsiteY53-36288" fmla="*/ 1651356 h 5292022"/>
              <a:gd name="connsiteX54-36289" fmla="*/ 10633840 w 10693106"/>
              <a:gd name="connsiteY54-36290" fmla="*/ 1736022 h 5292022"/>
              <a:gd name="connsiteX55-36291" fmla="*/ 10650773 w 10693106"/>
              <a:gd name="connsiteY55-36292" fmla="*/ 1769889 h 5292022"/>
              <a:gd name="connsiteX56-36293" fmla="*/ 10676173 w 10693106"/>
              <a:gd name="connsiteY56-36294" fmla="*/ 1854556 h 5292022"/>
              <a:gd name="connsiteX57-36295" fmla="*/ 10693106 w 10693106"/>
              <a:gd name="connsiteY57-36296" fmla="*/ 2006956 h 5292022"/>
              <a:gd name="connsiteX58-36297" fmla="*/ 10625373 w 10693106"/>
              <a:gd name="connsiteY58-36298" fmla="*/ 2227089 h 5292022"/>
              <a:gd name="connsiteX59-36299" fmla="*/ 10608440 w 10693106"/>
              <a:gd name="connsiteY59-36300" fmla="*/ 2252489 h 5292022"/>
              <a:gd name="connsiteX60-36301" fmla="*/ 10540706 w 10693106"/>
              <a:gd name="connsiteY60-36302" fmla="*/ 2396422 h 5292022"/>
              <a:gd name="connsiteX61-36303" fmla="*/ 10498373 w 10693106"/>
              <a:gd name="connsiteY61-36304" fmla="*/ 2481089 h 5292022"/>
              <a:gd name="connsiteX62-36305" fmla="*/ 10439106 w 10693106"/>
              <a:gd name="connsiteY62-36306" fmla="*/ 2667356 h 5292022"/>
              <a:gd name="connsiteX63-36307" fmla="*/ 10430640 w 10693106"/>
              <a:gd name="connsiteY63-36308" fmla="*/ 2709689 h 5292022"/>
              <a:gd name="connsiteX64-36309" fmla="*/ 10405240 w 10693106"/>
              <a:gd name="connsiteY64-36310" fmla="*/ 2785889 h 5292022"/>
              <a:gd name="connsiteX65-36311" fmla="*/ 10396773 w 10693106"/>
              <a:gd name="connsiteY65-36312" fmla="*/ 2819756 h 5292022"/>
              <a:gd name="connsiteX66-36313" fmla="*/ 10362906 w 10693106"/>
              <a:gd name="connsiteY66-36314" fmla="*/ 2912889 h 5292022"/>
              <a:gd name="connsiteX67-36315" fmla="*/ 10329040 w 10693106"/>
              <a:gd name="connsiteY67-36316" fmla="*/ 2955222 h 5292022"/>
              <a:gd name="connsiteX68-36317" fmla="*/ 10227440 w 10693106"/>
              <a:gd name="connsiteY68-36318" fmla="*/ 3056822 h 5292022"/>
              <a:gd name="connsiteX69-36319" fmla="*/ 10168173 w 10693106"/>
              <a:gd name="connsiteY69-36320" fmla="*/ 3124556 h 5292022"/>
              <a:gd name="connsiteX70-36321" fmla="*/ 10117373 w 10693106"/>
              <a:gd name="connsiteY70-36322" fmla="*/ 3175356 h 5292022"/>
              <a:gd name="connsiteX71-36323" fmla="*/ 10032706 w 10693106"/>
              <a:gd name="connsiteY71-36324" fmla="*/ 3276956 h 5292022"/>
              <a:gd name="connsiteX72-36325" fmla="*/ 9948040 w 10693106"/>
              <a:gd name="connsiteY72-36326" fmla="*/ 3336222 h 5292022"/>
              <a:gd name="connsiteX73-36327" fmla="*/ 9905706 w 10693106"/>
              <a:gd name="connsiteY73-36328" fmla="*/ 3361622 h 5292022"/>
              <a:gd name="connsiteX74-36329" fmla="*/ 9829506 w 10693106"/>
              <a:gd name="connsiteY74-36330" fmla="*/ 3378556 h 5292022"/>
              <a:gd name="connsiteX75-36331" fmla="*/ 9727906 w 10693106"/>
              <a:gd name="connsiteY75-36332" fmla="*/ 3420889 h 5292022"/>
              <a:gd name="connsiteX76-36333" fmla="*/ 9634773 w 10693106"/>
              <a:gd name="connsiteY76-36334" fmla="*/ 3446289 h 5292022"/>
              <a:gd name="connsiteX77-36335" fmla="*/ 9456973 w 10693106"/>
              <a:gd name="connsiteY77-36336" fmla="*/ 3539422 h 5292022"/>
              <a:gd name="connsiteX78-36337" fmla="*/ 9313040 w 10693106"/>
              <a:gd name="connsiteY78-36338" fmla="*/ 3666422 h 5292022"/>
              <a:gd name="connsiteX79-36339" fmla="*/ 9279173 w 10693106"/>
              <a:gd name="connsiteY79-36340" fmla="*/ 3683356 h 5292022"/>
              <a:gd name="connsiteX80-36341" fmla="*/ 9067506 w 10693106"/>
              <a:gd name="connsiteY80-36342" fmla="*/ 3861156 h 5292022"/>
              <a:gd name="connsiteX81-36343" fmla="*/ 8999773 w 10693106"/>
              <a:gd name="connsiteY81-36344" fmla="*/ 3928889 h 5292022"/>
              <a:gd name="connsiteX82-36345" fmla="*/ 8813506 w 10693106"/>
              <a:gd name="connsiteY82-36346" fmla="*/ 4064356 h 5292022"/>
              <a:gd name="connsiteX83-36347" fmla="*/ 8728840 w 10693106"/>
              <a:gd name="connsiteY83-36348" fmla="*/ 4106689 h 5292022"/>
              <a:gd name="connsiteX84-36349" fmla="*/ 8373240 w 10693106"/>
              <a:gd name="connsiteY84-36350" fmla="*/ 4140556 h 5292022"/>
              <a:gd name="connsiteX85-36351" fmla="*/ 7966840 w 10693106"/>
              <a:gd name="connsiteY85-36352" fmla="*/ 4233689 h 5292022"/>
              <a:gd name="connsiteX86-36353" fmla="*/ 7687440 w 10693106"/>
              <a:gd name="connsiteY86-36354" fmla="*/ 4394556 h 5292022"/>
              <a:gd name="connsiteX87-36355" fmla="*/ 7374173 w 10693106"/>
              <a:gd name="connsiteY87-36356" fmla="*/ 4657022 h 5292022"/>
              <a:gd name="connsiteX88-36357" fmla="*/ 7374173 w 10693106"/>
              <a:gd name="connsiteY88-36358" fmla="*/ 4657022 h 5292022"/>
              <a:gd name="connsiteX89-36359" fmla="*/ 7221773 w 10693106"/>
              <a:gd name="connsiteY89-36360" fmla="*/ 4775556 h 5292022"/>
              <a:gd name="connsiteX90-36361" fmla="*/ 7027040 w 10693106"/>
              <a:gd name="connsiteY90-36362" fmla="*/ 4902556 h 5292022"/>
              <a:gd name="connsiteX91-36363" fmla="*/ 6883106 w 10693106"/>
              <a:gd name="connsiteY91-36364" fmla="*/ 4970289 h 5292022"/>
              <a:gd name="connsiteX92-36365" fmla="*/ 6815373 w 10693106"/>
              <a:gd name="connsiteY92-36366" fmla="*/ 5012622 h 5292022"/>
              <a:gd name="connsiteX93-36367" fmla="*/ 6646040 w 10693106"/>
              <a:gd name="connsiteY93-36368" fmla="*/ 5105756 h 5292022"/>
              <a:gd name="connsiteX94-36369" fmla="*/ 6527506 w 10693106"/>
              <a:gd name="connsiteY94-36370" fmla="*/ 5165022 h 5292022"/>
              <a:gd name="connsiteX95-36371" fmla="*/ 6298906 w 10693106"/>
              <a:gd name="connsiteY95-36372" fmla="*/ 5241222 h 5292022"/>
              <a:gd name="connsiteX96-36373" fmla="*/ 6197306 w 10693106"/>
              <a:gd name="connsiteY96-36374" fmla="*/ 5266622 h 5292022"/>
              <a:gd name="connsiteX97-36375" fmla="*/ 6061840 w 10693106"/>
              <a:gd name="connsiteY97-36376" fmla="*/ 5275089 h 5292022"/>
              <a:gd name="connsiteX98-36377" fmla="*/ 5917906 w 10693106"/>
              <a:gd name="connsiteY98-36378" fmla="*/ 5292022 h 5292022"/>
              <a:gd name="connsiteX99-36379" fmla="*/ 5748573 w 10693106"/>
              <a:gd name="connsiteY99-36380" fmla="*/ 5283556 h 5292022"/>
              <a:gd name="connsiteX100-36381" fmla="*/ 5282906 w 10693106"/>
              <a:gd name="connsiteY100-36382" fmla="*/ 5173489 h 5292022"/>
              <a:gd name="connsiteX101-36383" fmla="*/ 4959480 w 10693106"/>
              <a:gd name="connsiteY101-36384" fmla="*/ 4988069 h 5292022"/>
              <a:gd name="connsiteX102-36385" fmla="*/ 4686853 w 10693106"/>
              <a:gd name="connsiteY102-36386" fmla="*/ 4788256 h 5292022"/>
              <a:gd name="connsiteX103-36387" fmla="*/ 3977346 w 10693106"/>
              <a:gd name="connsiteY103-36388" fmla="*/ 4470544 h 5292022"/>
              <a:gd name="connsiteX104-36389" fmla="*/ 3741550 w 10693106"/>
              <a:gd name="connsiteY104-36390" fmla="*/ 4154102 h 5292022"/>
              <a:gd name="connsiteX105-36391" fmla="*/ 3562056 w 10693106"/>
              <a:gd name="connsiteY105-36392" fmla="*/ 3406919 h 5292022"/>
              <a:gd name="connsiteX106-36393" fmla="*/ 3242440 w 10693106"/>
              <a:gd name="connsiteY106-36394" fmla="*/ 3099156 h 5292022"/>
              <a:gd name="connsiteX107-36395" fmla="*/ 3123906 w 10693106"/>
              <a:gd name="connsiteY107-36396" fmla="*/ 2997556 h 5292022"/>
              <a:gd name="connsiteX108-36397" fmla="*/ 2988440 w 10693106"/>
              <a:gd name="connsiteY108-36398" fmla="*/ 2802822 h 5292022"/>
              <a:gd name="connsiteX109-36399" fmla="*/ 2971506 w 10693106"/>
              <a:gd name="connsiteY109-36400" fmla="*/ 2743556 h 5292022"/>
              <a:gd name="connsiteX110-36401" fmla="*/ 2996906 w 10693106"/>
              <a:gd name="connsiteY110-36402" fmla="*/ 2531889 h 5292022"/>
              <a:gd name="connsiteX111-36403" fmla="*/ 3013840 w 10693106"/>
              <a:gd name="connsiteY111-36404" fmla="*/ 2430289 h 5292022"/>
              <a:gd name="connsiteX112-36405" fmla="*/ 3005373 w 10693106"/>
              <a:gd name="connsiteY112-36406" fmla="*/ 2311756 h 5292022"/>
              <a:gd name="connsiteX113-36407" fmla="*/ 2988440 w 10693106"/>
              <a:gd name="connsiteY113-36408" fmla="*/ 2260956 h 5292022"/>
              <a:gd name="connsiteX114-36409" fmla="*/ 2802173 w 10693106"/>
              <a:gd name="connsiteY114-36410" fmla="*/ 2006956 h 5292022"/>
              <a:gd name="connsiteX115-36411" fmla="*/ 2641306 w 10693106"/>
              <a:gd name="connsiteY115-36412" fmla="*/ 1863022 h 5292022"/>
              <a:gd name="connsiteX116-36413" fmla="*/ 2590506 w 10693106"/>
              <a:gd name="connsiteY116-36414" fmla="*/ 1837622 h 5292022"/>
              <a:gd name="connsiteX117-36415" fmla="*/ 2531240 w 10693106"/>
              <a:gd name="connsiteY117-36416" fmla="*/ 1829156 h 5292022"/>
              <a:gd name="connsiteX118-36417" fmla="*/ 2446573 w 10693106"/>
              <a:gd name="connsiteY118-36418" fmla="*/ 1812222 h 5292022"/>
              <a:gd name="connsiteX119-36419" fmla="*/ 2251840 w 10693106"/>
              <a:gd name="connsiteY119-36420" fmla="*/ 1837622 h 5292022"/>
              <a:gd name="connsiteX120-36421" fmla="*/ 2167173 w 10693106"/>
              <a:gd name="connsiteY120-36422" fmla="*/ 1879956 h 5292022"/>
              <a:gd name="connsiteX121-36423" fmla="*/ 1980906 w 10693106"/>
              <a:gd name="connsiteY121-36424" fmla="*/ 1939222 h 5292022"/>
              <a:gd name="connsiteX122-36425" fmla="*/ 1904706 w 10693106"/>
              <a:gd name="connsiteY122-36426" fmla="*/ 1973089 h 5292022"/>
              <a:gd name="connsiteX123-36427" fmla="*/ 1828506 w 10693106"/>
              <a:gd name="connsiteY123-36428" fmla="*/ 1990022 h 5292022"/>
              <a:gd name="connsiteX124-36429" fmla="*/ 1726906 w 10693106"/>
              <a:gd name="connsiteY124-36430" fmla="*/ 2040822 h 5292022"/>
              <a:gd name="connsiteX125-36431" fmla="*/ 1659173 w 10693106"/>
              <a:gd name="connsiteY125-36432" fmla="*/ 2074689 h 5292022"/>
              <a:gd name="connsiteX126-36433" fmla="*/ 1498306 w 10693106"/>
              <a:gd name="connsiteY126-36434" fmla="*/ 2100089 h 5292022"/>
              <a:gd name="connsiteX127-36435" fmla="*/ 914106 w 10693106"/>
              <a:gd name="connsiteY127-36436" fmla="*/ 2032356 h 5292022"/>
              <a:gd name="connsiteX128-36437" fmla="*/ 617773 w 10693106"/>
              <a:gd name="connsiteY128-36438" fmla="*/ 1922289 h 5292022"/>
              <a:gd name="connsiteX129-36439" fmla="*/ 516173 w 10693106"/>
              <a:gd name="connsiteY129-36440" fmla="*/ 1837622 h 5292022"/>
              <a:gd name="connsiteX130-36441" fmla="*/ 355306 w 10693106"/>
              <a:gd name="connsiteY130-36442" fmla="*/ 1625956 h 5292022"/>
              <a:gd name="connsiteX131-36443" fmla="*/ 296040 w 10693106"/>
              <a:gd name="connsiteY131-36444" fmla="*/ 1524356 h 5292022"/>
              <a:gd name="connsiteX132-36445" fmla="*/ 253706 w 10693106"/>
              <a:gd name="connsiteY132-36446" fmla="*/ 1346556 h 5292022"/>
              <a:gd name="connsiteX133-36447" fmla="*/ 245240 w 10693106"/>
              <a:gd name="connsiteY133-36448" fmla="*/ 1219556 h 5292022"/>
              <a:gd name="connsiteX134-36449" fmla="*/ 236773 w 10693106"/>
              <a:gd name="connsiteY134-36450" fmla="*/ 1117956 h 5292022"/>
              <a:gd name="connsiteX135-36451" fmla="*/ 245240 w 10693106"/>
              <a:gd name="connsiteY135-36452" fmla="*/ 847022 h 5292022"/>
              <a:gd name="connsiteX136-36453" fmla="*/ 236773 w 10693106"/>
              <a:gd name="connsiteY136-36454" fmla="*/ 703089 h 5292022"/>
              <a:gd name="connsiteX137-36455" fmla="*/ 109773 w 10693106"/>
              <a:gd name="connsiteY137-36456" fmla="*/ 559156 h 5292022"/>
              <a:gd name="connsiteX138-36457" fmla="*/ 58973 w 10693106"/>
              <a:gd name="connsiteY138-36458" fmla="*/ 482956 h 5292022"/>
              <a:gd name="connsiteX139-36459" fmla="*/ 16640 w 10693106"/>
              <a:gd name="connsiteY139-36460" fmla="*/ 432156 h 5292022"/>
              <a:gd name="connsiteX140-36461" fmla="*/ 8173 w 10693106"/>
              <a:gd name="connsiteY140-36462" fmla="*/ 389822 h 5292022"/>
              <a:gd name="connsiteX141-36463" fmla="*/ 16640 w 10693106"/>
              <a:gd name="connsiteY141-36464" fmla="*/ 339022 h 5292022"/>
              <a:gd name="connsiteX0-36465" fmla="*/ 16640 w 10693106"/>
              <a:gd name="connsiteY0-36466" fmla="*/ 339022 h 5292022"/>
              <a:gd name="connsiteX1-36467" fmla="*/ 58973 w 10693106"/>
              <a:gd name="connsiteY1-36468" fmla="*/ 245889 h 5292022"/>
              <a:gd name="connsiteX2-36469" fmla="*/ 109773 w 10693106"/>
              <a:gd name="connsiteY2-36470" fmla="*/ 178156 h 5292022"/>
              <a:gd name="connsiteX3-36471" fmla="*/ 202906 w 10693106"/>
              <a:gd name="connsiteY3-36472" fmla="*/ 93489 h 5292022"/>
              <a:gd name="connsiteX4-36473" fmla="*/ 236773 w 10693106"/>
              <a:gd name="connsiteY4-36474" fmla="*/ 68089 h 5292022"/>
              <a:gd name="connsiteX5-36475" fmla="*/ 335410 w 10693106"/>
              <a:gd name="connsiteY5-36476" fmla="*/ 58352 h 5292022"/>
              <a:gd name="connsiteX6-36477" fmla="*/ 382400 w 10693106"/>
              <a:gd name="connsiteY6-36478" fmla="*/ 51156 h 5292022"/>
              <a:gd name="connsiteX7-36479" fmla="*/ 434912 w 10693106"/>
              <a:gd name="connsiteY7-36480" fmla="*/ 70071 h 5292022"/>
              <a:gd name="connsiteX8-36481" fmla="*/ 492697 w 10693106"/>
              <a:gd name="connsiteY8-36482" fmla="*/ 74247 h 5292022"/>
              <a:gd name="connsiteX9-36483" fmla="*/ 822897 w 10693106"/>
              <a:gd name="connsiteY9-36484" fmla="*/ 82713 h 5292022"/>
              <a:gd name="connsiteX10-36485" fmla="*/ 1091906 w 10693106"/>
              <a:gd name="connsiteY10-36486" fmla="*/ 356 h 5292022"/>
              <a:gd name="connsiteX11-36487" fmla="*/ 1235840 w 10693106"/>
              <a:gd name="connsiteY11-36488" fmla="*/ 59622 h 5292022"/>
              <a:gd name="connsiteX12-36489" fmla="*/ 1337440 w 10693106"/>
              <a:gd name="connsiteY12-36490" fmla="*/ 135822 h 5292022"/>
              <a:gd name="connsiteX13-36491" fmla="*/ 1422106 w 10693106"/>
              <a:gd name="connsiteY13-36492" fmla="*/ 245889 h 5292022"/>
              <a:gd name="connsiteX14-36493" fmla="*/ 1481373 w 10693106"/>
              <a:gd name="connsiteY14-36494" fmla="*/ 313622 h 5292022"/>
              <a:gd name="connsiteX15-36495" fmla="*/ 1532173 w 10693106"/>
              <a:gd name="connsiteY15-36496" fmla="*/ 347489 h 5292022"/>
              <a:gd name="connsiteX16-36497" fmla="*/ 1684573 w 10693106"/>
              <a:gd name="connsiteY16-36498" fmla="*/ 406756 h 5292022"/>
              <a:gd name="connsiteX17-36499" fmla="*/ 1760773 w 10693106"/>
              <a:gd name="connsiteY17-36500" fmla="*/ 423689 h 5292022"/>
              <a:gd name="connsiteX18-36501" fmla="*/ 1997840 w 10693106"/>
              <a:gd name="connsiteY18-36502" fmla="*/ 415222 h 5292022"/>
              <a:gd name="connsiteX19-36503" fmla="*/ 2116373 w 10693106"/>
              <a:gd name="connsiteY19-36504" fmla="*/ 398289 h 5292022"/>
              <a:gd name="connsiteX20-36505" fmla="*/ 2260306 w 10693106"/>
              <a:gd name="connsiteY20-36506" fmla="*/ 381356 h 5292022"/>
              <a:gd name="connsiteX21-36507" fmla="*/ 2404240 w 10693106"/>
              <a:gd name="connsiteY21-36508" fmla="*/ 355956 h 5292022"/>
              <a:gd name="connsiteX22-36509" fmla="*/ 2455040 w 10693106"/>
              <a:gd name="connsiteY22-36510" fmla="*/ 330556 h 5292022"/>
              <a:gd name="connsiteX23-36511" fmla="*/ 2531240 w 10693106"/>
              <a:gd name="connsiteY23-36512" fmla="*/ 305156 h 5292022"/>
              <a:gd name="connsiteX24-36513" fmla="*/ 2649350 w 10693106"/>
              <a:gd name="connsiteY24-36514" fmla="*/ 225781 h 5292022"/>
              <a:gd name="connsiteX25-36515" fmla="*/ 2742906 w 10693106"/>
              <a:gd name="connsiteY25-36516" fmla="*/ 186622 h 5292022"/>
              <a:gd name="connsiteX26-36517" fmla="*/ 2764920 w 10693106"/>
              <a:gd name="connsiteY26-36518" fmla="*/ 173076 h 5292022"/>
              <a:gd name="connsiteX27-36519" fmla="*/ 2832653 w 10693106"/>
              <a:gd name="connsiteY27-36520" fmla="*/ 167996 h 5292022"/>
              <a:gd name="connsiteX28-36521" fmla="*/ 3002294 w 10693106"/>
              <a:gd name="connsiteY28-36522" fmla="*/ 154680 h 5292022"/>
              <a:gd name="connsiteX29-36523" fmla="*/ 3142763 w 10693106"/>
              <a:gd name="connsiteY29-36524" fmla="*/ 110421 h 5292022"/>
              <a:gd name="connsiteX30-36525" fmla="*/ 3398918 w 10693106"/>
              <a:gd name="connsiteY30-36526" fmla="*/ 72322 h 5292022"/>
              <a:gd name="connsiteX31-36527" fmla="*/ 3606506 w 10693106"/>
              <a:gd name="connsiteY31-36528" fmla="*/ 60393 h 5292022"/>
              <a:gd name="connsiteX32-36529" fmla="*/ 3682706 w 10693106"/>
              <a:gd name="connsiteY32-36530" fmla="*/ 79942 h 5292022"/>
              <a:gd name="connsiteX33-36531" fmla="*/ 3833625 w 10693106"/>
              <a:gd name="connsiteY33-36532" fmla="*/ 110846 h 5292022"/>
              <a:gd name="connsiteX34-36533" fmla="*/ 3976923 w 10693106"/>
              <a:gd name="connsiteY34-36534" fmla="*/ 135187 h 5292022"/>
              <a:gd name="connsiteX35-36535" fmla="*/ 4021373 w 10693106"/>
              <a:gd name="connsiteY35-36536" fmla="*/ 144289 h 5292022"/>
              <a:gd name="connsiteX36-36537" fmla="*/ 4529373 w 10693106"/>
              <a:gd name="connsiteY36-36538" fmla="*/ 271289 h 5292022"/>
              <a:gd name="connsiteX37-36539" fmla="*/ 5630810 w 10693106"/>
              <a:gd name="connsiteY37-36540" fmla="*/ 1149898 h 5292022"/>
              <a:gd name="connsiteX38-36541" fmla="*/ 6881490 w 10693106"/>
              <a:gd name="connsiteY38-36542" fmla="*/ 1366452 h 5292022"/>
              <a:gd name="connsiteX39-36543" fmla="*/ 7839032 w 10693106"/>
              <a:gd name="connsiteY39-36544" fmla="*/ 1183996 h 5292022"/>
              <a:gd name="connsiteX40-36545" fmla="*/ 8652640 w 10693106"/>
              <a:gd name="connsiteY40-36546" fmla="*/ 677689 h 5292022"/>
              <a:gd name="connsiteX41-36547" fmla="*/ 8982840 w 10693106"/>
              <a:gd name="connsiteY41-36548" fmla="*/ 398289 h 5292022"/>
              <a:gd name="connsiteX42-36549" fmla="*/ 9380773 w 10693106"/>
              <a:gd name="connsiteY42-36550" fmla="*/ 355956 h 5292022"/>
              <a:gd name="connsiteX43-36551" fmla="*/ 9744840 w 10693106"/>
              <a:gd name="connsiteY43-36552" fmla="*/ 466022 h 5292022"/>
              <a:gd name="connsiteX44-36553" fmla="*/ 9888773 w 10693106"/>
              <a:gd name="connsiteY44-36554" fmla="*/ 508356 h 5292022"/>
              <a:gd name="connsiteX45-36555" fmla="*/ 9998840 w 10693106"/>
              <a:gd name="connsiteY45-36556" fmla="*/ 559156 h 5292022"/>
              <a:gd name="connsiteX46-36557" fmla="*/ 10083506 w 10693106"/>
              <a:gd name="connsiteY46-36558" fmla="*/ 618422 h 5292022"/>
              <a:gd name="connsiteX47-36559" fmla="*/ 10286706 w 10693106"/>
              <a:gd name="connsiteY47-36560" fmla="*/ 686156 h 5292022"/>
              <a:gd name="connsiteX48-36561" fmla="*/ 10388306 w 10693106"/>
              <a:gd name="connsiteY48-36562" fmla="*/ 889356 h 5292022"/>
              <a:gd name="connsiteX49-36563" fmla="*/ 10540706 w 10693106"/>
              <a:gd name="connsiteY49-36564" fmla="*/ 1261889 h 5292022"/>
              <a:gd name="connsiteX50-36565" fmla="*/ 10557640 w 10693106"/>
              <a:gd name="connsiteY50-36566" fmla="*/ 1346556 h 5292022"/>
              <a:gd name="connsiteX51-36567" fmla="*/ 10583040 w 10693106"/>
              <a:gd name="connsiteY51-36568" fmla="*/ 1448156 h 5292022"/>
              <a:gd name="connsiteX52-36569" fmla="*/ 10616906 w 10693106"/>
              <a:gd name="connsiteY52-36570" fmla="*/ 1651356 h 5292022"/>
              <a:gd name="connsiteX53-36571" fmla="*/ 10633840 w 10693106"/>
              <a:gd name="connsiteY53-36572" fmla="*/ 1736022 h 5292022"/>
              <a:gd name="connsiteX54-36573" fmla="*/ 10650773 w 10693106"/>
              <a:gd name="connsiteY54-36574" fmla="*/ 1769889 h 5292022"/>
              <a:gd name="connsiteX55-36575" fmla="*/ 10676173 w 10693106"/>
              <a:gd name="connsiteY55-36576" fmla="*/ 1854556 h 5292022"/>
              <a:gd name="connsiteX56-36577" fmla="*/ 10693106 w 10693106"/>
              <a:gd name="connsiteY56-36578" fmla="*/ 2006956 h 5292022"/>
              <a:gd name="connsiteX57-36579" fmla="*/ 10625373 w 10693106"/>
              <a:gd name="connsiteY57-36580" fmla="*/ 2227089 h 5292022"/>
              <a:gd name="connsiteX58-36581" fmla="*/ 10608440 w 10693106"/>
              <a:gd name="connsiteY58-36582" fmla="*/ 2252489 h 5292022"/>
              <a:gd name="connsiteX59-36583" fmla="*/ 10540706 w 10693106"/>
              <a:gd name="connsiteY59-36584" fmla="*/ 2396422 h 5292022"/>
              <a:gd name="connsiteX60-36585" fmla="*/ 10498373 w 10693106"/>
              <a:gd name="connsiteY60-36586" fmla="*/ 2481089 h 5292022"/>
              <a:gd name="connsiteX61-36587" fmla="*/ 10439106 w 10693106"/>
              <a:gd name="connsiteY61-36588" fmla="*/ 2667356 h 5292022"/>
              <a:gd name="connsiteX62-36589" fmla="*/ 10430640 w 10693106"/>
              <a:gd name="connsiteY62-36590" fmla="*/ 2709689 h 5292022"/>
              <a:gd name="connsiteX63-36591" fmla="*/ 10405240 w 10693106"/>
              <a:gd name="connsiteY63-36592" fmla="*/ 2785889 h 5292022"/>
              <a:gd name="connsiteX64-36593" fmla="*/ 10396773 w 10693106"/>
              <a:gd name="connsiteY64-36594" fmla="*/ 2819756 h 5292022"/>
              <a:gd name="connsiteX65-36595" fmla="*/ 10362906 w 10693106"/>
              <a:gd name="connsiteY65-36596" fmla="*/ 2912889 h 5292022"/>
              <a:gd name="connsiteX66-36597" fmla="*/ 10329040 w 10693106"/>
              <a:gd name="connsiteY66-36598" fmla="*/ 2955222 h 5292022"/>
              <a:gd name="connsiteX67-36599" fmla="*/ 10227440 w 10693106"/>
              <a:gd name="connsiteY67-36600" fmla="*/ 3056822 h 5292022"/>
              <a:gd name="connsiteX68-36601" fmla="*/ 10168173 w 10693106"/>
              <a:gd name="connsiteY68-36602" fmla="*/ 3124556 h 5292022"/>
              <a:gd name="connsiteX69-36603" fmla="*/ 10117373 w 10693106"/>
              <a:gd name="connsiteY69-36604" fmla="*/ 3175356 h 5292022"/>
              <a:gd name="connsiteX70-36605" fmla="*/ 10032706 w 10693106"/>
              <a:gd name="connsiteY70-36606" fmla="*/ 3276956 h 5292022"/>
              <a:gd name="connsiteX71-36607" fmla="*/ 9948040 w 10693106"/>
              <a:gd name="connsiteY71-36608" fmla="*/ 3336222 h 5292022"/>
              <a:gd name="connsiteX72-36609" fmla="*/ 9905706 w 10693106"/>
              <a:gd name="connsiteY72-36610" fmla="*/ 3361622 h 5292022"/>
              <a:gd name="connsiteX73-36611" fmla="*/ 9829506 w 10693106"/>
              <a:gd name="connsiteY73-36612" fmla="*/ 3378556 h 5292022"/>
              <a:gd name="connsiteX74-36613" fmla="*/ 9727906 w 10693106"/>
              <a:gd name="connsiteY74-36614" fmla="*/ 3420889 h 5292022"/>
              <a:gd name="connsiteX75-36615" fmla="*/ 9634773 w 10693106"/>
              <a:gd name="connsiteY75-36616" fmla="*/ 3446289 h 5292022"/>
              <a:gd name="connsiteX76-36617" fmla="*/ 9456973 w 10693106"/>
              <a:gd name="connsiteY76-36618" fmla="*/ 3539422 h 5292022"/>
              <a:gd name="connsiteX77-36619" fmla="*/ 9313040 w 10693106"/>
              <a:gd name="connsiteY77-36620" fmla="*/ 3666422 h 5292022"/>
              <a:gd name="connsiteX78-36621" fmla="*/ 9279173 w 10693106"/>
              <a:gd name="connsiteY78-36622" fmla="*/ 3683356 h 5292022"/>
              <a:gd name="connsiteX79-36623" fmla="*/ 9067506 w 10693106"/>
              <a:gd name="connsiteY79-36624" fmla="*/ 3861156 h 5292022"/>
              <a:gd name="connsiteX80-36625" fmla="*/ 8999773 w 10693106"/>
              <a:gd name="connsiteY80-36626" fmla="*/ 3928889 h 5292022"/>
              <a:gd name="connsiteX81-36627" fmla="*/ 8813506 w 10693106"/>
              <a:gd name="connsiteY81-36628" fmla="*/ 4064356 h 5292022"/>
              <a:gd name="connsiteX82-36629" fmla="*/ 8728840 w 10693106"/>
              <a:gd name="connsiteY82-36630" fmla="*/ 4106689 h 5292022"/>
              <a:gd name="connsiteX83-36631" fmla="*/ 8373240 w 10693106"/>
              <a:gd name="connsiteY83-36632" fmla="*/ 4140556 h 5292022"/>
              <a:gd name="connsiteX84-36633" fmla="*/ 7966840 w 10693106"/>
              <a:gd name="connsiteY84-36634" fmla="*/ 4233689 h 5292022"/>
              <a:gd name="connsiteX85-36635" fmla="*/ 7687440 w 10693106"/>
              <a:gd name="connsiteY85-36636" fmla="*/ 4394556 h 5292022"/>
              <a:gd name="connsiteX86-36637" fmla="*/ 7374173 w 10693106"/>
              <a:gd name="connsiteY86-36638" fmla="*/ 4657022 h 5292022"/>
              <a:gd name="connsiteX87-36639" fmla="*/ 7374173 w 10693106"/>
              <a:gd name="connsiteY87-36640" fmla="*/ 4657022 h 5292022"/>
              <a:gd name="connsiteX88-36641" fmla="*/ 7221773 w 10693106"/>
              <a:gd name="connsiteY88-36642" fmla="*/ 4775556 h 5292022"/>
              <a:gd name="connsiteX89-36643" fmla="*/ 7027040 w 10693106"/>
              <a:gd name="connsiteY89-36644" fmla="*/ 4902556 h 5292022"/>
              <a:gd name="connsiteX90-36645" fmla="*/ 6883106 w 10693106"/>
              <a:gd name="connsiteY90-36646" fmla="*/ 4970289 h 5292022"/>
              <a:gd name="connsiteX91-36647" fmla="*/ 6815373 w 10693106"/>
              <a:gd name="connsiteY91-36648" fmla="*/ 5012622 h 5292022"/>
              <a:gd name="connsiteX92-36649" fmla="*/ 6646040 w 10693106"/>
              <a:gd name="connsiteY92-36650" fmla="*/ 5105756 h 5292022"/>
              <a:gd name="connsiteX93-36651" fmla="*/ 6527506 w 10693106"/>
              <a:gd name="connsiteY93-36652" fmla="*/ 5165022 h 5292022"/>
              <a:gd name="connsiteX94-36653" fmla="*/ 6298906 w 10693106"/>
              <a:gd name="connsiteY94-36654" fmla="*/ 5241222 h 5292022"/>
              <a:gd name="connsiteX95-36655" fmla="*/ 6197306 w 10693106"/>
              <a:gd name="connsiteY95-36656" fmla="*/ 5266622 h 5292022"/>
              <a:gd name="connsiteX96-36657" fmla="*/ 6061840 w 10693106"/>
              <a:gd name="connsiteY96-36658" fmla="*/ 5275089 h 5292022"/>
              <a:gd name="connsiteX97-36659" fmla="*/ 5917906 w 10693106"/>
              <a:gd name="connsiteY97-36660" fmla="*/ 5292022 h 5292022"/>
              <a:gd name="connsiteX98-36661" fmla="*/ 5748573 w 10693106"/>
              <a:gd name="connsiteY98-36662" fmla="*/ 5283556 h 5292022"/>
              <a:gd name="connsiteX99-36663" fmla="*/ 5282906 w 10693106"/>
              <a:gd name="connsiteY99-36664" fmla="*/ 5173489 h 5292022"/>
              <a:gd name="connsiteX100-36665" fmla="*/ 4959480 w 10693106"/>
              <a:gd name="connsiteY100-36666" fmla="*/ 4988069 h 5292022"/>
              <a:gd name="connsiteX101-36667" fmla="*/ 4686853 w 10693106"/>
              <a:gd name="connsiteY101-36668" fmla="*/ 4788256 h 5292022"/>
              <a:gd name="connsiteX102-36669" fmla="*/ 3977346 w 10693106"/>
              <a:gd name="connsiteY102-36670" fmla="*/ 4470544 h 5292022"/>
              <a:gd name="connsiteX103-36671" fmla="*/ 3741550 w 10693106"/>
              <a:gd name="connsiteY103-36672" fmla="*/ 4154102 h 5292022"/>
              <a:gd name="connsiteX104-36673" fmla="*/ 3562056 w 10693106"/>
              <a:gd name="connsiteY104-36674" fmla="*/ 3406919 h 5292022"/>
              <a:gd name="connsiteX105-36675" fmla="*/ 3242440 w 10693106"/>
              <a:gd name="connsiteY105-36676" fmla="*/ 3099156 h 5292022"/>
              <a:gd name="connsiteX106-36677" fmla="*/ 3123906 w 10693106"/>
              <a:gd name="connsiteY106-36678" fmla="*/ 2997556 h 5292022"/>
              <a:gd name="connsiteX107-36679" fmla="*/ 2988440 w 10693106"/>
              <a:gd name="connsiteY107-36680" fmla="*/ 2802822 h 5292022"/>
              <a:gd name="connsiteX108-36681" fmla="*/ 2971506 w 10693106"/>
              <a:gd name="connsiteY108-36682" fmla="*/ 2743556 h 5292022"/>
              <a:gd name="connsiteX109-36683" fmla="*/ 2996906 w 10693106"/>
              <a:gd name="connsiteY109-36684" fmla="*/ 2531889 h 5292022"/>
              <a:gd name="connsiteX110-36685" fmla="*/ 3013840 w 10693106"/>
              <a:gd name="connsiteY110-36686" fmla="*/ 2430289 h 5292022"/>
              <a:gd name="connsiteX111-36687" fmla="*/ 3005373 w 10693106"/>
              <a:gd name="connsiteY111-36688" fmla="*/ 2311756 h 5292022"/>
              <a:gd name="connsiteX112-36689" fmla="*/ 2988440 w 10693106"/>
              <a:gd name="connsiteY112-36690" fmla="*/ 2260956 h 5292022"/>
              <a:gd name="connsiteX113-36691" fmla="*/ 2802173 w 10693106"/>
              <a:gd name="connsiteY113-36692" fmla="*/ 2006956 h 5292022"/>
              <a:gd name="connsiteX114-36693" fmla="*/ 2641306 w 10693106"/>
              <a:gd name="connsiteY114-36694" fmla="*/ 1863022 h 5292022"/>
              <a:gd name="connsiteX115-36695" fmla="*/ 2590506 w 10693106"/>
              <a:gd name="connsiteY115-36696" fmla="*/ 1837622 h 5292022"/>
              <a:gd name="connsiteX116-36697" fmla="*/ 2531240 w 10693106"/>
              <a:gd name="connsiteY116-36698" fmla="*/ 1829156 h 5292022"/>
              <a:gd name="connsiteX117-36699" fmla="*/ 2446573 w 10693106"/>
              <a:gd name="connsiteY117-36700" fmla="*/ 1812222 h 5292022"/>
              <a:gd name="connsiteX118-36701" fmla="*/ 2251840 w 10693106"/>
              <a:gd name="connsiteY118-36702" fmla="*/ 1837622 h 5292022"/>
              <a:gd name="connsiteX119-36703" fmla="*/ 2167173 w 10693106"/>
              <a:gd name="connsiteY119-36704" fmla="*/ 1879956 h 5292022"/>
              <a:gd name="connsiteX120-36705" fmla="*/ 1980906 w 10693106"/>
              <a:gd name="connsiteY120-36706" fmla="*/ 1939222 h 5292022"/>
              <a:gd name="connsiteX121-36707" fmla="*/ 1904706 w 10693106"/>
              <a:gd name="connsiteY121-36708" fmla="*/ 1973089 h 5292022"/>
              <a:gd name="connsiteX122-36709" fmla="*/ 1828506 w 10693106"/>
              <a:gd name="connsiteY122-36710" fmla="*/ 1990022 h 5292022"/>
              <a:gd name="connsiteX123-36711" fmla="*/ 1726906 w 10693106"/>
              <a:gd name="connsiteY123-36712" fmla="*/ 2040822 h 5292022"/>
              <a:gd name="connsiteX124-36713" fmla="*/ 1659173 w 10693106"/>
              <a:gd name="connsiteY124-36714" fmla="*/ 2074689 h 5292022"/>
              <a:gd name="connsiteX125-36715" fmla="*/ 1498306 w 10693106"/>
              <a:gd name="connsiteY125-36716" fmla="*/ 2100089 h 5292022"/>
              <a:gd name="connsiteX126-36717" fmla="*/ 914106 w 10693106"/>
              <a:gd name="connsiteY126-36718" fmla="*/ 2032356 h 5292022"/>
              <a:gd name="connsiteX127-36719" fmla="*/ 617773 w 10693106"/>
              <a:gd name="connsiteY127-36720" fmla="*/ 1922289 h 5292022"/>
              <a:gd name="connsiteX128-36721" fmla="*/ 516173 w 10693106"/>
              <a:gd name="connsiteY128-36722" fmla="*/ 1837622 h 5292022"/>
              <a:gd name="connsiteX129-36723" fmla="*/ 355306 w 10693106"/>
              <a:gd name="connsiteY129-36724" fmla="*/ 1625956 h 5292022"/>
              <a:gd name="connsiteX130-36725" fmla="*/ 296040 w 10693106"/>
              <a:gd name="connsiteY130-36726" fmla="*/ 1524356 h 5292022"/>
              <a:gd name="connsiteX131-36727" fmla="*/ 253706 w 10693106"/>
              <a:gd name="connsiteY131-36728" fmla="*/ 1346556 h 5292022"/>
              <a:gd name="connsiteX132-36729" fmla="*/ 245240 w 10693106"/>
              <a:gd name="connsiteY132-36730" fmla="*/ 1219556 h 5292022"/>
              <a:gd name="connsiteX133-36731" fmla="*/ 236773 w 10693106"/>
              <a:gd name="connsiteY133-36732" fmla="*/ 1117956 h 5292022"/>
              <a:gd name="connsiteX134-36733" fmla="*/ 245240 w 10693106"/>
              <a:gd name="connsiteY134-36734" fmla="*/ 847022 h 5292022"/>
              <a:gd name="connsiteX135-36735" fmla="*/ 236773 w 10693106"/>
              <a:gd name="connsiteY135-36736" fmla="*/ 703089 h 5292022"/>
              <a:gd name="connsiteX136-36737" fmla="*/ 109773 w 10693106"/>
              <a:gd name="connsiteY136-36738" fmla="*/ 559156 h 5292022"/>
              <a:gd name="connsiteX137-36739" fmla="*/ 58973 w 10693106"/>
              <a:gd name="connsiteY137-36740" fmla="*/ 482956 h 5292022"/>
              <a:gd name="connsiteX138-36741" fmla="*/ 16640 w 10693106"/>
              <a:gd name="connsiteY138-36742" fmla="*/ 432156 h 5292022"/>
              <a:gd name="connsiteX139-36743" fmla="*/ 8173 w 10693106"/>
              <a:gd name="connsiteY139-36744" fmla="*/ 389822 h 5292022"/>
              <a:gd name="connsiteX140-36745" fmla="*/ 16640 w 10693106"/>
              <a:gd name="connsiteY140-36746" fmla="*/ 339022 h 5292022"/>
              <a:gd name="connsiteX0-36747" fmla="*/ 16640 w 10693106"/>
              <a:gd name="connsiteY0-36748" fmla="*/ 339022 h 5292022"/>
              <a:gd name="connsiteX1-36749" fmla="*/ 58973 w 10693106"/>
              <a:gd name="connsiteY1-36750" fmla="*/ 245889 h 5292022"/>
              <a:gd name="connsiteX2-36751" fmla="*/ 109773 w 10693106"/>
              <a:gd name="connsiteY2-36752" fmla="*/ 178156 h 5292022"/>
              <a:gd name="connsiteX3-36753" fmla="*/ 202906 w 10693106"/>
              <a:gd name="connsiteY3-36754" fmla="*/ 93489 h 5292022"/>
              <a:gd name="connsiteX4-36755" fmla="*/ 236773 w 10693106"/>
              <a:gd name="connsiteY4-36756" fmla="*/ 68089 h 5292022"/>
              <a:gd name="connsiteX5-36757" fmla="*/ 335410 w 10693106"/>
              <a:gd name="connsiteY5-36758" fmla="*/ 58352 h 5292022"/>
              <a:gd name="connsiteX6-36759" fmla="*/ 382400 w 10693106"/>
              <a:gd name="connsiteY6-36760" fmla="*/ 51156 h 5292022"/>
              <a:gd name="connsiteX7-36761" fmla="*/ 434912 w 10693106"/>
              <a:gd name="connsiteY7-36762" fmla="*/ 70071 h 5292022"/>
              <a:gd name="connsiteX8-36763" fmla="*/ 492697 w 10693106"/>
              <a:gd name="connsiteY8-36764" fmla="*/ 74247 h 5292022"/>
              <a:gd name="connsiteX9-36765" fmla="*/ 822897 w 10693106"/>
              <a:gd name="connsiteY9-36766" fmla="*/ 82713 h 5292022"/>
              <a:gd name="connsiteX10-36767" fmla="*/ 1091906 w 10693106"/>
              <a:gd name="connsiteY10-36768" fmla="*/ 356 h 5292022"/>
              <a:gd name="connsiteX11-36769" fmla="*/ 1235840 w 10693106"/>
              <a:gd name="connsiteY11-36770" fmla="*/ 59622 h 5292022"/>
              <a:gd name="connsiteX12-36771" fmla="*/ 1337440 w 10693106"/>
              <a:gd name="connsiteY12-36772" fmla="*/ 135822 h 5292022"/>
              <a:gd name="connsiteX13-36773" fmla="*/ 1422106 w 10693106"/>
              <a:gd name="connsiteY13-36774" fmla="*/ 245889 h 5292022"/>
              <a:gd name="connsiteX14-36775" fmla="*/ 1481373 w 10693106"/>
              <a:gd name="connsiteY14-36776" fmla="*/ 313622 h 5292022"/>
              <a:gd name="connsiteX15-36777" fmla="*/ 1532173 w 10693106"/>
              <a:gd name="connsiteY15-36778" fmla="*/ 347489 h 5292022"/>
              <a:gd name="connsiteX16-36779" fmla="*/ 1684573 w 10693106"/>
              <a:gd name="connsiteY16-36780" fmla="*/ 406756 h 5292022"/>
              <a:gd name="connsiteX17-36781" fmla="*/ 1760773 w 10693106"/>
              <a:gd name="connsiteY17-36782" fmla="*/ 423689 h 5292022"/>
              <a:gd name="connsiteX18-36783" fmla="*/ 1997840 w 10693106"/>
              <a:gd name="connsiteY18-36784" fmla="*/ 415222 h 5292022"/>
              <a:gd name="connsiteX19-36785" fmla="*/ 2116373 w 10693106"/>
              <a:gd name="connsiteY19-36786" fmla="*/ 398289 h 5292022"/>
              <a:gd name="connsiteX20-36787" fmla="*/ 2260306 w 10693106"/>
              <a:gd name="connsiteY20-36788" fmla="*/ 381356 h 5292022"/>
              <a:gd name="connsiteX21-36789" fmla="*/ 2404240 w 10693106"/>
              <a:gd name="connsiteY21-36790" fmla="*/ 355956 h 5292022"/>
              <a:gd name="connsiteX22-36791" fmla="*/ 2455040 w 10693106"/>
              <a:gd name="connsiteY22-36792" fmla="*/ 330556 h 5292022"/>
              <a:gd name="connsiteX23-36793" fmla="*/ 2531240 w 10693106"/>
              <a:gd name="connsiteY23-36794" fmla="*/ 305156 h 5292022"/>
              <a:gd name="connsiteX24-36795" fmla="*/ 2649350 w 10693106"/>
              <a:gd name="connsiteY24-36796" fmla="*/ 225781 h 5292022"/>
              <a:gd name="connsiteX25-36797" fmla="*/ 2742906 w 10693106"/>
              <a:gd name="connsiteY25-36798" fmla="*/ 186622 h 5292022"/>
              <a:gd name="connsiteX26-36799" fmla="*/ 2764920 w 10693106"/>
              <a:gd name="connsiteY26-36800" fmla="*/ 173076 h 5292022"/>
              <a:gd name="connsiteX27-36801" fmla="*/ 2832653 w 10693106"/>
              <a:gd name="connsiteY27-36802" fmla="*/ 167996 h 5292022"/>
              <a:gd name="connsiteX28-36803" fmla="*/ 3002294 w 10693106"/>
              <a:gd name="connsiteY28-36804" fmla="*/ 154680 h 5292022"/>
              <a:gd name="connsiteX29-36805" fmla="*/ 3142763 w 10693106"/>
              <a:gd name="connsiteY29-36806" fmla="*/ 110421 h 5292022"/>
              <a:gd name="connsiteX30-36807" fmla="*/ 3398918 w 10693106"/>
              <a:gd name="connsiteY30-36808" fmla="*/ 72322 h 5292022"/>
              <a:gd name="connsiteX31-36809" fmla="*/ 3606506 w 10693106"/>
              <a:gd name="connsiteY31-36810" fmla="*/ 60393 h 5292022"/>
              <a:gd name="connsiteX32-36811" fmla="*/ 3833625 w 10693106"/>
              <a:gd name="connsiteY32-36812" fmla="*/ 110846 h 5292022"/>
              <a:gd name="connsiteX33-36813" fmla="*/ 3976923 w 10693106"/>
              <a:gd name="connsiteY33-36814" fmla="*/ 135187 h 5292022"/>
              <a:gd name="connsiteX34-36815" fmla="*/ 4021373 w 10693106"/>
              <a:gd name="connsiteY34-36816" fmla="*/ 144289 h 5292022"/>
              <a:gd name="connsiteX35-36817" fmla="*/ 4529373 w 10693106"/>
              <a:gd name="connsiteY35-36818" fmla="*/ 271289 h 5292022"/>
              <a:gd name="connsiteX36-36819" fmla="*/ 5630810 w 10693106"/>
              <a:gd name="connsiteY36-36820" fmla="*/ 1149898 h 5292022"/>
              <a:gd name="connsiteX37-36821" fmla="*/ 6881490 w 10693106"/>
              <a:gd name="connsiteY37-36822" fmla="*/ 1366452 h 5292022"/>
              <a:gd name="connsiteX38-36823" fmla="*/ 7839032 w 10693106"/>
              <a:gd name="connsiteY38-36824" fmla="*/ 1183996 h 5292022"/>
              <a:gd name="connsiteX39-36825" fmla="*/ 8652640 w 10693106"/>
              <a:gd name="connsiteY39-36826" fmla="*/ 677689 h 5292022"/>
              <a:gd name="connsiteX40-36827" fmla="*/ 8982840 w 10693106"/>
              <a:gd name="connsiteY40-36828" fmla="*/ 398289 h 5292022"/>
              <a:gd name="connsiteX41-36829" fmla="*/ 9380773 w 10693106"/>
              <a:gd name="connsiteY41-36830" fmla="*/ 355956 h 5292022"/>
              <a:gd name="connsiteX42-36831" fmla="*/ 9744840 w 10693106"/>
              <a:gd name="connsiteY42-36832" fmla="*/ 466022 h 5292022"/>
              <a:gd name="connsiteX43-36833" fmla="*/ 9888773 w 10693106"/>
              <a:gd name="connsiteY43-36834" fmla="*/ 508356 h 5292022"/>
              <a:gd name="connsiteX44-36835" fmla="*/ 9998840 w 10693106"/>
              <a:gd name="connsiteY44-36836" fmla="*/ 559156 h 5292022"/>
              <a:gd name="connsiteX45-36837" fmla="*/ 10083506 w 10693106"/>
              <a:gd name="connsiteY45-36838" fmla="*/ 618422 h 5292022"/>
              <a:gd name="connsiteX46-36839" fmla="*/ 10286706 w 10693106"/>
              <a:gd name="connsiteY46-36840" fmla="*/ 686156 h 5292022"/>
              <a:gd name="connsiteX47-36841" fmla="*/ 10388306 w 10693106"/>
              <a:gd name="connsiteY47-36842" fmla="*/ 889356 h 5292022"/>
              <a:gd name="connsiteX48-36843" fmla="*/ 10540706 w 10693106"/>
              <a:gd name="connsiteY48-36844" fmla="*/ 1261889 h 5292022"/>
              <a:gd name="connsiteX49-36845" fmla="*/ 10557640 w 10693106"/>
              <a:gd name="connsiteY49-36846" fmla="*/ 1346556 h 5292022"/>
              <a:gd name="connsiteX50-36847" fmla="*/ 10583040 w 10693106"/>
              <a:gd name="connsiteY50-36848" fmla="*/ 1448156 h 5292022"/>
              <a:gd name="connsiteX51-36849" fmla="*/ 10616906 w 10693106"/>
              <a:gd name="connsiteY51-36850" fmla="*/ 1651356 h 5292022"/>
              <a:gd name="connsiteX52-36851" fmla="*/ 10633840 w 10693106"/>
              <a:gd name="connsiteY52-36852" fmla="*/ 1736022 h 5292022"/>
              <a:gd name="connsiteX53-36853" fmla="*/ 10650773 w 10693106"/>
              <a:gd name="connsiteY53-36854" fmla="*/ 1769889 h 5292022"/>
              <a:gd name="connsiteX54-36855" fmla="*/ 10676173 w 10693106"/>
              <a:gd name="connsiteY54-36856" fmla="*/ 1854556 h 5292022"/>
              <a:gd name="connsiteX55-36857" fmla="*/ 10693106 w 10693106"/>
              <a:gd name="connsiteY55-36858" fmla="*/ 2006956 h 5292022"/>
              <a:gd name="connsiteX56-36859" fmla="*/ 10625373 w 10693106"/>
              <a:gd name="connsiteY56-36860" fmla="*/ 2227089 h 5292022"/>
              <a:gd name="connsiteX57-36861" fmla="*/ 10608440 w 10693106"/>
              <a:gd name="connsiteY57-36862" fmla="*/ 2252489 h 5292022"/>
              <a:gd name="connsiteX58-36863" fmla="*/ 10540706 w 10693106"/>
              <a:gd name="connsiteY58-36864" fmla="*/ 2396422 h 5292022"/>
              <a:gd name="connsiteX59-36865" fmla="*/ 10498373 w 10693106"/>
              <a:gd name="connsiteY59-36866" fmla="*/ 2481089 h 5292022"/>
              <a:gd name="connsiteX60-36867" fmla="*/ 10439106 w 10693106"/>
              <a:gd name="connsiteY60-36868" fmla="*/ 2667356 h 5292022"/>
              <a:gd name="connsiteX61-36869" fmla="*/ 10430640 w 10693106"/>
              <a:gd name="connsiteY61-36870" fmla="*/ 2709689 h 5292022"/>
              <a:gd name="connsiteX62-36871" fmla="*/ 10405240 w 10693106"/>
              <a:gd name="connsiteY62-36872" fmla="*/ 2785889 h 5292022"/>
              <a:gd name="connsiteX63-36873" fmla="*/ 10396773 w 10693106"/>
              <a:gd name="connsiteY63-36874" fmla="*/ 2819756 h 5292022"/>
              <a:gd name="connsiteX64-36875" fmla="*/ 10362906 w 10693106"/>
              <a:gd name="connsiteY64-36876" fmla="*/ 2912889 h 5292022"/>
              <a:gd name="connsiteX65-36877" fmla="*/ 10329040 w 10693106"/>
              <a:gd name="connsiteY65-36878" fmla="*/ 2955222 h 5292022"/>
              <a:gd name="connsiteX66-36879" fmla="*/ 10227440 w 10693106"/>
              <a:gd name="connsiteY66-36880" fmla="*/ 3056822 h 5292022"/>
              <a:gd name="connsiteX67-36881" fmla="*/ 10168173 w 10693106"/>
              <a:gd name="connsiteY67-36882" fmla="*/ 3124556 h 5292022"/>
              <a:gd name="connsiteX68-36883" fmla="*/ 10117373 w 10693106"/>
              <a:gd name="connsiteY68-36884" fmla="*/ 3175356 h 5292022"/>
              <a:gd name="connsiteX69-36885" fmla="*/ 10032706 w 10693106"/>
              <a:gd name="connsiteY69-36886" fmla="*/ 3276956 h 5292022"/>
              <a:gd name="connsiteX70-36887" fmla="*/ 9948040 w 10693106"/>
              <a:gd name="connsiteY70-36888" fmla="*/ 3336222 h 5292022"/>
              <a:gd name="connsiteX71-36889" fmla="*/ 9905706 w 10693106"/>
              <a:gd name="connsiteY71-36890" fmla="*/ 3361622 h 5292022"/>
              <a:gd name="connsiteX72-36891" fmla="*/ 9829506 w 10693106"/>
              <a:gd name="connsiteY72-36892" fmla="*/ 3378556 h 5292022"/>
              <a:gd name="connsiteX73-36893" fmla="*/ 9727906 w 10693106"/>
              <a:gd name="connsiteY73-36894" fmla="*/ 3420889 h 5292022"/>
              <a:gd name="connsiteX74-36895" fmla="*/ 9634773 w 10693106"/>
              <a:gd name="connsiteY74-36896" fmla="*/ 3446289 h 5292022"/>
              <a:gd name="connsiteX75-36897" fmla="*/ 9456973 w 10693106"/>
              <a:gd name="connsiteY75-36898" fmla="*/ 3539422 h 5292022"/>
              <a:gd name="connsiteX76-36899" fmla="*/ 9313040 w 10693106"/>
              <a:gd name="connsiteY76-36900" fmla="*/ 3666422 h 5292022"/>
              <a:gd name="connsiteX77-36901" fmla="*/ 9279173 w 10693106"/>
              <a:gd name="connsiteY77-36902" fmla="*/ 3683356 h 5292022"/>
              <a:gd name="connsiteX78-36903" fmla="*/ 9067506 w 10693106"/>
              <a:gd name="connsiteY78-36904" fmla="*/ 3861156 h 5292022"/>
              <a:gd name="connsiteX79-36905" fmla="*/ 8999773 w 10693106"/>
              <a:gd name="connsiteY79-36906" fmla="*/ 3928889 h 5292022"/>
              <a:gd name="connsiteX80-36907" fmla="*/ 8813506 w 10693106"/>
              <a:gd name="connsiteY80-36908" fmla="*/ 4064356 h 5292022"/>
              <a:gd name="connsiteX81-36909" fmla="*/ 8728840 w 10693106"/>
              <a:gd name="connsiteY81-36910" fmla="*/ 4106689 h 5292022"/>
              <a:gd name="connsiteX82-36911" fmla="*/ 8373240 w 10693106"/>
              <a:gd name="connsiteY82-36912" fmla="*/ 4140556 h 5292022"/>
              <a:gd name="connsiteX83-36913" fmla="*/ 7966840 w 10693106"/>
              <a:gd name="connsiteY83-36914" fmla="*/ 4233689 h 5292022"/>
              <a:gd name="connsiteX84-36915" fmla="*/ 7687440 w 10693106"/>
              <a:gd name="connsiteY84-36916" fmla="*/ 4394556 h 5292022"/>
              <a:gd name="connsiteX85-36917" fmla="*/ 7374173 w 10693106"/>
              <a:gd name="connsiteY85-36918" fmla="*/ 4657022 h 5292022"/>
              <a:gd name="connsiteX86-36919" fmla="*/ 7374173 w 10693106"/>
              <a:gd name="connsiteY86-36920" fmla="*/ 4657022 h 5292022"/>
              <a:gd name="connsiteX87-36921" fmla="*/ 7221773 w 10693106"/>
              <a:gd name="connsiteY87-36922" fmla="*/ 4775556 h 5292022"/>
              <a:gd name="connsiteX88-36923" fmla="*/ 7027040 w 10693106"/>
              <a:gd name="connsiteY88-36924" fmla="*/ 4902556 h 5292022"/>
              <a:gd name="connsiteX89-36925" fmla="*/ 6883106 w 10693106"/>
              <a:gd name="connsiteY89-36926" fmla="*/ 4970289 h 5292022"/>
              <a:gd name="connsiteX90-36927" fmla="*/ 6815373 w 10693106"/>
              <a:gd name="connsiteY90-36928" fmla="*/ 5012622 h 5292022"/>
              <a:gd name="connsiteX91-36929" fmla="*/ 6646040 w 10693106"/>
              <a:gd name="connsiteY91-36930" fmla="*/ 5105756 h 5292022"/>
              <a:gd name="connsiteX92-36931" fmla="*/ 6527506 w 10693106"/>
              <a:gd name="connsiteY92-36932" fmla="*/ 5165022 h 5292022"/>
              <a:gd name="connsiteX93-36933" fmla="*/ 6298906 w 10693106"/>
              <a:gd name="connsiteY93-36934" fmla="*/ 5241222 h 5292022"/>
              <a:gd name="connsiteX94-36935" fmla="*/ 6197306 w 10693106"/>
              <a:gd name="connsiteY94-36936" fmla="*/ 5266622 h 5292022"/>
              <a:gd name="connsiteX95-36937" fmla="*/ 6061840 w 10693106"/>
              <a:gd name="connsiteY95-36938" fmla="*/ 5275089 h 5292022"/>
              <a:gd name="connsiteX96-36939" fmla="*/ 5917906 w 10693106"/>
              <a:gd name="connsiteY96-36940" fmla="*/ 5292022 h 5292022"/>
              <a:gd name="connsiteX97-36941" fmla="*/ 5748573 w 10693106"/>
              <a:gd name="connsiteY97-36942" fmla="*/ 5283556 h 5292022"/>
              <a:gd name="connsiteX98-36943" fmla="*/ 5282906 w 10693106"/>
              <a:gd name="connsiteY98-36944" fmla="*/ 5173489 h 5292022"/>
              <a:gd name="connsiteX99-36945" fmla="*/ 4959480 w 10693106"/>
              <a:gd name="connsiteY99-36946" fmla="*/ 4988069 h 5292022"/>
              <a:gd name="connsiteX100-36947" fmla="*/ 4686853 w 10693106"/>
              <a:gd name="connsiteY100-36948" fmla="*/ 4788256 h 5292022"/>
              <a:gd name="connsiteX101-36949" fmla="*/ 3977346 w 10693106"/>
              <a:gd name="connsiteY101-36950" fmla="*/ 4470544 h 5292022"/>
              <a:gd name="connsiteX102-36951" fmla="*/ 3741550 w 10693106"/>
              <a:gd name="connsiteY102-36952" fmla="*/ 4154102 h 5292022"/>
              <a:gd name="connsiteX103-36953" fmla="*/ 3562056 w 10693106"/>
              <a:gd name="connsiteY103-36954" fmla="*/ 3406919 h 5292022"/>
              <a:gd name="connsiteX104-36955" fmla="*/ 3242440 w 10693106"/>
              <a:gd name="connsiteY104-36956" fmla="*/ 3099156 h 5292022"/>
              <a:gd name="connsiteX105-36957" fmla="*/ 3123906 w 10693106"/>
              <a:gd name="connsiteY105-36958" fmla="*/ 2997556 h 5292022"/>
              <a:gd name="connsiteX106-36959" fmla="*/ 2988440 w 10693106"/>
              <a:gd name="connsiteY106-36960" fmla="*/ 2802822 h 5292022"/>
              <a:gd name="connsiteX107-36961" fmla="*/ 2971506 w 10693106"/>
              <a:gd name="connsiteY107-36962" fmla="*/ 2743556 h 5292022"/>
              <a:gd name="connsiteX108-36963" fmla="*/ 2996906 w 10693106"/>
              <a:gd name="connsiteY108-36964" fmla="*/ 2531889 h 5292022"/>
              <a:gd name="connsiteX109-36965" fmla="*/ 3013840 w 10693106"/>
              <a:gd name="connsiteY109-36966" fmla="*/ 2430289 h 5292022"/>
              <a:gd name="connsiteX110-36967" fmla="*/ 3005373 w 10693106"/>
              <a:gd name="connsiteY110-36968" fmla="*/ 2311756 h 5292022"/>
              <a:gd name="connsiteX111-36969" fmla="*/ 2988440 w 10693106"/>
              <a:gd name="connsiteY111-36970" fmla="*/ 2260956 h 5292022"/>
              <a:gd name="connsiteX112-36971" fmla="*/ 2802173 w 10693106"/>
              <a:gd name="connsiteY112-36972" fmla="*/ 2006956 h 5292022"/>
              <a:gd name="connsiteX113-36973" fmla="*/ 2641306 w 10693106"/>
              <a:gd name="connsiteY113-36974" fmla="*/ 1863022 h 5292022"/>
              <a:gd name="connsiteX114-36975" fmla="*/ 2590506 w 10693106"/>
              <a:gd name="connsiteY114-36976" fmla="*/ 1837622 h 5292022"/>
              <a:gd name="connsiteX115-36977" fmla="*/ 2531240 w 10693106"/>
              <a:gd name="connsiteY115-36978" fmla="*/ 1829156 h 5292022"/>
              <a:gd name="connsiteX116-36979" fmla="*/ 2446573 w 10693106"/>
              <a:gd name="connsiteY116-36980" fmla="*/ 1812222 h 5292022"/>
              <a:gd name="connsiteX117-36981" fmla="*/ 2251840 w 10693106"/>
              <a:gd name="connsiteY117-36982" fmla="*/ 1837622 h 5292022"/>
              <a:gd name="connsiteX118-36983" fmla="*/ 2167173 w 10693106"/>
              <a:gd name="connsiteY118-36984" fmla="*/ 1879956 h 5292022"/>
              <a:gd name="connsiteX119-36985" fmla="*/ 1980906 w 10693106"/>
              <a:gd name="connsiteY119-36986" fmla="*/ 1939222 h 5292022"/>
              <a:gd name="connsiteX120-36987" fmla="*/ 1904706 w 10693106"/>
              <a:gd name="connsiteY120-36988" fmla="*/ 1973089 h 5292022"/>
              <a:gd name="connsiteX121-36989" fmla="*/ 1828506 w 10693106"/>
              <a:gd name="connsiteY121-36990" fmla="*/ 1990022 h 5292022"/>
              <a:gd name="connsiteX122-36991" fmla="*/ 1726906 w 10693106"/>
              <a:gd name="connsiteY122-36992" fmla="*/ 2040822 h 5292022"/>
              <a:gd name="connsiteX123-36993" fmla="*/ 1659173 w 10693106"/>
              <a:gd name="connsiteY123-36994" fmla="*/ 2074689 h 5292022"/>
              <a:gd name="connsiteX124-36995" fmla="*/ 1498306 w 10693106"/>
              <a:gd name="connsiteY124-36996" fmla="*/ 2100089 h 5292022"/>
              <a:gd name="connsiteX125-36997" fmla="*/ 914106 w 10693106"/>
              <a:gd name="connsiteY125-36998" fmla="*/ 2032356 h 5292022"/>
              <a:gd name="connsiteX126-36999" fmla="*/ 617773 w 10693106"/>
              <a:gd name="connsiteY126-37000" fmla="*/ 1922289 h 5292022"/>
              <a:gd name="connsiteX127-37001" fmla="*/ 516173 w 10693106"/>
              <a:gd name="connsiteY127-37002" fmla="*/ 1837622 h 5292022"/>
              <a:gd name="connsiteX128-37003" fmla="*/ 355306 w 10693106"/>
              <a:gd name="connsiteY128-37004" fmla="*/ 1625956 h 5292022"/>
              <a:gd name="connsiteX129-37005" fmla="*/ 296040 w 10693106"/>
              <a:gd name="connsiteY129-37006" fmla="*/ 1524356 h 5292022"/>
              <a:gd name="connsiteX130-37007" fmla="*/ 253706 w 10693106"/>
              <a:gd name="connsiteY130-37008" fmla="*/ 1346556 h 5292022"/>
              <a:gd name="connsiteX131-37009" fmla="*/ 245240 w 10693106"/>
              <a:gd name="connsiteY131-37010" fmla="*/ 1219556 h 5292022"/>
              <a:gd name="connsiteX132-37011" fmla="*/ 236773 w 10693106"/>
              <a:gd name="connsiteY132-37012" fmla="*/ 1117956 h 5292022"/>
              <a:gd name="connsiteX133-37013" fmla="*/ 245240 w 10693106"/>
              <a:gd name="connsiteY133-37014" fmla="*/ 847022 h 5292022"/>
              <a:gd name="connsiteX134-37015" fmla="*/ 236773 w 10693106"/>
              <a:gd name="connsiteY134-37016" fmla="*/ 703089 h 5292022"/>
              <a:gd name="connsiteX135-37017" fmla="*/ 109773 w 10693106"/>
              <a:gd name="connsiteY135-37018" fmla="*/ 559156 h 5292022"/>
              <a:gd name="connsiteX136-37019" fmla="*/ 58973 w 10693106"/>
              <a:gd name="connsiteY136-37020" fmla="*/ 482956 h 5292022"/>
              <a:gd name="connsiteX137-37021" fmla="*/ 16640 w 10693106"/>
              <a:gd name="connsiteY137-37022" fmla="*/ 432156 h 5292022"/>
              <a:gd name="connsiteX138-37023" fmla="*/ 8173 w 10693106"/>
              <a:gd name="connsiteY138-37024" fmla="*/ 389822 h 5292022"/>
              <a:gd name="connsiteX139-37025" fmla="*/ 16640 w 10693106"/>
              <a:gd name="connsiteY139-37026" fmla="*/ 339022 h 5292022"/>
              <a:gd name="connsiteX0-37027" fmla="*/ 16640 w 10693106"/>
              <a:gd name="connsiteY0-37028" fmla="*/ 339022 h 5292022"/>
              <a:gd name="connsiteX1-37029" fmla="*/ 58973 w 10693106"/>
              <a:gd name="connsiteY1-37030" fmla="*/ 245889 h 5292022"/>
              <a:gd name="connsiteX2-37031" fmla="*/ 109773 w 10693106"/>
              <a:gd name="connsiteY2-37032" fmla="*/ 178156 h 5292022"/>
              <a:gd name="connsiteX3-37033" fmla="*/ 202906 w 10693106"/>
              <a:gd name="connsiteY3-37034" fmla="*/ 93489 h 5292022"/>
              <a:gd name="connsiteX4-37035" fmla="*/ 236773 w 10693106"/>
              <a:gd name="connsiteY4-37036" fmla="*/ 68089 h 5292022"/>
              <a:gd name="connsiteX5-37037" fmla="*/ 335410 w 10693106"/>
              <a:gd name="connsiteY5-37038" fmla="*/ 58352 h 5292022"/>
              <a:gd name="connsiteX6-37039" fmla="*/ 382400 w 10693106"/>
              <a:gd name="connsiteY6-37040" fmla="*/ 51156 h 5292022"/>
              <a:gd name="connsiteX7-37041" fmla="*/ 434912 w 10693106"/>
              <a:gd name="connsiteY7-37042" fmla="*/ 70071 h 5292022"/>
              <a:gd name="connsiteX8-37043" fmla="*/ 492697 w 10693106"/>
              <a:gd name="connsiteY8-37044" fmla="*/ 74247 h 5292022"/>
              <a:gd name="connsiteX9-37045" fmla="*/ 822897 w 10693106"/>
              <a:gd name="connsiteY9-37046" fmla="*/ 82713 h 5292022"/>
              <a:gd name="connsiteX10-37047" fmla="*/ 1091906 w 10693106"/>
              <a:gd name="connsiteY10-37048" fmla="*/ 356 h 5292022"/>
              <a:gd name="connsiteX11-37049" fmla="*/ 1235840 w 10693106"/>
              <a:gd name="connsiteY11-37050" fmla="*/ 59622 h 5292022"/>
              <a:gd name="connsiteX12-37051" fmla="*/ 1337440 w 10693106"/>
              <a:gd name="connsiteY12-37052" fmla="*/ 135822 h 5292022"/>
              <a:gd name="connsiteX13-37053" fmla="*/ 1422106 w 10693106"/>
              <a:gd name="connsiteY13-37054" fmla="*/ 245889 h 5292022"/>
              <a:gd name="connsiteX14-37055" fmla="*/ 1481373 w 10693106"/>
              <a:gd name="connsiteY14-37056" fmla="*/ 313622 h 5292022"/>
              <a:gd name="connsiteX15-37057" fmla="*/ 1532173 w 10693106"/>
              <a:gd name="connsiteY15-37058" fmla="*/ 347489 h 5292022"/>
              <a:gd name="connsiteX16-37059" fmla="*/ 1684573 w 10693106"/>
              <a:gd name="connsiteY16-37060" fmla="*/ 406756 h 5292022"/>
              <a:gd name="connsiteX17-37061" fmla="*/ 1760773 w 10693106"/>
              <a:gd name="connsiteY17-37062" fmla="*/ 423689 h 5292022"/>
              <a:gd name="connsiteX18-37063" fmla="*/ 1997840 w 10693106"/>
              <a:gd name="connsiteY18-37064" fmla="*/ 415222 h 5292022"/>
              <a:gd name="connsiteX19-37065" fmla="*/ 2116373 w 10693106"/>
              <a:gd name="connsiteY19-37066" fmla="*/ 398289 h 5292022"/>
              <a:gd name="connsiteX20-37067" fmla="*/ 2260306 w 10693106"/>
              <a:gd name="connsiteY20-37068" fmla="*/ 381356 h 5292022"/>
              <a:gd name="connsiteX21-37069" fmla="*/ 2404240 w 10693106"/>
              <a:gd name="connsiteY21-37070" fmla="*/ 355956 h 5292022"/>
              <a:gd name="connsiteX22-37071" fmla="*/ 2455040 w 10693106"/>
              <a:gd name="connsiteY22-37072" fmla="*/ 330556 h 5292022"/>
              <a:gd name="connsiteX23-37073" fmla="*/ 2531240 w 10693106"/>
              <a:gd name="connsiteY23-37074" fmla="*/ 305156 h 5292022"/>
              <a:gd name="connsiteX24-37075" fmla="*/ 2649350 w 10693106"/>
              <a:gd name="connsiteY24-37076" fmla="*/ 225781 h 5292022"/>
              <a:gd name="connsiteX25-37077" fmla="*/ 2742906 w 10693106"/>
              <a:gd name="connsiteY25-37078" fmla="*/ 186622 h 5292022"/>
              <a:gd name="connsiteX26-37079" fmla="*/ 2764920 w 10693106"/>
              <a:gd name="connsiteY26-37080" fmla="*/ 173076 h 5292022"/>
              <a:gd name="connsiteX27-37081" fmla="*/ 2832653 w 10693106"/>
              <a:gd name="connsiteY27-37082" fmla="*/ 167996 h 5292022"/>
              <a:gd name="connsiteX28-37083" fmla="*/ 3002294 w 10693106"/>
              <a:gd name="connsiteY28-37084" fmla="*/ 154680 h 5292022"/>
              <a:gd name="connsiteX29-37085" fmla="*/ 3142763 w 10693106"/>
              <a:gd name="connsiteY29-37086" fmla="*/ 110421 h 5292022"/>
              <a:gd name="connsiteX30-37087" fmla="*/ 3398918 w 10693106"/>
              <a:gd name="connsiteY30-37088" fmla="*/ 72322 h 5292022"/>
              <a:gd name="connsiteX31-37089" fmla="*/ 3833625 w 10693106"/>
              <a:gd name="connsiteY31-37090" fmla="*/ 110846 h 5292022"/>
              <a:gd name="connsiteX32-37091" fmla="*/ 3976923 w 10693106"/>
              <a:gd name="connsiteY32-37092" fmla="*/ 135187 h 5292022"/>
              <a:gd name="connsiteX33-37093" fmla="*/ 4021373 w 10693106"/>
              <a:gd name="connsiteY33-37094" fmla="*/ 144289 h 5292022"/>
              <a:gd name="connsiteX34-37095" fmla="*/ 4529373 w 10693106"/>
              <a:gd name="connsiteY34-37096" fmla="*/ 271289 h 5292022"/>
              <a:gd name="connsiteX35-37097" fmla="*/ 5630810 w 10693106"/>
              <a:gd name="connsiteY35-37098" fmla="*/ 1149898 h 5292022"/>
              <a:gd name="connsiteX36-37099" fmla="*/ 6881490 w 10693106"/>
              <a:gd name="connsiteY36-37100" fmla="*/ 1366452 h 5292022"/>
              <a:gd name="connsiteX37-37101" fmla="*/ 7839032 w 10693106"/>
              <a:gd name="connsiteY37-37102" fmla="*/ 1183996 h 5292022"/>
              <a:gd name="connsiteX38-37103" fmla="*/ 8652640 w 10693106"/>
              <a:gd name="connsiteY38-37104" fmla="*/ 677689 h 5292022"/>
              <a:gd name="connsiteX39-37105" fmla="*/ 8982840 w 10693106"/>
              <a:gd name="connsiteY39-37106" fmla="*/ 398289 h 5292022"/>
              <a:gd name="connsiteX40-37107" fmla="*/ 9380773 w 10693106"/>
              <a:gd name="connsiteY40-37108" fmla="*/ 355956 h 5292022"/>
              <a:gd name="connsiteX41-37109" fmla="*/ 9744840 w 10693106"/>
              <a:gd name="connsiteY41-37110" fmla="*/ 466022 h 5292022"/>
              <a:gd name="connsiteX42-37111" fmla="*/ 9888773 w 10693106"/>
              <a:gd name="connsiteY42-37112" fmla="*/ 508356 h 5292022"/>
              <a:gd name="connsiteX43-37113" fmla="*/ 9998840 w 10693106"/>
              <a:gd name="connsiteY43-37114" fmla="*/ 559156 h 5292022"/>
              <a:gd name="connsiteX44-37115" fmla="*/ 10083506 w 10693106"/>
              <a:gd name="connsiteY44-37116" fmla="*/ 618422 h 5292022"/>
              <a:gd name="connsiteX45-37117" fmla="*/ 10286706 w 10693106"/>
              <a:gd name="connsiteY45-37118" fmla="*/ 686156 h 5292022"/>
              <a:gd name="connsiteX46-37119" fmla="*/ 10388306 w 10693106"/>
              <a:gd name="connsiteY46-37120" fmla="*/ 889356 h 5292022"/>
              <a:gd name="connsiteX47-37121" fmla="*/ 10540706 w 10693106"/>
              <a:gd name="connsiteY47-37122" fmla="*/ 1261889 h 5292022"/>
              <a:gd name="connsiteX48-37123" fmla="*/ 10557640 w 10693106"/>
              <a:gd name="connsiteY48-37124" fmla="*/ 1346556 h 5292022"/>
              <a:gd name="connsiteX49-37125" fmla="*/ 10583040 w 10693106"/>
              <a:gd name="connsiteY49-37126" fmla="*/ 1448156 h 5292022"/>
              <a:gd name="connsiteX50-37127" fmla="*/ 10616906 w 10693106"/>
              <a:gd name="connsiteY50-37128" fmla="*/ 1651356 h 5292022"/>
              <a:gd name="connsiteX51-37129" fmla="*/ 10633840 w 10693106"/>
              <a:gd name="connsiteY51-37130" fmla="*/ 1736022 h 5292022"/>
              <a:gd name="connsiteX52-37131" fmla="*/ 10650773 w 10693106"/>
              <a:gd name="connsiteY52-37132" fmla="*/ 1769889 h 5292022"/>
              <a:gd name="connsiteX53-37133" fmla="*/ 10676173 w 10693106"/>
              <a:gd name="connsiteY53-37134" fmla="*/ 1854556 h 5292022"/>
              <a:gd name="connsiteX54-37135" fmla="*/ 10693106 w 10693106"/>
              <a:gd name="connsiteY54-37136" fmla="*/ 2006956 h 5292022"/>
              <a:gd name="connsiteX55-37137" fmla="*/ 10625373 w 10693106"/>
              <a:gd name="connsiteY55-37138" fmla="*/ 2227089 h 5292022"/>
              <a:gd name="connsiteX56-37139" fmla="*/ 10608440 w 10693106"/>
              <a:gd name="connsiteY56-37140" fmla="*/ 2252489 h 5292022"/>
              <a:gd name="connsiteX57-37141" fmla="*/ 10540706 w 10693106"/>
              <a:gd name="connsiteY57-37142" fmla="*/ 2396422 h 5292022"/>
              <a:gd name="connsiteX58-37143" fmla="*/ 10498373 w 10693106"/>
              <a:gd name="connsiteY58-37144" fmla="*/ 2481089 h 5292022"/>
              <a:gd name="connsiteX59-37145" fmla="*/ 10439106 w 10693106"/>
              <a:gd name="connsiteY59-37146" fmla="*/ 2667356 h 5292022"/>
              <a:gd name="connsiteX60-37147" fmla="*/ 10430640 w 10693106"/>
              <a:gd name="connsiteY60-37148" fmla="*/ 2709689 h 5292022"/>
              <a:gd name="connsiteX61-37149" fmla="*/ 10405240 w 10693106"/>
              <a:gd name="connsiteY61-37150" fmla="*/ 2785889 h 5292022"/>
              <a:gd name="connsiteX62-37151" fmla="*/ 10396773 w 10693106"/>
              <a:gd name="connsiteY62-37152" fmla="*/ 2819756 h 5292022"/>
              <a:gd name="connsiteX63-37153" fmla="*/ 10362906 w 10693106"/>
              <a:gd name="connsiteY63-37154" fmla="*/ 2912889 h 5292022"/>
              <a:gd name="connsiteX64-37155" fmla="*/ 10329040 w 10693106"/>
              <a:gd name="connsiteY64-37156" fmla="*/ 2955222 h 5292022"/>
              <a:gd name="connsiteX65-37157" fmla="*/ 10227440 w 10693106"/>
              <a:gd name="connsiteY65-37158" fmla="*/ 3056822 h 5292022"/>
              <a:gd name="connsiteX66-37159" fmla="*/ 10168173 w 10693106"/>
              <a:gd name="connsiteY66-37160" fmla="*/ 3124556 h 5292022"/>
              <a:gd name="connsiteX67-37161" fmla="*/ 10117373 w 10693106"/>
              <a:gd name="connsiteY67-37162" fmla="*/ 3175356 h 5292022"/>
              <a:gd name="connsiteX68-37163" fmla="*/ 10032706 w 10693106"/>
              <a:gd name="connsiteY68-37164" fmla="*/ 3276956 h 5292022"/>
              <a:gd name="connsiteX69-37165" fmla="*/ 9948040 w 10693106"/>
              <a:gd name="connsiteY69-37166" fmla="*/ 3336222 h 5292022"/>
              <a:gd name="connsiteX70-37167" fmla="*/ 9905706 w 10693106"/>
              <a:gd name="connsiteY70-37168" fmla="*/ 3361622 h 5292022"/>
              <a:gd name="connsiteX71-37169" fmla="*/ 9829506 w 10693106"/>
              <a:gd name="connsiteY71-37170" fmla="*/ 3378556 h 5292022"/>
              <a:gd name="connsiteX72-37171" fmla="*/ 9727906 w 10693106"/>
              <a:gd name="connsiteY72-37172" fmla="*/ 3420889 h 5292022"/>
              <a:gd name="connsiteX73-37173" fmla="*/ 9634773 w 10693106"/>
              <a:gd name="connsiteY73-37174" fmla="*/ 3446289 h 5292022"/>
              <a:gd name="connsiteX74-37175" fmla="*/ 9456973 w 10693106"/>
              <a:gd name="connsiteY74-37176" fmla="*/ 3539422 h 5292022"/>
              <a:gd name="connsiteX75-37177" fmla="*/ 9313040 w 10693106"/>
              <a:gd name="connsiteY75-37178" fmla="*/ 3666422 h 5292022"/>
              <a:gd name="connsiteX76-37179" fmla="*/ 9279173 w 10693106"/>
              <a:gd name="connsiteY76-37180" fmla="*/ 3683356 h 5292022"/>
              <a:gd name="connsiteX77-37181" fmla="*/ 9067506 w 10693106"/>
              <a:gd name="connsiteY77-37182" fmla="*/ 3861156 h 5292022"/>
              <a:gd name="connsiteX78-37183" fmla="*/ 8999773 w 10693106"/>
              <a:gd name="connsiteY78-37184" fmla="*/ 3928889 h 5292022"/>
              <a:gd name="connsiteX79-37185" fmla="*/ 8813506 w 10693106"/>
              <a:gd name="connsiteY79-37186" fmla="*/ 4064356 h 5292022"/>
              <a:gd name="connsiteX80-37187" fmla="*/ 8728840 w 10693106"/>
              <a:gd name="connsiteY80-37188" fmla="*/ 4106689 h 5292022"/>
              <a:gd name="connsiteX81-37189" fmla="*/ 8373240 w 10693106"/>
              <a:gd name="connsiteY81-37190" fmla="*/ 4140556 h 5292022"/>
              <a:gd name="connsiteX82-37191" fmla="*/ 7966840 w 10693106"/>
              <a:gd name="connsiteY82-37192" fmla="*/ 4233689 h 5292022"/>
              <a:gd name="connsiteX83-37193" fmla="*/ 7687440 w 10693106"/>
              <a:gd name="connsiteY83-37194" fmla="*/ 4394556 h 5292022"/>
              <a:gd name="connsiteX84-37195" fmla="*/ 7374173 w 10693106"/>
              <a:gd name="connsiteY84-37196" fmla="*/ 4657022 h 5292022"/>
              <a:gd name="connsiteX85-37197" fmla="*/ 7374173 w 10693106"/>
              <a:gd name="connsiteY85-37198" fmla="*/ 4657022 h 5292022"/>
              <a:gd name="connsiteX86-37199" fmla="*/ 7221773 w 10693106"/>
              <a:gd name="connsiteY86-37200" fmla="*/ 4775556 h 5292022"/>
              <a:gd name="connsiteX87-37201" fmla="*/ 7027040 w 10693106"/>
              <a:gd name="connsiteY87-37202" fmla="*/ 4902556 h 5292022"/>
              <a:gd name="connsiteX88-37203" fmla="*/ 6883106 w 10693106"/>
              <a:gd name="connsiteY88-37204" fmla="*/ 4970289 h 5292022"/>
              <a:gd name="connsiteX89-37205" fmla="*/ 6815373 w 10693106"/>
              <a:gd name="connsiteY89-37206" fmla="*/ 5012622 h 5292022"/>
              <a:gd name="connsiteX90-37207" fmla="*/ 6646040 w 10693106"/>
              <a:gd name="connsiteY90-37208" fmla="*/ 5105756 h 5292022"/>
              <a:gd name="connsiteX91-37209" fmla="*/ 6527506 w 10693106"/>
              <a:gd name="connsiteY91-37210" fmla="*/ 5165022 h 5292022"/>
              <a:gd name="connsiteX92-37211" fmla="*/ 6298906 w 10693106"/>
              <a:gd name="connsiteY92-37212" fmla="*/ 5241222 h 5292022"/>
              <a:gd name="connsiteX93-37213" fmla="*/ 6197306 w 10693106"/>
              <a:gd name="connsiteY93-37214" fmla="*/ 5266622 h 5292022"/>
              <a:gd name="connsiteX94-37215" fmla="*/ 6061840 w 10693106"/>
              <a:gd name="connsiteY94-37216" fmla="*/ 5275089 h 5292022"/>
              <a:gd name="connsiteX95-37217" fmla="*/ 5917906 w 10693106"/>
              <a:gd name="connsiteY95-37218" fmla="*/ 5292022 h 5292022"/>
              <a:gd name="connsiteX96-37219" fmla="*/ 5748573 w 10693106"/>
              <a:gd name="connsiteY96-37220" fmla="*/ 5283556 h 5292022"/>
              <a:gd name="connsiteX97-37221" fmla="*/ 5282906 w 10693106"/>
              <a:gd name="connsiteY97-37222" fmla="*/ 5173489 h 5292022"/>
              <a:gd name="connsiteX98-37223" fmla="*/ 4959480 w 10693106"/>
              <a:gd name="connsiteY98-37224" fmla="*/ 4988069 h 5292022"/>
              <a:gd name="connsiteX99-37225" fmla="*/ 4686853 w 10693106"/>
              <a:gd name="connsiteY99-37226" fmla="*/ 4788256 h 5292022"/>
              <a:gd name="connsiteX100-37227" fmla="*/ 3977346 w 10693106"/>
              <a:gd name="connsiteY100-37228" fmla="*/ 4470544 h 5292022"/>
              <a:gd name="connsiteX101-37229" fmla="*/ 3741550 w 10693106"/>
              <a:gd name="connsiteY101-37230" fmla="*/ 4154102 h 5292022"/>
              <a:gd name="connsiteX102-37231" fmla="*/ 3562056 w 10693106"/>
              <a:gd name="connsiteY102-37232" fmla="*/ 3406919 h 5292022"/>
              <a:gd name="connsiteX103-37233" fmla="*/ 3242440 w 10693106"/>
              <a:gd name="connsiteY103-37234" fmla="*/ 3099156 h 5292022"/>
              <a:gd name="connsiteX104-37235" fmla="*/ 3123906 w 10693106"/>
              <a:gd name="connsiteY104-37236" fmla="*/ 2997556 h 5292022"/>
              <a:gd name="connsiteX105-37237" fmla="*/ 2988440 w 10693106"/>
              <a:gd name="connsiteY105-37238" fmla="*/ 2802822 h 5292022"/>
              <a:gd name="connsiteX106-37239" fmla="*/ 2971506 w 10693106"/>
              <a:gd name="connsiteY106-37240" fmla="*/ 2743556 h 5292022"/>
              <a:gd name="connsiteX107-37241" fmla="*/ 2996906 w 10693106"/>
              <a:gd name="connsiteY107-37242" fmla="*/ 2531889 h 5292022"/>
              <a:gd name="connsiteX108-37243" fmla="*/ 3013840 w 10693106"/>
              <a:gd name="connsiteY108-37244" fmla="*/ 2430289 h 5292022"/>
              <a:gd name="connsiteX109-37245" fmla="*/ 3005373 w 10693106"/>
              <a:gd name="connsiteY109-37246" fmla="*/ 2311756 h 5292022"/>
              <a:gd name="connsiteX110-37247" fmla="*/ 2988440 w 10693106"/>
              <a:gd name="connsiteY110-37248" fmla="*/ 2260956 h 5292022"/>
              <a:gd name="connsiteX111-37249" fmla="*/ 2802173 w 10693106"/>
              <a:gd name="connsiteY111-37250" fmla="*/ 2006956 h 5292022"/>
              <a:gd name="connsiteX112-37251" fmla="*/ 2641306 w 10693106"/>
              <a:gd name="connsiteY112-37252" fmla="*/ 1863022 h 5292022"/>
              <a:gd name="connsiteX113-37253" fmla="*/ 2590506 w 10693106"/>
              <a:gd name="connsiteY113-37254" fmla="*/ 1837622 h 5292022"/>
              <a:gd name="connsiteX114-37255" fmla="*/ 2531240 w 10693106"/>
              <a:gd name="connsiteY114-37256" fmla="*/ 1829156 h 5292022"/>
              <a:gd name="connsiteX115-37257" fmla="*/ 2446573 w 10693106"/>
              <a:gd name="connsiteY115-37258" fmla="*/ 1812222 h 5292022"/>
              <a:gd name="connsiteX116-37259" fmla="*/ 2251840 w 10693106"/>
              <a:gd name="connsiteY116-37260" fmla="*/ 1837622 h 5292022"/>
              <a:gd name="connsiteX117-37261" fmla="*/ 2167173 w 10693106"/>
              <a:gd name="connsiteY117-37262" fmla="*/ 1879956 h 5292022"/>
              <a:gd name="connsiteX118-37263" fmla="*/ 1980906 w 10693106"/>
              <a:gd name="connsiteY118-37264" fmla="*/ 1939222 h 5292022"/>
              <a:gd name="connsiteX119-37265" fmla="*/ 1904706 w 10693106"/>
              <a:gd name="connsiteY119-37266" fmla="*/ 1973089 h 5292022"/>
              <a:gd name="connsiteX120-37267" fmla="*/ 1828506 w 10693106"/>
              <a:gd name="connsiteY120-37268" fmla="*/ 1990022 h 5292022"/>
              <a:gd name="connsiteX121-37269" fmla="*/ 1726906 w 10693106"/>
              <a:gd name="connsiteY121-37270" fmla="*/ 2040822 h 5292022"/>
              <a:gd name="connsiteX122-37271" fmla="*/ 1659173 w 10693106"/>
              <a:gd name="connsiteY122-37272" fmla="*/ 2074689 h 5292022"/>
              <a:gd name="connsiteX123-37273" fmla="*/ 1498306 w 10693106"/>
              <a:gd name="connsiteY123-37274" fmla="*/ 2100089 h 5292022"/>
              <a:gd name="connsiteX124-37275" fmla="*/ 914106 w 10693106"/>
              <a:gd name="connsiteY124-37276" fmla="*/ 2032356 h 5292022"/>
              <a:gd name="connsiteX125-37277" fmla="*/ 617773 w 10693106"/>
              <a:gd name="connsiteY125-37278" fmla="*/ 1922289 h 5292022"/>
              <a:gd name="connsiteX126-37279" fmla="*/ 516173 w 10693106"/>
              <a:gd name="connsiteY126-37280" fmla="*/ 1837622 h 5292022"/>
              <a:gd name="connsiteX127-37281" fmla="*/ 355306 w 10693106"/>
              <a:gd name="connsiteY127-37282" fmla="*/ 1625956 h 5292022"/>
              <a:gd name="connsiteX128-37283" fmla="*/ 296040 w 10693106"/>
              <a:gd name="connsiteY128-37284" fmla="*/ 1524356 h 5292022"/>
              <a:gd name="connsiteX129-37285" fmla="*/ 253706 w 10693106"/>
              <a:gd name="connsiteY129-37286" fmla="*/ 1346556 h 5292022"/>
              <a:gd name="connsiteX130-37287" fmla="*/ 245240 w 10693106"/>
              <a:gd name="connsiteY130-37288" fmla="*/ 1219556 h 5292022"/>
              <a:gd name="connsiteX131-37289" fmla="*/ 236773 w 10693106"/>
              <a:gd name="connsiteY131-37290" fmla="*/ 1117956 h 5292022"/>
              <a:gd name="connsiteX132-37291" fmla="*/ 245240 w 10693106"/>
              <a:gd name="connsiteY132-37292" fmla="*/ 847022 h 5292022"/>
              <a:gd name="connsiteX133-37293" fmla="*/ 236773 w 10693106"/>
              <a:gd name="connsiteY133-37294" fmla="*/ 703089 h 5292022"/>
              <a:gd name="connsiteX134-37295" fmla="*/ 109773 w 10693106"/>
              <a:gd name="connsiteY134-37296" fmla="*/ 559156 h 5292022"/>
              <a:gd name="connsiteX135-37297" fmla="*/ 58973 w 10693106"/>
              <a:gd name="connsiteY135-37298" fmla="*/ 482956 h 5292022"/>
              <a:gd name="connsiteX136-37299" fmla="*/ 16640 w 10693106"/>
              <a:gd name="connsiteY136-37300" fmla="*/ 432156 h 5292022"/>
              <a:gd name="connsiteX137-37301" fmla="*/ 8173 w 10693106"/>
              <a:gd name="connsiteY137-37302" fmla="*/ 389822 h 5292022"/>
              <a:gd name="connsiteX138-37303" fmla="*/ 16640 w 10693106"/>
              <a:gd name="connsiteY138-37304" fmla="*/ 339022 h 5292022"/>
              <a:gd name="connsiteX0-37305" fmla="*/ 16640 w 10693106"/>
              <a:gd name="connsiteY0-37306" fmla="*/ 339022 h 5292022"/>
              <a:gd name="connsiteX1-37307" fmla="*/ 58973 w 10693106"/>
              <a:gd name="connsiteY1-37308" fmla="*/ 245889 h 5292022"/>
              <a:gd name="connsiteX2-37309" fmla="*/ 109773 w 10693106"/>
              <a:gd name="connsiteY2-37310" fmla="*/ 178156 h 5292022"/>
              <a:gd name="connsiteX3-37311" fmla="*/ 202906 w 10693106"/>
              <a:gd name="connsiteY3-37312" fmla="*/ 93489 h 5292022"/>
              <a:gd name="connsiteX4-37313" fmla="*/ 236773 w 10693106"/>
              <a:gd name="connsiteY4-37314" fmla="*/ 68089 h 5292022"/>
              <a:gd name="connsiteX5-37315" fmla="*/ 335410 w 10693106"/>
              <a:gd name="connsiteY5-37316" fmla="*/ 58352 h 5292022"/>
              <a:gd name="connsiteX6-37317" fmla="*/ 382400 w 10693106"/>
              <a:gd name="connsiteY6-37318" fmla="*/ 51156 h 5292022"/>
              <a:gd name="connsiteX7-37319" fmla="*/ 434912 w 10693106"/>
              <a:gd name="connsiteY7-37320" fmla="*/ 70071 h 5292022"/>
              <a:gd name="connsiteX8-37321" fmla="*/ 492697 w 10693106"/>
              <a:gd name="connsiteY8-37322" fmla="*/ 74247 h 5292022"/>
              <a:gd name="connsiteX9-37323" fmla="*/ 822897 w 10693106"/>
              <a:gd name="connsiteY9-37324" fmla="*/ 82713 h 5292022"/>
              <a:gd name="connsiteX10-37325" fmla="*/ 1091906 w 10693106"/>
              <a:gd name="connsiteY10-37326" fmla="*/ 356 h 5292022"/>
              <a:gd name="connsiteX11-37327" fmla="*/ 1235840 w 10693106"/>
              <a:gd name="connsiteY11-37328" fmla="*/ 59622 h 5292022"/>
              <a:gd name="connsiteX12-37329" fmla="*/ 1337440 w 10693106"/>
              <a:gd name="connsiteY12-37330" fmla="*/ 135822 h 5292022"/>
              <a:gd name="connsiteX13-37331" fmla="*/ 1422106 w 10693106"/>
              <a:gd name="connsiteY13-37332" fmla="*/ 245889 h 5292022"/>
              <a:gd name="connsiteX14-37333" fmla="*/ 1481373 w 10693106"/>
              <a:gd name="connsiteY14-37334" fmla="*/ 313622 h 5292022"/>
              <a:gd name="connsiteX15-37335" fmla="*/ 1532173 w 10693106"/>
              <a:gd name="connsiteY15-37336" fmla="*/ 347489 h 5292022"/>
              <a:gd name="connsiteX16-37337" fmla="*/ 1684573 w 10693106"/>
              <a:gd name="connsiteY16-37338" fmla="*/ 406756 h 5292022"/>
              <a:gd name="connsiteX17-37339" fmla="*/ 1760773 w 10693106"/>
              <a:gd name="connsiteY17-37340" fmla="*/ 423689 h 5292022"/>
              <a:gd name="connsiteX18-37341" fmla="*/ 1997840 w 10693106"/>
              <a:gd name="connsiteY18-37342" fmla="*/ 415222 h 5292022"/>
              <a:gd name="connsiteX19-37343" fmla="*/ 2116373 w 10693106"/>
              <a:gd name="connsiteY19-37344" fmla="*/ 398289 h 5292022"/>
              <a:gd name="connsiteX20-37345" fmla="*/ 2260306 w 10693106"/>
              <a:gd name="connsiteY20-37346" fmla="*/ 381356 h 5292022"/>
              <a:gd name="connsiteX21-37347" fmla="*/ 2404240 w 10693106"/>
              <a:gd name="connsiteY21-37348" fmla="*/ 355956 h 5292022"/>
              <a:gd name="connsiteX22-37349" fmla="*/ 2455040 w 10693106"/>
              <a:gd name="connsiteY22-37350" fmla="*/ 330556 h 5292022"/>
              <a:gd name="connsiteX23-37351" fmla="*/ 2531240 w 10693106"/>
              <a:gd name="connsiteY23-37352" fmla="*/ 305156 h 5292022"/>
              <a:gd name="connsiteX24-37353" fmla="*/ 2649350 w 10693106"/>
              <a:gd name="connsiteY24-37354" fmla="*/ 225781 h 5292022"/>
              <a:gd name="connsiteX25-37355" fmla="*/ 2742906 w 10693106"/>
              <a:gd name="connsiteY25-37356" fmla="*/ 186622 h 5292022"/>
              <a:gd name="connsiteX26-37357" fmla="*/ 2764920 w 10693106"/>
              <a:gd name="connsiteY26-37358" fmla="*/ 173076 h 5292022"/>
              <a:gd name="connsiteX27-37359" fmla="*/ 2832653 w 10693106"/>
              <a:gd name="connsiteY27-37360" fmla="*/ 167996 h 5292022"/>
              <a:gd name="connsiteX28-37361" fmla="*/ 3002294 w 10693106"/>
              <a:gd name="connsiteY28-37362" fmla="*/ 154680 h 5292022"/>
              <a:gd name="connsiteX29-37363" fmla="*/ 3142763 w 10693106"/>
              <a:gd name="connsiteY29-37364" fmla="*/ 110421 h 5292022"/>
              <a:gd name="connsiteX30-37365" fmla="*/ 3398918 w 10693106"/>
              <a:gd name="connsiteY30-37366" fmla="*/ 72322 h 5292022"/>
              <a:gd name="connsiteX31-37367" fmla="*/ 3976923 w 10693106"/>
              <a:gd name="connsiteY31-37368" fmla="*/ 135187 h 5292022"/>
              <a:gd name="connsiteX32-37369" fmla="*/ 4021373 w 10693106"/>
              <a:gd name="connsiteY32-37370" fmla="*/ 144289 h 5292022"/>
              <a:gd name="connsiteX33-37371" fmla="*/ 4529373 w 10693106"/>
              <a:gd name="connsiteY33-37372" fmla="*/ 271289 h 5292022"/>
              <a:gd name="connsiteX34-37373" fmla="*/ 5630810 w 10693106"/>
              <a:gd name="connsiteY34-37374" fmla="*/ 1149898 h 5292022"/>
              <a:gd name="connsiteX35-37375" fmla="*/ 6881490 w 10693106"/>
              <a:gd name="connsiteY35-37376" fmla="*/ 1366452 h 5292022"/>
              <a:gd name="connsiteX36-37377" fmla="*/ 7839032 w 10693106"/>
              <a:gd name="connsiteY36-37378" fmla="*/ 1183996 h 5292022"/>
              <a:gd name="connsiteX37-37379" fmla="*/ 8652640 w 10693106"/>
              <a:gd name="connsiteY37-37380" fmla="*/ 677689 h 5292022"/>
              <a:gd name="connsiteX38-37381" fmla="*/ 8982840 w 10693106"/>
              <a:gd name="connsiteY38-37382" fmla="*/ 398289 h 5292022"/>
              <a:gd name="connsiteX39-37383" fmla="*/ 9380773 w 10693106"/>
              <a:gd name="connsiteY39-37384" fmla="*/ 355956 h 5292022"/>
              <a:gd name="connsiteX40-37385" fmla="*/ 9744840 w 10693106"/>
              <a:gd name="connsiteY40-37386" fmla="*/ 466022 h 5292022"/>
              <a:gd name="connsiteX41-37387" fmla="*/ 9888773 w 10693106"/>
              <a:gd name="connsiteY41-37388" fmla="*/ 508356 h 5292022"/>
              <a:gd name="connsiteX42-37389" fmla="*/ 9998840 w 10693106"/>
              <a:gd name="connsiteY42-37390" fmla="*/ 559156 h 5292022"/>
              <a:gd name="connsiteX43-37391" fmla="*/ 10083506 w 10693106"/>
              <a:gd name="connsiteY43-37392" fmla="*/ 618422 h 5292022"/>
              <a:gd name="connsiteX44-37393" fmla="*/ 10286706 w 10693106"/>
              <a:gd name="connsiteY44-37394" fmla="*/ 686156 h 5292022"/>
              <a:gd name="connsiteX45-37395" fmla="*/ 10388306 w 10693106"/>
              <a:gd name="connsiteY45-37396" fmla="*/ 889356 h 5292022"/>
              <a:gd name="connsiteX46-37397" fmla="*/ 10540706 w 10693106"/>
              <a:gd name="connsiteY46-37398" fmla="*/ 1261889 h 5292022"/>
              <a:gd name="connsiteX47-37399" fmla="*/ 10557640 w 10693106"/>
              <a:gd name="connsiteY47-37400" fmla="*/ 1346556 h 5292022"/>
              <a:gd name="connsiteX48-37401" fmla="*/ 10583040 w 10693106"/>
              <a:gd name="connsiteY48-37402" fmla="*/ 1448156 h 5292022"/>
              <a:gd name="connsiteX49-37403" fmla="*/ 10616906 w 10693106"/>
              <a:gd name="connsiteY49-37404" fmla="*/ 1651356 h 5292022"/>
              <a:gd name="connsiteX50-37405" fmla="*/ 10633840 w 10693106"/>
              <a:gd name="connsiteY50-37406" fmla="*/ 1736022 h 5292022"/>
              <a:gd name="connsiteX51-37407" fmla="*/ 10650773 w 10693106"/>
              <a:gd name="connsiteY51-37408" fmla="*/ 1769889 h 5292022"/>
              <a:gd name="connsiteX52-37409" fmla="*/ 10676173 w 10693106"/>
              <a:gd name="connsiteY52-37410" fmla="*/ 1854556 h 5292022"/>
              <a:gd name="connsiteX53-37411" fmla="*/ 10693106 w 10693106"/>
              <a:gd name="connsiteY53-37412" fmla="*/ 2006956 h 5292022"/>
              <a:gd name="connsiteX54-37413" fmla="*/ 10625373 w 10693106"/>
              <a:gd name="connsiteY54-37414" fmla="*/ 2227089 h 5292022"/>
              <a:gd name="connsiteX55-37415" fmla="*/ 10608440 w 10693106"/>
              <a:gd name="connsiteY55-37416" fmla="*/ 2252489 h 5292022"/>
              <a:gd name="connsiteX56-37417" fmla="*/ 10540706 w 10693106"/>
              <a:gd name="connsiteY56-37418" fmla="*/ 2396422 h 5292022"/>
              <a:gd name="connsiteX57-37419" fmla="*/ 10498373 w 10693106"/>
              <a:gd name="connsiteY57-37420" fmla="*/ 2481089 h 5292022"/>
              <a:gd name="connsiteX58-37421" fmla="*/ 10439106 w 10693106"/>
              <a:gd name="connsiteY58-37422" fmla="*/ 2667356 h 5292022"/>
              <a:gd name="connsiteX59-37423" fmla="*/ 10430640 w 10693106"/>
              <a:gd name="connsiteY59-37424" fmla="*/ 2709689 h 5292022"/>
              <a:gd name="connsiteX60-37425" fmla="*/ 10405240 w 10693106"/>
              <a:gd name="connsiteY60-37426" fmla="*/ 2785889 h 5292022"/>
              <a:gd name="connsiteX61-37427" fmla="*/ 10396773 w 10693106"/>
              <a:gd name="connsiteY61-37428" fmla="*/ 2819756 h 5292022"/>
              <a:gd name="connsiteX62-37429" fmla="*/ 10362906 w 10693106"/>
              <a:gd name="connsiteY62-37430" fmla="*/ 2912889 h 5292022"/>
              <a:gd name="connsiteX63-37431" fmla="*/ 10329040 w 10693106"/>
              <a:gd name="connsiteY63-37432" fmla="*/ 2955222 h 5292022"/>
              <a:gd name="connsiteX64-37433" fmla="*/ 10227440 w 10693106"/>
              <a:gd name="connsiteY64-37434" fmla="*/ 3056822 h 5292022"/>
              <a:gd name="connsiteX65-37435" fmla="*/ 10168173 w 10693106"/>
              <a:gd name="connsiteY65-37436" fmla="*/ 3124556 h 5292022"/>
              <a:gd name="connsiteX66-37437" fmla="*/ 10117373 w 10693106"/>
              <a:gd name="connsiteY66-37438" fmla="*/ 3175356 h 5292022"/>
              <a:gd name="connsiteX67-37439" fmla="*/ 10032706 w 10693106"/>
              <a:gd name="connsiteY67-37440" fmla="*/ 3276956 h 5292022"/>
              <a:gd name="connsiteX68-37441" fmla="*/ 9948040 w 10693106"/>
              <a:gd name="connsiteY68-37442" fmla="*/ 3336222 h 5292022"/>
              <a:gd name="connsiteX69-37443" fmla="*/ 9905706 w 10693106"/>
              <a:gd name="connsiteY69-37444" fmla="*/ 3361622 h 5292022"/>
              <a:gd name="connsiteX70-37445" fmla="*/ 9829506 w 10693106"/>
              <a:gd name="connsiteY70-37446" fmla="*/ 3378556 h 5292022"/>
              <a:gd name="connsiteX71-37447" fmla="*/ 9727906 w 10693106"/>
              <a:gd name="connsiteY71-37448" fmla="*/ 3420889 h 5292022"/>
              <a:gd name="connsiteX72-37449" fmla="*/ 9634773 w 10693106"/>
              <a:gd name="connsiteY72-37450" fmla="*/ 3446289 h 5292022"/>
              <a:gd name="connsiteX73-37451" fmla="*/ 9456973 w 10693106"/>
              <a:gd name="connsiteY73-37452" fmla="*/ 3539422 h 5292022"/>
              <a:gd name="connsiteX74-37453" fmla="*/ 9313040 w 10693106"/>
              <a:gd name="connsiteY74-37454" fmla="*/ 3666422 h 5292022"/>
              <a:gd name="connsiteX75-37455" fmla="*/ 9279173 w 10693106"/>
              <a:gd name="connsiteY75-37456" fmla="*/ 3683356 h 5292022"/>
              <a:gd name="connsiteX76-37457" fmla="*/ 9067506 w 10693106"/>
              <a:gd name="connsiteY76-37458" fmla="*/ 3861156 h 5292022"/>
              <a:gd name="connsiteX77-37459" fmla="*/ 8999773 w 10693106"/>
              <a:gd name="connsiteY77-37460" fmla="*/ 3928889 h 5292022"/>
              <a:gd name="connsiteX78-37461" fmla="*/ 8813506 w 10693106"/>
              <a:gd name="connsiteY78-37462" fmla="*/ 4064356 h 5292022"/>
              <a:gd name="connsiteX79-37463" fmla="*/ 8728840 w 10693106"/>
              <a:gd name="connsiteY79-37464" fmla="*/ 4106689 h 5292022"/>
              <a:gd name="connsiteX80-37465" fmla="*/ 8373240 w 10693106"/>
              <a:gd name="connsiteY80-37466" fmla="*/ 4140556 h 5292022"/>
              <a:gd name="connsiteX81-37467" fmla="*/ 7966840 w 10693106"/>
              <a:gd name="connsiteY81-37468" fmla="*/ 4233689 h 5292022"/>
              <a:gd name="connsiteX82-37469" fmla="*/ 7687440 w 10693106"/>
              <a:gd name="connsiteY82-37470" fmla="*/ 4394556 h 5292022"/>
              <a:gd name="connsiteX83-37471" fmla="*/ 7374173 w 10693106"/>
              <a:gd name="connsiteY83-37472" fmla="*/ 4657022 h 5292022"/>
              <a:gd name="connsiteX84-37473" fmla="*/ 7374173 w 10693106"/>
              <a:gd name="connsiteY84-37474" fmla="*/ 4657022 h 5292022"/>
              <a:gd name="connsiteX85-37475" fmla="*/ 7221773 w 10693106"/>
              <a:gd name="connsiteY85-37476" fmla="*/ 4775556 h 5292022"/>
              <a:gd name="connsiteX86-37477" fmla="*/ 7027040 w 10693106"/>
              <a:gd name="connsiteY86-37478" fmla="*/ 4902556 h 5292022"/>
              <a:gd name="connsiteX87-37479" fmla="*/ 6883106 w 10693106"/>
              <a:gd name="connsiteY87-37480" fmla="*/ 4970289 h 5292022"/>
              <a:gd name="connsiteX88-37481" fmla="*/ 6815373 w 10693106"/>
              <a:gd name="connsiteY88-37482" fmla="*/ 5012622 h 5292022"/>
              <a:gd name="connsiteX89-37483" fmla="*/ 6646040 w 10693106"/>
              <a:gd name="connsiteY89-37484" fmla="*/ 5105756 h 5292022"/>
              <a:gd name="connsiteX90-37485" fmla="*/ 6527506 w 10693106"/>
              <a:gd name="connsiteY90-37486" fmla="*/ 5165022 h 5292022"/>
              <a:gd name="connsiteX91-37487" fmla="*/ 6298906 w 10693106"/>
              <a:gd name="connsiteY91-37488" fmla="*/ 5241222 h 5292022"/>
              <a:gd name="connsiteX92-37489" fmla="*/ 6197306 w 10693106"/>
              <a:gd name="connsiteY92-37490" fmla="*/ 5266622 h 5292022"/>
              <a:gd name="connsiteX93-37491" fmla="*/ 6061840 w 10693106"/>
              <a:gd name="connsiteY93-37492" fmla="*/ 5275089 h 5292022"/>
              <a:gd name="connsiteX94-37493" fmla="*/ 5917906 w 10693106"/>
              <a:gd name="connsiteY94-37494" fmla="*/ 5292022 h 5292022"/>
              <a:gd name="connsiteX95-37495" fmla="*/ 5748573 w 10693106"/>
              <a:gd name="connsiteY95-37496" fmla="*/ 5283556 h 5292022"/>
              <a:gd name="connsiteX96-37497" fmla="*/ 5282906 w 10693106"/>
              <a:gd name="connsiteY96-37498" fmla="*/ 5173489 h 5292022"/>
              <a:gd name="connsiteX97-37499" fmla="*/ 4959480 w 10693106"/>
              <a:gd name="connsiteY97-37500" fmla="*/ 4988069 h 5292022"/>
              <a:gd name="connsiteX98-37501" fmla="*/ 4686853 w 10693106"/>
              <a:gd name="connsiteY98-37502" fmla="*/ 4788256 h 5292022"/>
              <a:gd name="connsiteX99-37503" fmla="*/ 3977346 w 10693106"/>
              <a:gd name="connsiteY99-37504" fmla="*/ 4470544 h 5292022"/>
              <a:gd name="connsiteX100-37505" fmla="*/ 3741550 w 10693106"/>
              <a:gd name="connsiteY100-37506" fmla="*/ 4154102 h 5292022"/>
              <a:gd name="connsiteX101-37507" fmla="*/ 3562056 w 10693106"/>
              <a:gd name="connsiteY101-37508" fmla="*/ 3406919 h 5292022"/>
              <a:gd name="connsiteX102-37509" fmla="*/ 3242440 w 10693106"/>
              <a:gd name="connsiteY102-37510" fmla="*/ 3099156 h 5292022"/>
              <a:gd name="connsiteX103-37511" fmla="*/ 3123906 w 10693106"/>
              <a:gd name="connsiteY103-37512" fmla="*/ 2997556 h 5292022"/>
              <a:gd name="connsiteX104-37513" fmla="*/ 2988440 w 10693106"/>
              <a:gd name="connsiteY104-37514" fmla="*/ 2802822 h 5292022"/>
              <a:gd name="connsiteX105-37515" fmla="*/ 2971506 w 10693106"/>
              <a:gd name="connsiteY105-37516" fmla="*/ 2743556 h 5292022"/>
              <a:gd name="connsiteX106-37517" fmla="*/ 2996906 w 10693106"/>
              <a:gd name="connsiteY106-37518" fmla="*/ 2531889 h 5292022"/>
              <a:gd name="connsiteX107-37519" fmla="*/ 3013840 w 10693106"/>
              <a:gd name="connsiteY107-37520" fmla="*/ 2430289 h 5292022"/>
              <a:gd name="connsiteX108-37521" fmla="*/ 3005373 w 10693106"/>
              <a:gd name="connsiteY108-37522" fmla="*/ 2311756 h 5292022"/>
              <a:gd name="connsiteX109-37523" fmla="*/ 2988440 w 10693106"/>
              <a:gd name="connsiteY109-37524" fmla="*/ 2260956 h 5292022"/>
              <a:gd name="connsiteX110-37525" fmla="*/ 2802173 w 10693106"/>
              <a:gd name="connsiteY110-37526" fmla="*/ 2006956 h 5292022"/>
              <a:gd name="connsiteX111-37527" fmla="*/ 2641306 w 10693106"/>
              <a:gd name="connsiteY111-37528" fmla="*/ 1863022 h 5292022"/>
              <a:gd name="connsiteX112-37529" fmla="*/ 2590506 w 10693106"/>
              <a:gd name="connsiteY112-37530" fmla="*/ 1837622 h 5292022"/>
              <a:gd name="connsiteX113-37531" fmla="*/ 2531240 w 10693106"/>
              <a:gd name="connsiteY113-37532" fmla="*/ 1829156 h 5292022"/>
              <a:gd name="connsiteX114-37533" fmla="*/ 2446573 w 10693106"/>
              <a:gd name="connsiteY114-37534" fmla="*/ 1812222 h 5292022"/>
              <a:gd name="connsiteX115-37535" fmla="*/ 2251840 w 10693106"/>
              <a:gd name="connsiteY115-37536" fmla="*/ 1837622 h 5292022"/>
              <a:gd name="connsiteX116-37537" fmla="*/ 2167173 w 10693106"/>
              <a:gd name="connsiteY116-37538" fmla="*/ 1879956 h 5292022"/>
              <a:gd name="connsiteX117-37539" fmla="*/ 1980906 w 10693106"/>
              <a:gd name="connsiteY117-37540" fmla="*/ 1939222 h 5292022"/>
              <a:gd name="connsiteX118-37541" fmla="*/ 1904706 w 10693106"/>
              <a:gd name="connsiteY118-37542" fmla="*/ 1973089 h 5292022"/>
              <a:gd name="connsiteX119-37543" fmla="*/ 1828506 w 10693106"/>
              <a:gd name="connsiteY119-37544" fmla="*/ 1990022 h 5292022"/>
              <a:gd name="connsiteX120-37545" fmla="*/ 1726906 w 10693106"/>
              <a:gd name="connsiteY120-37546" fmla="*/ 2040822 h 5292022"/>
              <a:gd name="connsiteX121-37547" fmla="*/ 1659173 w 10693106"/>
              <a:gd name="connsiteY121-37548" fmla="*/ 2074689 h 5292022"/>
              <a:gd name="connsiteX122-37549" fmla="*/ 1498306 w 10693106"/>
              <a:gd name="connsiteY122-37550" fmla="*/ 2100089 h 5292022"/>
              <a:gd name="connsiteX123-37551" fmla="*/ 914106 w 10693106"/>
              <a:gd name="connsiteY123-37552" fmla="*/ 2032356 h 5292022"/>
              <a:gd name="connsiteX124-37553" fmla="*/ 617773 w 10693106"/>
              <a:gd name="connsiteY124-37554" fmla="*/ 1922289 h 5292022"/>
              <a:gd name="connsiteX125-37555" fmla="*/ 516173 w 10693106"/>
              <a:gd name="connsiteY125-37556" fmla="*/ 1837622 h 5292022"/>
              <a:gd name="connsiteX126-37557" fmla="*/ 355306 w 10693106"/>
              <a:gd name="connsiteY126-37558" fmla="*/ 1625956 h 5292022"/>
              <a:gd name="connsiteX127-37559" fmla="*/ 296040 w 10693106"/>
              <a:gd name="connsiteY127-37560" fmla="*/ 1524356 h 5292022"/>
              <a:gd name="connsiteX128-37561" fmla="*/ 253706 w 10693106"/>
              <a:gd name="connsiteY128-37562" fmla="*/ 1346556 h 5292022"/>
              <a:gd name="connsiteX129-37563" fmla="*/ 245240 w 10693106"/>
              <a:gd name="connsiteY129-37564" fmla="*/ 1219556 h 5292022"/>
              <a:gd name="connsiteX130-37565" fmla="*/ 236773 w 10693106"/>
              <a:gd name="connsiteY130-37566" fmla="*/ 1117956 h 5292022"/>
              <a:gd name="connsiteX131-37567" fmla="*/ 245240 w 10693106"/>
              <a:gd name="connsiteY131-37568" fmla="*/ 847022 h 5292022"/>
              <a:gd name="connsiteX132-37569" fmla="*/ 236773 w 10693106"/>
              <a:gd name="connsiteY132-37570" fmla="*/ 703089 h 5292022"/>
              <a:gd name="connsiteX133-37571" fmla="*/ 109773 w 10693106"/>
              <a:gd name="connsiteY133-37572" fmla="*/ 559156 h 5292022"/>
              <a:gd name="connsiteX134-37573" fmla="*/ 58973 w 10693106"/>
              <a:gd name="connsiteY134-37574" fmla="*/ 482956 h 5292022"/>
              <a:gd name="connsiteX135-37575" fmla="*/ 16640 w 10693106"/>
              <a:gd name="connsiteY135-37576" fmla="*/ 432156 h 5292022"/>
              <a:gd name="connsiteX136-37577" fmla="*/ 8173 w 10693106"/>
              <a:gd name="connsiteY136-37578" fmla="*/ 389822 h 5292022"/>
              <a:gd name="connsiteX137-37579" fmla="*/ 16640 w 10693106"/>
              <a:gd name="connsiteY137-37580" fmla="*/ 339022 h 5292022"/>
              <a:gd name="connsiteX0-37581" fmla="*/ 16640 w 10693106"/>
              <a:gd name="connsiteY0-37582" fmla="*/ 339022 h 5292022"/>
              <a:gd name="connsiteX1-37583" fmla="*/ 58973 w 10693106"/>
              <a:gd name="connsiteY1-37584" fmla="*/ 245889 h 5292022"/>
              <a:gd name="connsiteX2-37585" fmla="*/ 109773 w 10693106"/>
              <a:gd name="connsiteY2-37586" fmla="*/ 178156 h 5292022"/>
              <a:gd name="connsiteX3-37587" fmla="*/ 202906 w 10693106"/>
              <a:gd name="connsiteY3-37588" fmla="*/ 93489 h 5292022"/>
              <a:gd name="connsiteX4-37589" fmla="*/ 236773 w 10693106"/>
              <a:gd name="connsiteY4-37590" fmla="*/ 68089 h 5292022"/>
              <a:gd name="connsiteX5-37591" fmla="*/ 335410 w 10693106"/>
              <a:gd name="connsiteY5-37592" fmla="*/ 58352 h 5292022"/>
              <a:gd name="connsiteX6-37593" fmla="*/ 382400 w 10693106"/>
              <a:gd name="connsiteY6-37594" fmla="*/ 51156 h 5292022"/>
              <a:gd name="connsiteX7-37595" fmla="*/ 434912 w 10693106"/>
              <a:gd name="connsiteY7-37596" fmla="*/ 70071 h 5292022"/>
              <a:gd name="connsiteX8-37597" fmla="*/ 492697 w 10693106"/>
              <a:gd name="connsiteY8-37598" fmla="*/ 74247 h 5292022"/>
              <a:gd name="connsiteX9-37599" fmla="*/ 822897 w 10693106"/>
              <a:gd name="connsiteY9-37600" fmla="*/ 82713 h 5292022"/>
              <a:gd name="connsiteX10-37601" fmla="*/ 1091906 w 10693106"/>
              <a:gd name="connsiteY10-37602" fmla="*/ 356 h 5292022"/>
              <a:gd name="connsiteX11-37603" fmla="*/ 1235840 w 10693106"/>
              <a:gd name="connsiteY11-37604" fmla="*/ 59622 h 5292022"/>
              <a:gd name="connsiteX12-37605" fmla="*/ 1337440 w 10693106"/>
              <a:gd name="connsiteY12-37606" fmla="*/ 135822 h 5292022"/>
              <a:gd name="connsiteX13-37607" fmla="*/ 1422106 w 10693106"/>
              <a:gd name="connsiteY13-37608" fmla="*/ 245889 h 5292022"/>
              <a:gd name="connsiteX14-37609" fmla="*/ 1481373 w 10693106"/>
              <a:gd name="connsiteY14-37610" fmla="*/ 313622 h 5292022"/>
              <a:gd name="connsiteX15-37611" fmla="*/ 1532173 w 10693106"/>
              <a:gd name="connsiteY15-37612" fmla="*/ 347489 h 5292022"/>
              <a:gd name="connsiteX16-37613" fmla="*/ 1684573 w 10693106"/>
              <a:gd name="connsiteY16-37614" fmla="*/ 406756 h 5292022"/>
              <a:gd name="connsiteX17-37615" fmla="*/ 1760773 w 10693106"/>
              <a:gd name="connsiteY17-37616" fmla="*/ 423689 h 5292022"/>
              <a:gd name="connsiteX18-37617" fmla="*/ 1997840 w 10693106"/>
              <a:gd name="connsiteY18-37618" fmla="*/ 415222 h 5292022"/>
              <a:gd name="connsiteX19-37619" fmla="*/ 2116373 w 10693106"/>
              <a:gd name="connsiteY19-37620" fmla="*/ 398289 h 5292022"/>
              <a:gd name="connsiteX20-37621" fmla="*/ 2260306 w 10693106"/>
              <a:gd name="connsiteY20-37622" fmla="*/ 381356 h 5292022"/>
              <a:gd name="connsiteX21-37623" fmla="*/ 2404240 w 10693106"/>
              <a:gd name="connsiteY21-37624" fmla="*/ 355956 h 5292022"/>
              <a:gd name="connsiteX22-37625" fmla="*/ 2455040 w 10693106"/>
              <a:gd name="connsiteY22-37626" fmla="*/ 330556 h 5292022"/>
              <a:gd name="connsiteX23-37627" fmla="*/ 2531240 w 10693106"/>
              <a:gd name="connsiteY23-37628" fmla="*/ 305156 h 5292022"/>
              <a:gd name="connsiteX24-37629" fmla="*/ 2649350 w 10693106"/>
              <a:gd name="connsiteY24-37630" fmla="*/ 225781 h 5292022"/>
              <a:gd name="connsiteX25-37631" fmla="*/ 2742906 w 10693106"/>
              <a:gd name="connsiteY25-37632" fmla="*/ 186622 h 5292022"/>
              <a:gd name="connsiteX26-37633" fmla="*/ 2764920 w 10693106"/>
              <a:gd name="connsiteY26-37634" fmla="*/ 173076 h 5292022"/>
              <a:gd name="connsiteX27-37635" fmla="*/ 2832653 w 10693106"/>
              <a:gd name="connsiteY27-37636" fmla="*/ 167996 h 5292022"/>
              <a:gd name="connsiteX28-37637" fmla="*/ 3002294 w 10693106"/>
              <a:gd name="connsiteY28-37638" fmla="*/ 154680 h 5292022"/>
              <a:gd name="connsiteX29-37639" fmla="*/ 3142763 w 10693106"/>
              <a:gd name="connsiteY29-37640" fmla="*/ 110421 h 5292022"/>
              <a:gd name="connsiteX30-37641" fmla="*/ 3398918 w 10693106"/>
              <a:gd name="connsiteY30-37642" fmla="*/ 72322 h 5292022"/>
              <a:gd name="connsiteX31-37643" fmla="*/ 4021373 w 10693106"/>
              <a:gd name="connsiteY31-37644" fmla="*/ 144289 h 5292022"/>
              <a:gd name="connsiteX32-37645" fmla="*/ 4529373 w 10693106"/>
              <a:gd name="connsiteY32-37646" fmla="*/ 271289 h 5292022"/>
              <a:gd name="connsiteX33-37647" fmla="*/ 5630810 w 10693106"/>
              <a:gd name="connsiteY33-37648" fmla="*/ 1149898 h 5292022"/>
              <a:gd name="connsiteX34-37649" fmla="*/ 6881490 w 10693106"/>
              <a:gd name="connsiteY34-37650" fmla="*/ 1366452 h 5292022"/>
              <a:gd name="connsiteX35-37651" fmla="*/ 7839032 w 10693106"/>
              <a:gd name="connsiteY35-37652" fmla="*/ 1183996 h 5292022"/>
              <a:gd name="connsiteX36-37653" fmla="*/ 8652640 w 10693106"/>
              <a:gd name="connsiteY36-37654" fmla="*/ 677689 h 5292022"/>
              <a:gd name="connsiteX37-37655" fmla="*/ 8982840 w 10693106"/>
              <a:gd name="connsiteY37-37656" fmla="*/ 398289 h 5292022"/>
              <a:gd name="connsiteX38-37657" fmla="*/ 9380773 w 10693106"/>
              <a:gd name="connsiteY38-37658" fmla="*/ 355956 h 5292022"/>
              <a:gd name="connsiteX39-37659" fmla="*/ 9744840 w 10693106"/>
              <a:gd name="connsiteY39-37660" fmla="*/ 466022 h 5292022"/>
              <a:gd name="connsiteX40-37661" fmla="*/ 9888773 w 10693106"/>
              <a:gd name="connsiteY40-37662" fmla="*/ 508356 h 5292022"/>
              <a:gd name="connsiteX41-37663" fmla="*/ 9998840 w 10693106"/>
              <a:gd name="connsiteY41-37664" fmla="*/ 559156 h 5292022"/>
              <a:gd name="connsiteX42-37665" fmla="*/ 10083506 w 10693106"/>
              <a:gd name="connsiteY42-37666" fmla="*/ 618422 h 5292022"/>
              <a:gd name="connsiteX43-37667" fmla="*/ 10286706 w 10693106"/>
              <a:gd name="connsiteY43-37668" fmla="*/ 686156 h 5292022"/>
              <a:gd name="connsiteX44-37669" fmla="*/ 10388306 w 10693106"/>
              <a:gd name="connsiteY44-37670" fmla="*/ 889356 h 5292022"/>
              <a:gd name="connsiteX45-37671" fmla="*/ 10540706 w 10693106"/>
              <a:gd name="connsiteY45-37672" fmla="*/ 1261889 h 5292022"/>
              <a:gd name="connsiteX46-37673" fmla="*/ 10557640 w 10693106"/>
              <a:gd name="connsiteY46-37674" fmla="*/ 1346556 h 5292022"/>
              <a:gd name="connsiteX47-37675" fmla="*/ 10583040 w 10693106"/>
              <a:gd name="connsiteY47-37676" fmla="*/ 1448156 h 5292022"/>
              <a:gd name="connsiteX48-37677" fmla="*/ 10616906 w 10693106"/>
              <a:gd name="connsiteY48-37678" fmla="*/ 1651356 h 5292022"/>
              <a:gd name="connsiteX49-37679" fmla="*/ 10633840 w 10693106"/>
              <a:gd name="connsiteY49-37680" fmla="*/ 1736022 h 5292022"/>
              <a:gd name="connsiteX50-37681" fmla="*/ 10650773 w 10693106"/>
              <a:gd name="connsiteY50-37682" fmla="*/ 1769889 h 5292022"/>
              <a:gd name="connsiteX51-37683" fmla="*/ 10676173 w 10693106"/>
              <a:gd name="connsiteY51-37684" fmla="*/ 1854556 h 5292022"/>
              <a:gd name="connsiteX52-37685" fmla="*/ 10693106 w 10693106"/>
              <a:gd name="connsiteY52-37686" fmla="*/ 2006956 h 5292022"/>
              <a:gd name="connsiteX53-37687" fmla="*/ 10625373 w 10693106"/>
              <a:gd name="connsiteY53-37688" fmla="*/ 2227089 h 5292022"/>
              <a:gd name="connsiteX54-37689" fmla="*/ 10608440 w 10693106"/>
              <a:gd name="connsiteY54-37690" fmla="*/ 2252489 h 5292022"/>
              <a:gd name="connsiteX55-37691" fmla="*/ 10540706 w 10693106"/>
              <a:gd name="connsiteY55-37692" fmla="*/ 2396422 h 5292022"/>
              <a:gd name="connsiteX56-37693" fmla="*/ 10498373 w 10693106"/>
              <a:gd name="connsiteY56-37694" fmla="*/ 2481089 h 5292022"/>
              <a:gd name="connsiteX57-37695" fmla="*/ 10439106 w 10693106"/>
              <a:gd name="connsiteY57-37696" fmla="*/ 2667356 h 5292022"/>
              <a:gd name="connsiteX58-37697" fmla="*/ 10430640 w 10693106"/>
              <a:gd name="connsiteY58-37698" fmla="*/ 2709689 h 5292022"/>
              <a:gd name="connsiteX59-37699" fmla="*/ 10405240 w 10693106"/>
              <a:gd name="connsiteY59-37700" fmla="*/ 2785889 h 5292022"/>
              <a:gd name="connsiteX60-37701" fmla="*/ 10396773 w 10693106"/>
              <a:gd name="connsiteY60-37702" fmla="*/ 2819756 h 5292022"/>
              <a:gd name="connsiteX61-37703" fmla="*/ 10362906 w 10693106"/>
              <a:gd name="connsiteY61-37704" fmla="*/ 2912889 h 5292022"/>
              <a:gd name="connsiteX62-37705" fmla="*/ 10329040 w 10693106"/>
              <a:gd name="connsiteY62-37706" fmla="*/ 2955222 h 5292022"/>
              <a:gd name="connsiteX63-37707" fmla="*/ 10227440 w 10693106"/>
              <a:gd name="connsiteY63-37708" fmla="*/ 3056822 h 5292022"/>
              <a:gd name="connsiteX64-37709" fmla="*/ 10168173 w 10693106"/>
              <a:gd name="connsiteY64-37710" fmla="*/ 3124556 h 5292022"/>
              <a:gd name="connsiteX65-37711" fmla="*/ 10117373 w 10693106"/>
              <a:gd name="connsiteY65-37712" fmla="*/ 3175356 h 5292022"/>
              <a:gd name="connsiteX66-37713" fmla="*/ 10032706 w 10693106"/>
              <a:gd name="connsiteY66-37714" fmla="*/ 3276956 h 5292022"/>
              <a:gd name="connsiteX67-37715" fmla="*/ 9948040 w 10693106"/>
              <a:gd name="connsiteY67-37716" fmla="*/ 3336222 h 5292022"/>
              <a:gd name="connsiteX68-37717" fmla="*/ 9905706 w 10693106"/>
              <a:gd name="connsiteY68-37718" fmla="*/ 3361622 h 5292022"/>
              <a:gd name="connsiteX69-37719" fmla="*/ 9829506 w 10693106"/>
              <a:gd name="connsiteY69-37720" fmla="*/ 3378556 h 5292022"/>
              <a:gd name="connsiteX70-37721" fmla="*/ 9727906 w 10693106"/>
              <a:gd name="connsiteY70-37722" fmla="*/ 3420889 h 5292022"/>
              <a:gd name="connsiteX71-37723" fmla="*/ 9634773 w 10693106"/>
              <a:gd name="connsiteY71-37724" fmla="*/ 3446289 h 5292022"/>
              <a:gd name="connsiteX72-37725" fmla="*/ 9456973 w 10693106"/>
              <a:gd name="connsiteY72-37726" fmla="*/ 3539422 h 5292022"/>
              <a:gd name="connsiteX73-37727" fmla="*/ 9313040 w 10693106"/>
              <a:gd name="connsiteY73-37728" fmla="*/ 3666422 h 5292022"/>
              <a:gd name="connsiteX74-37729" fmla="*/ 9279173 w 10693106"/>
              <a:gd name="connsiteY74-37730" fmla="*/ 3683356 h 5292022"/>
              <a:gd name="connsiteX75-37731" fmla="*/ 9067506 w 10693106"/>
              <a:gd name="connsiteY75-37732" fmla="*/ 3861156 h 5292022"/>
              <a:gd name="connsiteX76-37733" fmla="*/ 8999773 w 10693106"/>
              <a:gd name="connsiteY76-37734" fmla="*/ 3928889 h 5292022"/>
              <a:gd name="connsiteX77-37735" fmla="*/ 8813506 w 10693106"/>
              <a:gd name="connsiteY77-37736" fmla="*/ 4064356 h 5292022"/>
              <a:gd name="connsiteX78-37737" fmla="*/ 8728840 w 10693106"/>
              <a:gd name="connsiteY78-37738" fmla="*/ 4106689 h 5292022"/>
              <a:gd name="connsiteX79-37739" fmla="*/ 8373240 w 10693106"/>
              <a:gd name="connsiteY79-37740" fmla="*/ 4140556 h 5292022"/>
              <a:gd name="connsiteX80-37741" fmla="*/ 7966840 w 10693106"/>
              <a:gd name="connsiteY80-37742" fmla="*/ 4233689 h 5292022"/>
              <a:gd name="connsiteX81-37743" fmla="*/ 7687440 w 10693106"/>
              <a:gd name="connsiteY81-37744" fmla="*/ 4394556 h 5292022"/>
              <a:gd name="connsiteX82-37745" fmla="*/ 7374173 w 10693106"/>
              <a:gd name="connsiteY82-37746" fmla="*/ 4657022 h 5292022"/>
              <a:gd name="connsiteX83-37747" fmla="*/ 7374173 w 10693106"/>
              <a:gd name="connsiteY83-37748" fmla="*/ 4657022 h 5292022"/>
              <a:gd name="connsiteX84-37749" fmla="*/ 7221773 w 10693106"/>
              <a:gd name="connsiteY84-37750" fmla="*/ 4775556 h 5292022"/>
              <a:gd name="connsiteX85-37751" fmla="*/ 7027040 w 10693106"/>
              <a:gd name="connsiteY85-37752" fmla="*/ 4902556 h 5292022"/>
              <a:gd name="connsiteX86-37753" fmla="*/ 6883106 w 10693106"/>
              <a:gd name="connsiteY86-37754" fmla="*/ 4970289 h 5292022"/>
              <a:gd name="connsiteX87-37755" fmla="*/ 6815373 w 10693106"/>
              <a:gd name="connsiteY87-37756" fmla="*/ 5012622 h 5292022"/>
              <a:gd name="connsiteX88-37757" fmla="*/ 6646040 w 10693106"/>
              <a:gd name="connsiteY88-37758" fmla="*/ 5105756 h 5292022"/>
              <a:gd name="connsiteX89-37759" fmla="*/ 6527506 w 10693106"/>
              <a:gd name="connsiteY89-37760" fmla="*/ 5165022 h 5292022"/>
              <a:gd name="connsiteX90-37761" fmla="*/ 6298906 w 10693106"/>
              <a:gd name="connsiteY90-37762" fmla="*/ 5241222 h 5292022"/>
              <a:gd name="connsiteX91-37763" fmla="*/ 6197306 w 10693106"/>
              <a:gd name="connsiteY91-37764" fmla="*/ 5266622 h 5292022"/>
              <a:gd name="connsiteX92-37765" fmla="*/ 6061840 w 10693106"/>
              <a:gd name="connsiteY92-37766" fmla="*/ 5275089 h 5292022"/>
              <a:gd name="connsiteX93-37767" fmla="*/ 5917906 w 10693106"/>
              <a:gd name="connsiteY93-37768" fmla="*/ 5292022 h 5292022"/>
              <a:gd name="connsiteX94-37769" fmla="*/ 5748573 w 10693106"/>
              <a:gd name="connsiteY94-37770" fmla="*/ 5283556 h 5292022"/>
              <a:gd name="connsiteX95-37771" fmla="*/ 5282906 w 10693106"/>
              <a:gd name="connsiteY95-37772" fmla="*/ 5173489 h 5292022"/>
              <a:gd name="connsiteX96-37773" fmla="*/ 4959480 w 10693106"/>
              <a:gd name="connsiteY96-37774" fmla="*/ 4988069 h 5292022"/>
              <a:gd name="connsiteX97-37775" fmla="*/ 4686853 w 10693106"/>
              <a:gd name="connsiteY97-37776" fmla="*/ 4788256 h 5292022"/>
              <a:gd name="connsiteX98-37777" fmla="*/ 3977346 w 10693106"/>
              <a:gd name="connsiteY98-37778" fmla="*/ 4470544 h 5292022"/>
              <a:gd name="connsiteX99-37779" fmla="*/ 3741550 w 10693106"/>
              <a:gd name="connsiteY99-37780" fmla="*/ 4154102 h 5292022"/>
              <a:gd name="connsiteX100-37781" fmla="*/ 3562056 w 10693106"/>
              <a:gd name="connsiteY100-37782" fmla="*/ 3406919 h 5292022"/>
              <a:gd name="connsiteX101-37783" fmla="*/ 3242440 w 10693106"/>
              <a:gd name="connsiteY101-37784" fmla="*/ 3099156 h 5292022"/>
              <a:gd name="connsiteX102-37785" fmla="*/ 3123906 w 10693106"/>
              <a:gd name="connsiteY102-37786" fmla="*/ 2997556 h 5292022"/>
              <a:gd name="connsiteX103-37787" fmla="*/ 2988440 w 10693106"/>
              <a:gd name="connsiteY103-37788" fmla="*/ 2802822 h 5292022"/>
              <a:gd name="connsiteX104-37789" fmla="*/ 2971506 w 10693106"/>
              <a:gd name="connsiteY104-37790" fmla="*/ 2743556 h 5292022"/>
              <a:gd name="connsiteX105-37791" fmla="*/ 2996906 w 10693106"/>
              <a:gd name="connsiteY105-37792" fmla="*/ 2531889 h 5292022"/>
              <a:gd name="connsiteX106-37793" fmla="*/ 3013840 w 10693106"/>
              <a:gd name="connsiteY106-37794" fmla="*/ 2430289 h 5292022"/>
              <a:gd name="connsiteX107-37795" fmla="*/ 3005373 w 10693106"/>
              <a:gd name="connsiteY107-37796" fmla="*/ 2311756 h 5292022"/>
              <a:gd name="connsiteX108-37797" fmla="*/ 2988440 w 10693106"/>
              <a:gd name="connsiteY108-37798" fmla="*/ 2260956 h 5292022"/>
              <a:gd name="connsiteX109-37799" fmla="*/ 2802173 w 10693106"/>
              <a:gd name="connsiteY109-37800" fmla="*/ 2006956 h 5292022"/>
              <a:gd name="connsiteX110-37801" fmla="*/ 2641306 w 10693106"/>
              <a:gd name="connsiteY110-37802" fmla="*/ 1863022 h 5292022"/>
              <a:gd name="connsiteX111-37803" fmla="*/ 2590506 w 10693106"/>
              <a:gd name="connsiteY111-37804" fmla="*/ 1837622 h 5292022"/>
              <a:gd name="connsiteX112-37805" fmla="*/ 2531240 w 10693106"/>
              <a:gd name="connsiteY112-37806" fmla="*/ 1829156 h 5292022"/>
              <a:gd name="connsiteX113-37807" fmla="*/ 2446573 w 10693106"/>
              <a:gd name="connsiteY113-37808" fmla="*/ 1812222 h 5292022"/>
              <a:gd name="connsiteX114-37809" fmla="*/ 2251840 w 10693106"/>
              <a:gd name="connsiteY114-37810" fmla="*/ 1837622 h 5292022"/>
              <a:gd name="connsiteX115-37811" fmla="*/ 2167173 w 10693106"/>
              <a:gd name="connsiteY115-37812" fmla="*/ 1879956 h 5292022"/>
              <a:gd name="connsiteX116-37813" fmla="*/ 1980906 w 10693106"/>
              <a:gd name="connsiteY116-37814" fmla="*/ 1939222 h 5292022"/>
              <a:gd name="connsiteX117-37815" fmla="*/ 1904706 w 10693106"/>
              <a:gd name="connsiteY117-37816" fmla="*/ 1973089 h 5292022"/>
              <a:gd name="connsiteX118-37817" fmla="*/ 1828506 w 10693106"/>
              <a:gd name="connsiteY118-37818" fmla="*/ 1990022 h 5292022"/>
              <a:gd name="connsiteX119-37819" fmla="*/ 1726906 w 10693106"/>
              <a:gd name="connsiteY119-37820" fmla="*/ 2040822 h 5292022"/>
              <a:gd name="connsiteX120-37821" fmla="*/ 1659173 w 10693106"/>
              <a:gd name="connsiteY120-37822" fmla="*/ 2074689 h 5292022"/>
              <a:gd name="connsiteX121-37823" fmla="*/ 1498306 w 10693106"/>
              <a:gd name="connsiteY121-37824" fmla="*/ 2100089 h 5292022"/>
              <a:gd name="connsiteX122-37825" fmla="*/ 914106 w 10693106"/>
              <a:gd name="connsiteY122-37826" fmla="*/ 2032356 h 5292022"/>
              <a:gd name="connsiteX123-37827" fmla="*/ 617773 w 10693106"/>
              <a:gd name="connsiteY123-37828" fmla="*/ 1922289 h 5292022"/>
              <a:gd name="connsiteX124-37829" fmla="*/ 516173 w 10693106"/>
              <a:gd name="connsiteY124-37830" fmla="*/ 1837622 h 5292022"/>
              <a:gd name="connsiteX125-37831" fmla="*/ 355306 w 10693106"/>
              <a:gd name="connsiteY125-37832" fmla="*/ 1625956 h 5292022"/>
              <a:gd name="connsiteX126-37833" fmla="*/ 296040 w 10693106"/>
              <a:gd name="connsiteY126-37834" fmla="*/ 1524356 h 5292022"/>
              <a:gd name="connsiteX127-37835" fmla="*/ 253706 w 10693106"/>
              <a:gd name="connsiteY127-37836" fmla="*/ 1346556 h 5292022"/>
              <a:gd name="connsiteX128-37837" fmla="*/ 245240 w 10693106"/>
              <a:gd name="connsiteY128-37838" fmla="*/ 1219556 h 5292022"/>
              <a:gd name="connsiteX129-37839" fmla="*/ 236773 w 10693106"/>
              <a:gd name="connsiteY129-37840" fmla="*/ 1117956 h 5292022"/>
              <a:gd name="connsiteX130-37841" fmla="*/ 245240 w 10693106"/>
              <a:gd name="connsiteY130-37842" fmla="*/ 847022 h 5292022"/>
              <a:gd name="connsiteX131-37843" fmla="*/ 236773 w 10693106"/>
              <a:gd name="connsiteY131-37844" fmla="*/ 703089 h 5292022"/>
              <a:gd name="connsiteX132-37845" fmla="*/ 109773 w 10693106"/>
              <a:gd name="connsiteY132-37846" fmla="*/ 559156 h 5292022"/>
              <a:gd name="connsiteX133-37847" fmla="*/ 58973 w 10693106"/>
              <a:gd name="connsiteY133-37848" fmla="*/ 482956 h 5292022"/>
              <a:gd name="connsiteX134-37849" fmla="*/ 16640 w 10693106"/>
              <a:gd name="connsiteY134-37850" fmla="*/ 432156 h 5292022"/>
              <a:gd name="connsiteX135-37851" fmla="*/ 8173 w 10693106"/>
              <a:gd name="connsiteY135-37852" fmla="*/ 389822 h 5292022"/>
              <a:gd name="connsiteX136-37853" fmla="*/ 16640 w 10693106"/>
              <a:gd name="connsiteY136-37854" fmla="*/ 339022 h 5292022"/>
              <a:gd name="connsiteX0-37855" fmla="*/ 16640 w 10693106"/>
              <a:gd name="connsiteY0-37856" fmla="*/ 339022 h 5292022"/>
              <a:gd name="connsiteX1-37857" fmla="*/ 58973 w 10693106"/>
              <a:gd name="connsiteY1-37858" fmla="*/ 245889 h 5292022"/>
              <a:gd name="connsiteX2-37859" fmla="*/ 109773 w 10693106"/>
              <a:gd name="connsiteY2-37860" fmla="*/ 178156 h 5292022"/>
              <a:gd name="connsiteX3-37861" fmla="*/ 202906 w 10693106"/>
              <a:gd name="connsiteY3-37862" fmla="*/ 93489 h 5292022"/>
              <a:gd name="connsiteX4-37863" fmla="*/ 236773 w 10693106"/>
              <a:gd name="connsiteY4-37864" fmla="*/ 68089 h 5292022"/>
              <a:gd name="connsiteX5-37865" fmla="*/ 335410 w 10693106"/>
              <a:gd name="connsiteY5-37866" fmla="*/ 58352 h 5292022"/>
              <a:gd name="connsiteX6-37867" fmla="*/ 382400 w 10693106"/>
              <a:gd name="connsiteY6-37868" fmla="*/ 51156 h 5292022"/>
              <a:gd name="connsiteX7-37869" fmla="*/ 434912 w 10693106"/>
              <a:gd name="connsiteY7-37870" fmla="*/ 70071 h 5292022"/>
              <a:gd name="connsiteX8-37871" fmla="*/ 492697 w 10693106"/>
              <a:gd name="connsiteY8-37872" fmla="*/ 74247 h 5292022"/>
              <a:gd name="connsiteX9-37873" fmla="*/ 822897 w 10693106"/>
              <a:gd name="connsiteY9-37874" fmla="*/ 82713 h 5292022"/>
              <a:gd name="connsiteX10-37875" fmla="*/ 1091906 w 10693106"/>
              <a:gd name="connsiteY10-37876" fmla="*/ 356 h 5292022"/>
              <a:gd name="connsiteX11-37877" fmla="*/ 1235840 w 10693106"/>
              <a:gd name="connsiteY11-37878" fmla="*/ 59622 h 5292022"/>
              <a:gd name="connsiteX12-37879" fmla="*/ 1337440 w 10693106"/>
              <a:gd name="connsiteY12-37880" fmla="*/ 135822 h 5292022"/>
              <a:gd name="connsiteX13-37881" fmla="*/ 1422106 w 10693106"/>
              <a:gd name="connsiteY13-37882" fmla="*/ 245889 h 5292022"/>
              <a:gd name="connsiteX14-37883" fmla="*/ 1481373 w 10693106"/>
              <a:gd name="connsiteY14-37884" fmla="*/ 313622 h 5292022"/>
              <a:gd name="connsiteX15-37885" fmla="*/ 1532173 w 10693106"/>
              <a:gd name="connsiteY15-37886" fmla="*/ 347489 h 5292022"/>
              <a:gd name="connsiteX16-37887" fmla="*/ 1684573 w 10693106"/>
              <a:gd name="connsiteY16-37888" fmla="*/ 406756 h 5292022"/>
              <a:gd name="connsiteX17-37889" fmla="*/ 1760773 w 10693106"/>
              <a:gd name="connsiteY17-37890" fmla="*/ 423689 h 5292022"/>
              <a:gd name="connsiteX18-37891" fmla="*/ 1997840 w 10693106"/>
              <a:gd name="connsiteY18-37892" fmla="*/ 415222 h 5292022"/>
              <a:gd name="connsiteX19-37893" fmla="*/ 2116373 w 10693106"/>
              <a:gd name="connsiteY19-37894" fmla="*/ 398289 h 5292022"/>
              <a:gd name="connsiteX20-37895" fmla="*/ 2260306 w 10693106"/>
              <a:gd name="connsiteY20-37896" fmla="*/ 381356 h 5292022"/>
              <a:gd name="connsiteX21-37897" fmla="*/ 2404240 w 10693106"/>
              <a:gd name="connsiteY21-37898" fmla="*/ 355956 h 5292022"/>
              <a:gd name="connsiteX22-37899" fmla="*/ 2455040 w 10693106"/>
              <a:gd name="connsiteY22-37900" fmla="*/ 330556 h 5292022"/>
              <a:gd name="connsiteX23-37901" fmla="*/ 2531240 w 10693106"/>
              <a:gd name="connsiteY23-37902" fmla="*/ 305156 h 5292022"/>
              <a:gd name="connsiteX24-37903" fmla="*/ 2649350 w 10693106"/>
              <a:gd name="connsiteY24-37904" fmla="*/ 225781 h 5292022"/>
              <a:gd name="connsiteX25-37905" fmla="*/ 2742906 w 10693106"/>
              <a:gd name="connsiteY25-37906" fmla="*/ 186622 h 5292022"/>
              <a:gd name="connsiteX26-37907" fmla="*/ 2764920 w 10693106"/>
              <a:gd name="connsiteY26-37908" fmla="*/ 173076 h 5292022"/>
              <a:gd name="connsiteX27-37909" fmla="*/ 2832653 w 10693106"/>
              <a:gd name="connsiteY27-37910" fmla="*/ 167996 h 5292022"/>
              <a:gd name="connsiteX28-37911" fmla="*/ 3002294 w 10693106"/>
              <a:gd name="connsiteY28-37912" fmla="*/ 154680 h 5292022"/>
              <a:gd name="connsiteX29-37913" fmla="*/ 3142763 w 10693106"/>
              <a:gd name="connsiteY29-37914" fmla="*/ 110421 h 5292022"/>
              <a:gd name="connsiteX30-37915" fmla="*/ 3398918 w 10693106"/>
              <a:gd name="connsiteY30-37916" fmla="*/ 72322 h 5292022"/>
              <a:gd name="connsiteX31-37917" fmla="*/ 4529373 w 10693106"/>
              <a:gd name="connsiteY31-37918" fmla="*/ 271289 h 5292022"/>
              <a:gd name="connsiteX32-37919" fmla="*/ 5630810 w 10693106"/>
              <a:gd name="connsiteY32-37920" fmla="*/ 1149898 h 5292022"/>
              <a:gd name="connsiteX33-37921" fmla="*/ 6881490 w 10693106"/>
              <a:gd name="connsiteY33-37922" fmla="*/ 1366452 h 5292022"/>
              <a:gd name="connsiteX34-37923" fmla="*/ 7839032 w 10693106"/>
              <a:gd name="connsiteY34-37924" fmla="*/ 1183996 h 5292022"/>
              <a:gd name="connsiteX35-37925" fmla="*/ 8652640 w 10693106"/>
              <a:gd name="connsiteY35-37926" fmla="*/ 677689 h 5292022"/>
              <a:gd name="connsiteX36-37927" fmla="*/ 8982840 w 10693106"/>
              <a:gd name="connsiteY36-37928" fmla="*/ 398289 h 5292022"/>
              <a:gd name="connsiteX37-37929" fmla="*/ 9380773 w 10693106"/>
              <a:gd name="connsiteY37-37930" fmla="*/ 355956 h 5292022"/>
              <a:gd name="connsiteX38-37931" fmla="*/ 9744840 w 10693106"/>
              <a:gd name="connsiteY38-37932" fmla="*/ 466022 h 5292022"/>
              <a:gd name="connsiteX39-37933" fmla="*/ 9888773 w 10693106"/>
              <a:gd name="connsiteY39-37934" fmla="*/ 508356 h 5292022"/>
              <a:gd name="connsiteX40-37935" fmla="*/ 9998840 w 10693106"/>
              <a:gd name="connsiteY40-37936" fmla="*/ 559156 h 5292022"/>
              <a:gd name="connsiteX41-37937" fmla="*/ 10083506 w 10693106"/>
              <a:gd name="connsiteY41-37938" fmla="*/ 618422 h 5292022"/>
              <a:gd name="connsiteX42-37939" fmla="*/ 10286706 w 10693106"/>
              <a:gd name="connsiteY42-37940" fmla="*/ 686156 h 5292022"/>
              <a:gd name="connsiteX43-37941" fmla="*/ 10388306 w 10693106"/>
              <a:gd name="connsiteY43-37942" fmla="*/ 889356 h 5292022"/>
              <a:gd name="connsiteX44-37943" fmla="*/ 10540706 w 10693106"/>
              <a:gd name="connsiteY44-37944" fmla="*/ 1261889 h 5292022"/>
              <a:gd name="connsiteX45-37945" fmla="*/ 10557640 w 10693106"/>
              <a:gd name="connsiteY45-37946" fmla="*/ 1346556 h 5292022"/>
              <a:gd name="connsiteX46-37947" fmla="*/ 10583040 w 10693106"/>
              <a:gd name="connsiteY46-37948" fmla="*/ 1448156 h 5292022"/>
              <a:gd name="connsiteX47-37949" fmla="*/ 10616906 w 10693106"/>
              <a:gd name="connsiteY47-37950" fmla="*/ 1651356 h 5292022"/>
              <a:gd name="connsiteX48-37951" fmla="*/ 10633840 w 10693106"/>
              <a:gd name="connsiteY48-37952" fmla="*/ 1736022 h 5292022"/>
              <a:gd name="connsiteX49-37953" fmla="*/ 10650773 w 10693106"/>
              <a:gd name="connsiteY49-37954" fmla="*/ 1769889 h 5292022"/>
              <a:gd name="connsiteX50-37955" fmla="*/ 10676173 w 10693106"/>
              <a:gd name="connsiteY50-37956" fmla="*/ 1854556 h 5292022"/>
              <a:gd name="connsiteX51-37957" fmla="*/ 10693106 w 10693106"/>
              <a:gd name="connsiteY51-37958" fmla="*/ 2006956 h 5292022"/>
              <a:gd name="connsiteX52-37959" fmla="*/ 10625373 w 10693106"/>
              <a:gd name="connsiteY52-37960" fmla="*/ 2227089 h 5292022"/>
              <a:gd name="connsiteX53-37961" fmla="*/ 10608440 w 10693106"/>
              <a:gd name="connsiteY53-37962" fmla="*/ 2252489 h 5292022"/>
              <a:gd name="connsiteX54-37963" fmla="*/ 10540706 w 10693106"/>
              <a:gd name="connsiteY54-37964" fmla="*/ 2396422 h 5292022"/>
              <a:gd name="connsiteX55-37965" fmla="*/ 10498373 w 10693106"/>
              <a:gd name="connsiteY55-37966" fmla="*/ 2481089 h 5292022"/>
              <a:gd name="connsiteX56-37967" fmla="*/ 10439106 w 10693106"/>
              <a:gd name="connsiteY56-37968" fmla="*/ 2667356 h 5292022"/>
              <a:gd name="connsiteX57-37969" fmla="*/ 10430640 w 10693106"/>
              <a:gd name="connsiteY57-37970" fmla="*/ 2709689 h 5292022"/>
              <a:gd name="connsiteX58-37971" fmla="*/ 10405240 w 10693106"/>
              <a:gd name="connsiteY58-37972" fmla="*/ 2785889 h 5292022"/>
              <a:gd name="connsiteX59-37973" fmla="*/ 10396773 w 10693106"/>
              <a:gd name="connsiteY59-37974" fmla="*/ 2819756 h 5292022"/>
              <a:gd name="connsiteX60-37975" fmla="*/ 10362906 w 10693106"/>
              <a:gd name="connsiteY60-37976" fmla="*/ 2912889 h 5292022"/>
              <a:gd name="connsiteX61-37977" fmla="*/ 10329040 w 10693106"/>
              <a:gd name="connsiteY61-37978" fmla="*/ 2955222 h 5292022"/>
              <a:gd name="connsiteX62-37979" fmla="*/ 10227440 w 10693106"/>
              <a:gd name="connsiteY62-37980" fmla="*/ 3056822 h 5292022"/>
              <a:gd name="connsiteX63-37981" fmla="*/ 10168173 w 10693106"/>
              <a:gd name="connsiteY63-37982" fmla="*/ 3124556 h 5292022"/>
              <a:gd name="connsiteX64-37983" fmla="*/ 10117373 w 10693106"/>
              <a:gd name="connsiteY64-37984" fmla="*/ 3175356 h 5292022"/>
              <a:gd name="connsiteX65-37985" fmla="*/ 10032706 w 10693106"/>
              <a:gd name="connsiteY65-37986" fmla="*/ 3276956 h 5292022"/>
              <a:gd name="connsiteX66-37987" fmla="*/ 9948040 w 10693106"/>
              <a:gd name="connsiteY66-37988" fmla="*/ 3336222 h 5292022"/>
              <a:gd name="connsiteX67-37989" fmla="*/ 9905706 w 10693106"/>
              <a:gd name="connsiteY67-37990" fmla="*/ 3361622 h 5292022"/>
              <a:gd name="connsiteX68-37991" fmla="*/ 9829506 w 10693106"/>
              <a:gd name="connsiteY68-37992" fmla="*/ 3378556 h 5292022"/>
              <a:gd name="connsiteX69-37993" fmla="*/ 9727906 w 10693106"/>
              <a:gd name="connsiteY69-37994" fmla="*/ 3420889 h 5292022"/>
              <a:gd name="connsiteX70-37995" fmla="*/ 9634773 w 10693106"/>
              <a:gd name="connsiteY70-37996" fmla="*/ 3446289 h 5292022"/>
              <a:gd name="connsiteX71-37997" fmla="*/ 9456973 w 10693106"/>
              <a:gd name="connsiteY71-37998" fmla="*/ 3539422 h 5292022"/>
              <a:gd name="connsiteX72-37999" fmla="*/ 9313040 w 10693106"/>
              <a:gd name="connsiteY72-38000" fmla="*/ 3666422 h 5292022"/>
              <a:gd name="connsiteX73-38001" fmla="*/ 9279173 w 10693106"/>
              <a:gd name="connsiteY73-38002" fmla="*/ 3683356 h 5292022"/>
              <a:gd name="connsiteX74-38003" fmla="*/ 9067506 w 10693106"/>
              <a:gd name="connsiteY74-38004" fmla="*/ 3861156 h 5292022"/>
              <a:gd name="connsiteX75-38005" fmla="*/ 8999773 w 10693106"/>
              <a:gd name="connsiteY75-38006" fmla="*/ 3928889 h 5292022"/>
              <a:gd name="connsiteX76-38007" fmla="*/ 8813506 w 10693106"/>
              <a:gd name="connsiteY76-38008" fmla="*/ 4064356 h 5292022"/>
              <a:gd name="connsiteX77-38009" fmla="*/ 8728840 w 10693106"/>
              <a:gd name="connsiteY77-38010" fmla="*/ 4106689 h 5292022"/>
              <a:gd name="connsiteX78-38011" fmla="*/ 8373240 w 10693106"/>
              <a:gd name="connsiteY78-38012" fmla="*/ 4140556 h 5292022"/>
              <a:gd name="connsiteX79-38013" fmla="*/ 7966840 w 10693106"/>
              <a:gd name="connsiteY79-38014" fmla="*/ 4233689 h 5292022"/>
              <a:gd name="connsiteX80-38015" fmla="*/ 7687440 w 10693106"/>
              <a:gd name="connsiteY80-38016" fmla="*/ 4394556 h 5292022"/>
              <a:gd name="connsiteX81-38017" fmla="*/ 7374173 w 10693106"/>
              <a:gd name="connsiteY81-38018" fmla="*/ 4657022 h 5292022"/>
              <a:gd name="connsiteX82-38019" fmla="*/ 7374173 w 10693106"/>
              <a:gd name="connsiteY82-38020" fmla="*/ 4657022 h 5292022"/>
              <a:gd name="connsiteX83-38021" fmla="*/ 7221773 w 10693106"/>
              <a:gd name="connsiteY83-38022" fmla="*/ 4775556 h 5292022"/>
              <a:gd name="connsiteX84-38023" fmla="*/ 7027040 w 10693106"/>
              <a:gd name="connsiteY84-38024" fmla="*/ 4902556 h 5292022"/>
              <a:gd name="connsiteX85-38025" fmla="*/ 6883106 w 10693106"/>
              <a:gd name="connsiteY85-38026" fmla="*/ 4970289 h 5292022"/>
              <a:gd name="connsiteX86-38027" fmla="*/ 6815373 w 10693106"/>
              <a:gd name="connsiteY86-38028" fmla="*/ 5012622 h 5292022"/>
              <a:gd name="connsiteX87-38029" fmla="*/ 6646040 w 10693106"/>
              <a:gd name="connsiteY87-38030" fmla="*/ 5105756 h 5292022"/>
              <a:gd name="connsiteX88-38031" fmla="*/ 6527506 w 10693106"/>
              <a:gd name="connsiteY88-38032" fmla="*/ 5165022 h 5292022"/>
              <a:gd name="connsiteX89-38033" fmla="*/ 6298906 w 10693106"/>
              <a:gd name="connsiteY89-38034" fmla="*/ 5241222 h 5292022"/>
              <a:gd name="connsiteX90-38035" fmla="*/ 6197306 w 10693106"/>
              <a:gd name="connsiteY90-38036" fmla="*/ 5266622 h 5292022"/>
              <a:gd name="connsiteX91-38037" fmla="*/ 6061840 w 10693106"/>
              <a:gd name="connsiteY91-38038" fmla="*/ 5275089 h 5292022"/>
              <a:gd name="connsiteX92-38039" fmla="*/ 5917906 w 10693106"/>
              <a:gd name="connsiteY92-38040" fmla="*/ 5292022 h 5292022"/>
              <a:gd name="connsiteX93-38041" fmla="*/ 5748573 w 10693106"/>
              <a:gd name="connsiteY93-38042" fmla="*/ 5283556 h 5292022"/>
              <a:gd name="connsiteX94-38043" fmla="*/ 5282906 w 10693106"/>
              <a:gd name="connsiteY94-38044" fmla="*/ 5173489 h 5292022"/>
              <a:gd name="connsiteX95-38045" fmla="*/ 4959480 w 10693106"/>
              <a:gd name="connsiteY95-38046" fmla="*/ 4988069 h 5292022"/>
              <a:gd name="connsiteX96-38047" fmla="*/ 4686853 w 10693106"/>
              <a:gd name="connsiteY96-38048" fmla="*/ 4788256 h 5292022"/>
              <a:gd name="connsiteX97-38049" fmla="*/ 3977346 w 10693106"/>
              <a:gd name="connsiteY97-38050" fmla="*/ 4470544 h 5292022"/>
              <a:gd name="connsiteX98-38051" fmla="*/ 3741550 w 10693106"/>
              <a:gd name="connsiteY98-38052" fmla="*/ 4154102 h 5292022"/>
              <a:gd name="connsiteX99-38053" fmla="*/ 3562056 w 10693106"/>
              <a:gd name="connsiteY99-38054" fmla="*/ 3406919 h 5292022"/>
              <a:gd name="connsiteX100-38055" fmla="*/ 3242440 w 10693106"/>
              <a:gd name="connsiteY100-38056" fmla="*/ 3099156 h 5292022"/>
              <a:gd name="connsiteX101-38057" fmla="*/ 3123906 w 10693106"/>
              <a:gd name="connsiteY101-38058" fmla="*/ 2997556 h 5292022"/>
              <a:gd name="connsiteX102-38059" fmla="*/ 2988440 w 10693106"/>
              <a:gd name="connsiteY102-38060" fmla="*/ 2802822 h 5292022"/>
              <a:gd name="connsiteX103-38061" fmla="*/ 2971506 w 10693106"/>
              <a:gd name="connsiteY103-38062" fmla="*/ 2743556 h 5292022"/>
              <a:gd name="connsiteX104-38063" fmla="*/ 2996906 w 10693106"/>
              <a:gd name="connsiteY104-38064" fmla="*/ 2531889 h 5292022"/>
              <a:gd name="connsiteX105-38065" fmla="*/ 3013840 w 10693106"/>
              <a:gd name="connsiteY105-38066" fmla="*/ 2430289 h 5292022"/>
              <a:gd name="connsiteX106-38067" fmla="*/ 3005373 w 10693106"/>
              <a:gd name="connsiteY106-38068" fmla="*/ 2311756 h 5292022"/>
              <a:gd name="connsiteX107-38069" fmla="*/ 2988440 w 10693106"/>
              <a:gd name="connsiteY107-38070" fmla="*/ 2260956 h 5292022"/>
              <a:gd name="connsiteX108-38071" fmla="*/ 2802173 w 10693106"/>
              <a:gd name="connsiteY108-38072" fmla="*/ 2006956 h 5292022"/>
              <a:gd name="connsiteX109-38073" fmla="*/ 2641306 w 10693106"/>
              <a:gd name="connsiteY109-38074" fmla="*/ 1863022 h 5292022"/>
              <a:gd name="connsiteX110-38075" fmla="*/ 2590506 w 10693106"/>
              <a:gd name="connsiteY110-38076" fmla="*/ 1837622 h 5292022"/>
              <a:gd name="connsiteX111-38077" fmla="*/ 2531240 w 10693106"/>
              <a:gd name="connsiteY111-38078" fmla="*/ 1829156 h 5292022"/>
              <a:gd name="connsiteX112-38079" fmla="*/ 2446573 w 10693106"/>
              <a:gd name="connsiteY112-38080" fmla="*/ 1812222 h 5292022"/>
              <a:gd name="connsiteX113-38081" fmla="*/ 2251840 w 10693106"/>
              <a:gd name="connsiteY113-38082" fmla="*/ 1837622 h 5292022"/>
              <a:gd name="connsiteX114-38083" fmla="*/ 2167173 w 10693106"/>
              <a:gd name="connsiteY114-38084" fmla="*/ 1879956 h 5292022"/>
              <a:gd name="connsiteX115-38085" fmla="*/ 1980906 w 10693106"/>
              <a:gd name="connsiteY115-38086" fmla="*/ 1939222 h 5292022"/>
              <a:gd name="connsiteX116-38087" fmla="*/ 1904706 w 10693106"/>
              <a:gd name="connsiteY116-38088" fmla="*/ 1973089 h 5292022"/>
              <a:gd name="connsiteX117-38089" fmla="*/ 1828506 w 10693106"/>
              <a:gd name="connsiteY117-38090" fmla="*/ 1990022 h 5292022"/>
              <a:gd name="connsiteX118-38091" fmla="*/ 1726906 w 10693106"/>
              <a:gd name="connsiteY118-38092" fmla="*/ 2040822 h 5292022"/>
              <a:gd name="connsiteX119-38093" fmla="*/ 1659173 w 10693106"/>
              <a:gd name="connsiteY119-38094" fmla="*/ 2074689 h 5292022"/>
              <a:gd name="connsiteX120-38095" fmla="*/ 1498306 w 10693106"/>
              <a:gd name="connsiteY120-38096" fmla="*/ 2100089 h 5292022"/>
              <a:gd name="connsiteX121-38097" fmla="*/ 914106 w 10693106"/>
              <a:gd name="connsiteY121-38098" fmla="*/ 2032356 h 5292022"/>
              <a:gd name="connsiteX122-38099" fmla="*/ 617773 w 10693106"/>
              <a:gd name="connsiteY122-38100" fmla="*/ 1922289 h 5292022"/>
              <a:gd name="connsiteX123-38101" fmla="*/ 516173 w 10693106"/>
              <a:gd name="connsiteY123-38102" fmla="*/ 1837622 h 5292022"/>
              <a:gd name="connsiteX124-38103" fmla="*/ 355306 w 10693106"/>
              <a:gd name="connsiteY124-38104" fmla="*/ 1625956 h 5292022"/>
              <a:gd name="connsiteX125-38105" fmla="*/ 296040 w 10693106"/>
              <a:gd name="connsiteY125-38106" fmla="*/ 1524356 h 5292022"/>
              <a:gd name="connsiteX126-38107" fmla="*/ 253706 w 10693106"/>
              <a:gd name="connsiteY126-38108" fmla="*/ 1346556 h 5292022"/>
              <a:gd name="connsiteX127-38109" fmla="*/ 245240 w 10693106"/>
              <a:gd name="connsiteY127-38110" fmla="*/ 1219556 h 5292022"/>
              <a:gd name="connsiteX128-38111" fmla="*/ 236773 w 10693106"/>
              <a:gd name="connsiteY128-38112" fmla="*/ 1117956 h 5292022"/>
              <a:gd name="connsiteX129-38113" fmla="*/ 245240 w 10693106"/>
              <a:gd name="connsiteY129-38114" fmla="*/ 847022 h 5292022"/>
              <a:gd name="connsiteX130-38115" fmla="*/ 236773 w 10693106"/>
              <a:gd name="connsiteY130-38116" fmla="*/ 703089 h 5292022"/>
              <a:gd name="connsiteX131-38117" fmla="*/ 109773 w 10693106"/>
              <a:gd name="connsiteY131-38118" fmla="*/ 559156 h 5292022"/>
              <a:gd name="connsiteX132-38119" fmla="*/ 58973 w 10693106"/>
              <a:gd name="connsiteY132-38120" fmla="*/ 482956 h 5292022"/>
              <a:gd name="connsiteX133-38121" fmla="*/ 16640 w 10693106"/>
              <a:gd name="connsiteY133-38122" fmla="*/ 432156 h 5292022"/>
              <a:gd name="connsiteX134-38123" fmla="*/ 8173 w 10693106"/>
              <a:gd name="connsiteY134-38124" fmla="*/ 389822 h 5292022"/>
              <a:gd name="connsiteX135-38125" fmla="*/ 16640 w 10693106"/>
              <a:gd name="connsiteY135-38126" fmla="*/ 339022 h 5292022"/>
              <a:gd name="connsiteX0-38127" fmla="*/ 16640 w 10693106"/>
              <a:gd name="connsiteY0-38128" fmla="*/ 339022 h 5292022"/>
              <a:gd name="connsiteX1-38129" fmla="*/ 58973 w 10693106"/>
              <a:gd name="connsiteY1-38130" fmla="*/ 245889 h 5292022"/>
              <a:gd name="connsiteX2-38131" fmla="*/ 109773 w 10693106"/>
              <a:gd name="connsiteY2-38132" fmla="*/ 178156 h 5292022"/>
              <a:gd name="connsiteX3-38133" fmla="*/ 202906 w 10693106"/>
              <a:gd name="connsiteY3-38134" fmla="*/ 93489 h 5292022"/>
              <a:gd name="connsiteX4-38135" fmla="*/ 236773 w 10693106"/>
              <a:gd name="connsiteY4-38136" fmla="*/ 68089 h 5292022"/>
              <a:gd name="connsiteX5-38137" fmla="*/ 335410 w 10693106"/>
              <a:gd name="connsiteY5-38138" fmla="*/ 58352 h 5292022"/>
              <a:gd name="connsiteX6-38139" fmla="*/ 382400 w 10693106"/>
              <a:gd name="connsiteY6-38140" fmla="*/ 51156 h 5292022"/>
              <a:gd name="connsiteX7-38141" fmla="*/ 434912 w 10693106"/>
              <a:gd name="connsiteY7-38142" fmla="*/ 70071 h 5292022"/>
              <a:gd name="connsiteX8-38143" fmla="*/ 492697 w 10693106"/>
              <a:gd name="connsiteY8-38144" fmla="*/ 74247 h 5292022"/>
              <a:gd name="connsiteX9-38145" fmla="*/ 822897 w 10693106"/>
              <a:gd name="connsiteY9-38146" fmla="*/ 82713 h 5292022"/>
              <a:gd name="connsiteX10-38147" fmla="*/ 1091906 w 10693106"/>
              <a:gd name="connsiteY10-38148" fmla="*/ 356 h 5292022"/>
              <a:gd name="connsiteX11-38149" fmla="*/ 1235840 w 10693106"/>
              <a:gd name="connsiteY11-38150" fmla="*/ 59622 h 5292022"/>
              <a:gd name="connsiteX12-38151" fmla="*/ 1337440 w 10693106"/>
              <a:gd name="connsiteY12-38152" fmla="*/ 135822 h 5292022"/>
              <a:gd name="connsiteX13-38153" fmla="*/ 1422106 w 10693106"/>
              <a:gd name="connsiteY13-38154" fmla="*/ 245889 h 5292022"/>
              <a:gd name="connsiteX14-38155" fmla="*/ 1481373 w 10693106"/>
              <a:gd name="connsiteY14-38156" fmla="*/ 313622 h 5292022"/>
              <a:gd name="connsiteX15-38157" fmla="*/ 1532173 w 10693106"/>
              <a:gd name="connsiteY15-38158" fmla="*/ 347489 h 5292022"/>
              <a:gd name="connsiteX16-38159" fmla="*/ 1684573 w 10693106"/>
              <a:gd name="connsiteY16-38160" fmla="*/ 406756 h 5292022"/>
              <a:gd name="connsiteX17-38161" fmla="*/ 1760773 w 10693106"/>
              <a:gd name="connsiteY17-38162" fmla="*/ 423689 h 5292022"/>
              <a:gd name="connsiteX18-38163" fmla="*/ 1997840 w 10693106"/>
              <a:gd name="connsiteY18-38164" fmla="*/ 415222 h 5292022"/>
              <a:gd name="connsiteX19-38165" fmla="*/ 2116373 w 10693106"/>
              <a:gd name="connsiteY19-38166" fmla="*/ 398289 h 5292022"/>
              <a:gd name="connsiteX20-38167" fmla="*/ 2260306 w 10693106"/>
              <a:gd name="connsiteY20-38168" fmla="*/ 381356 h 5292022"/>
              <a:gd name="connsiteX21-38169" fmla="*/ 2404240 w 10693106"/>
              <a:gd name="connsiteY21-38170" fmla="*/ 355956 h 5292022"/>
              <a:gd name="connsiteX22-38171" fmla="*/ 2455040 w 10693106"/>
              <a:gd name="connsiteY22-38172" fmla="*/ 330556 h 5292022"/>
              <a:gd name="connsiteX23-38173" fmla="*/ 2531240 w 10693106"/>
              <a:gd name="connsiteY23-38174" fmla="*/ 305156 h 5292022"/>
              <a:gd name="connsiteX24-38175" fmla="*/ 2649350 w 10693106"/>
              <a:gd name="connsiteY24-38176" fmla="*/ 225781 h 5292022"/>
              <a:gd name="connsiteX25-38177" fmla="*/ 2742906 w 10693106"/>
              <a:gd name="connsiteY25-38178" fmla="*/ 186622 h 5292022"/>
              <a:gd name="connsiteX26-38179" fmla="*/ 2764920 w 10693106"/>
              <a:gd name="connsiteY26-38180" fmla="*/ 173076 h 5292022"/>
              <a:gd name="connsiteX27-38181" fmla="*/ 3002294 w 10693106"/>
              <a:gd name="connsiteY27-38182" fmla="*/ 154680 h 5292022"/>
              <a:gd name="connsiteX28-38183" fmla="*/ 3142763 w 10693106"/>
              <a:gd name="connsiteY28-38184" fmla="*/ 110421 h 5292022"/>
              <a:gd name="connsiteX29-38185" fmla="*/ 3398918 w 10693106"/>
              <a:gd name="connsiteY29-38186" fmla="*/ 72322 h 5292022"/>
              <a:gd name="connsiteX30-38187" fmla="*/ 4529373 w 10693106"/>
              <a:gd name="connsiteY30-38188" fmla="*/ 271289 h 5292022"/>
              <a:gd name="connsiteX31-38189" fmla="*/ 5630810 w 10693106"/>
              <a:gd name="connsiteY31-38190" fmla="*/ 1149898 h 5292022"/>
              <a:gd name="connsiteX32-38191" fmla="*/ 6881490 w 10693106"/>
              <a:gd name="connsiteY32-38192" fmla="*/ 1366452 h 5292022"/>
              <a:gd name="connsiteX33-38193" fmla="*/ 7839032 w 10693106"/>
              <a:gd name="connsiteY33-38194" fmla="*/ 1183996 h 5292022"/>
              <a:gd name="connsiteX34-38195" fmla="*/ 8652640 w 10693106"/>
              <a:gd name="connsiteY34-38196" fmla="*/ 677689 h 5292022"/>
              <a:gd name="connsiteX35-38197" fmla="*/ 8982840 w 10693106"/>
              <a:gd name="connsiteY35-38198" fmla="*/ 398289 h 5292022"/>
              <a:gd name="connsiteX36-38199" fmla="*/ 9380773 w 10693106"/>
              <a:gd name="connsiteY36-38200" fmla="*/ 355956 h 5292022"/>
              <a:gd name="connsiteX37-38201" fmla="*/ 9744840 w 10693106"/>
              <a:gd name="connsiteY37-38202" fmla="*/ 466022 h 5292022"/>
              <a:gd name="connsiteX38-38203" fmla="*/ 9888773 w 10693106"/>
              <a:gd name="connsiteY38-38204" fmla="*/ 508356 h 5292022"/>
              <a:gd name="connsiteX39-38205" fmla="*/ 9998840 w 10693106"/>
              <a:gd name="connsiteY39-38206" fmla="*/ 559156 h 5292022"/>
              <a:gd name="connsiteX40-38207" fmla="*/ 10083506 w 10693106"/>
              <a:gd name="connsiteY40-38208" fmla="*/ 618422 h 5292022"/>
              <a:gd name="connsiteX41-38209" fmla="*/ 10286706 w 10693106"/>
              <a:gd name="connsiteY41-38210" fmla="*/ 686156 h 5292022"/>
              <a:gd name="connsiteX42-38211" fmla="*/ 10388306 w 10693106"/>
              <a:gd name="connsiteY42-38212" fmla="*/ 889356 h 5292022"/>
              <a:gd name="connsiteX43-38213" fmla="*/ 10540706 w 10693106"/>
              <a:gd name="connsiteY43-38214" fmla="*/ 1261889 h 5292022"/>
              <a:gd name="connsiteX44-38215" fmla="*/ 10557640 w 10693106"/>
              <a:gd name="connsiteY44-38216" fmla="*/ 1346556 h 5292022"/>
              <a:gd name="connsiteX45-38217" fmla="*/ 10583040 w 10693106"/>
              <a:gd name="connsiteY45-38218" fmla="*/ 1448156 h 5292022"/>
              <a:gd name="connsiteX46-38219" fmla="*/ 10616906 w 10693106"/>
              <a:gd name="connsiteY46-38220" fmla="*/ 1651356 h 5292022"/>
              <a:gd name="connsiteX47-38221" fmla="*/ 10633840 w 10693106"/>
              <a:gd name="connsiteY47-38222" fmla="*/ 1736022 h 5292022"/>
              <a:gd name="connsiteX48-38223" fmla="*/ 10650773 w 10693106"/>
              <a:gd name="connsiteY48-38224" fmla="*/ 1769889 h 5292022"/>
              <a:gd name="connsiteX49-38225" fmla="*/ 10676173 w 10693106"/>
              <a:gd name="connsiteY49-38226" fmla="*/ 1854556 h 5292022"/>
              <a:gd name="connsiteX50-38227" fmla="*/ 10693106 w 10693106"/>
              <a:gd name="connsiteY50-38228" fmla="*/ 2006956 h 5292022"/>
              <a:gd name="connsiteX51-38229" fmla="*/ 10625373 w 10693106"/>
              <a:gd name="connsiteY51-38230" fmla="*/ 2227089 h 5292022"/>
              <a:gd name="connsiteX52-38231" fmla="*/ 10608440 w 10693106"/>
              <a:gd name="connsiteY52-38232" fmla="*/ 2252489 h 5292022"/>
              <a:gd name="connsiteX53-38233" fmla="*/ 10540706 w 10693106"/>
              <a:gd name="connsiteY53-38234" fmla="*/ 2396422 h 5292022"/>
              <a:gd name="connsiteX54-38235" fmla="*/ 10498373 w 10693106"/>
              <a:gd name="connsiteY54-38236" fmla="*/ 2481089 h 5292022"/>
              <a:gd name="connsiteX55-38237" fmla="*/ 10439106 w 10693106"/>
              <a:gd name="connsiteY55-38238" fmla="*/ 2667356 h 5292022"/>
              <a:gd name="connsiteX56-38239" fmla="*/ 10430640 w 10693106"/>
              <a:gd name="connsiteY56-38240" fmla="*/ 2709689 h 5292022"/>
              <a:gd name="connsiteX57-38241" fmla="*/ 10405240 w 10693106"/>
              <a:gd name="connsiteY57-38242" fmla="*/ 2785889 h 5292022"/>
              <a:gd name="connsiteX58-38243" fmla="*/ 10396773 w 10693106"/>
              <a:gd name="connsiteY58-38244" fmla="*/ 2819756 h 5292022"/>
              <a:gd name="connsiteX59-38245" fmla="*/ 10362906 w 10693106"/>
              <a:gd name="connsiteY59-38246" fmla="*/ 2912889 h 5292022"/>
              <a:gd name="connsiteX60-38247" fmla="*/ 10329040 w 10693106"/>
              <a:gd name="connsiteY60-38248" fmla="*/ 2955222 h 5292022"/>
              <a:gd name="connsiteX61-38249" fmla="*/ 10227440 w 10693106"/>
              <a:gd name="connsiteY61-38250" fmla="*/ 3056822 h 5292022"/>
              <a:gd name="connsiteX62-38251" fmla="*/ 10168173 w 10693106"/>
              <a:gd name="connsiteY62-38252" fmla="*/ 3124556 h 5292022"/>
              <a:gd name="connsiteX63-38253" fmla="*/ 10117373 w 10693106"/>
              <a:gd name="connsiteY63-38254" fmla="*/ 3175356 h 5292022"/>
              <a:gd name="connsiteX64-38255" fmla="*/ 10032706 w 10693106"/>
              <a:gd name="connsiteY64-38256" fmla="*/ 3276956 h 5292022"/>
              <a:gd name="connsiteX65-38257" fmla="*/ 9948040 w 10693106"/>
              <a:gd name="connsiteY65-38258" fmla="*/ 3336222 h 5292022"/>
              <a:gd name="connsiteX66-38259" fmla="*/ 9905706 w 10693106"/>
              <a:gd name="connsiteY66-38260" fmla="*/ 3361622 h 5292022"/>
              <a:gd name="connsiteX67-38261" fmla="*/ 9829506 w 10693106"/>
              <a:gd name="connsiteY67-38262" fmla="*/ 3378556 h 5292022"/>
              <a:gd name="connsiteX68-38263" fmla="*/ 9727906 w 10693106"/>
              <a:gd name="connsiteY68-38264" fmla="*/ 3420889 h 5292022"/>
              <a:gd name="connsiteX69-38265" fmla="*/ 9634773 w 10693106"/>
              <a:gd name="connsiteY69-38266" fmla="*/ 3446289 h 5292022"/>
              <a:gd name="connsiteX70-38267" fmla="*/ 9456973 w 10693106"/>
              <a:gd name="connsiteY70-38268" fmla="*/ 3539422 h 5292022"/>
              <a:gd name="connsiteX71-38269" fmla="*/ 9313040 w 10693106"/>
              <a:gd name="connsiteY71-38270" fmla="*/ 3666422 h 5292022"/>
              <a:gd name="connsiteX72-38271" fmla="*/ 9279173 w 10693106"/>
              <a:gd name="connsiteY72-38272" fmla="*/ 3683356 h 5292022"/>
              <a:gd name="connsiteX73-38273" fmla="*/ 9067506 w 10693106"/>
              <a:gd name="connsiteY73-38274" fmla="*/ 3861156 h 5292022"/>
              <a:gd name="connsiteX74-38275" fmla="*/ 8999773 w 10693106"/>
              <a:gd name="connsiteY74-38276" fmla="*/ 3928889 h 5292022"/>
              <a:gd name="connsiteX75-38277" fmla="*/ 8813506 w 10693106"/>
              <a:gd name="connsiteY75-38278" fmla="*/ 4064356 h 5292022"/>
              <a:gd name="connsiteX76-38279" fmla="*/ 8728840 w 10693106"/>
              <a:gd name="connsiteY76-38280" fmla="*/ 4106689 h 5292022"/>
              <a:gd name="connsiteX77-38281" fmla="*/ 8373240 w 10693106"/>
              <a:gd name="connsiteY77-38282" fmla="*/ 4140556 h 5292022"/>
              <a:gd name="connsiteX78-38283" fmla="*/ 7966840 w 10693106"/>
              <a:gd name="connsiteY78-38284" fmla="*/ 4233689 h 5292022"/>
              <a:gd name="connsiteX79-38285" fmla="*/ 7687440 w 10693106"/>
              <a:gd name="connsiteY79-38286" fmla="*/ 4394556 h 5292022"/>
              <a:gd name="connsiteX80-38287" fmla="*/ 7374173 w 10693106"/>
              <a:gd name="connsiteY80-38288" fmla="*/ 4657022 h 5292022"/>
              <a:gd name="connsiteX81-38289" fmla="*/ 7374173 w 10693106"/>
              <a:gd name="connsiteY81-38290" fmla="*/ 4657022 h 5292022"/>
              <a:gd name="connsiteX82-38291" fmla="*/ 7221773 w 10693106"/>
              <a:gd name="connsiteY82-38292" fmla="*/ 4775556 h 5292022"/>
              <a:gd name="connsiteX83-38293" fmla="*/ 7027040 w 10693106"/>
              <a:gd name="connsiteY83-38294" fmla="*/ 4902556 h 5292022"/>
              <a:gd name="connsiteX84-38295" fmla="*/ 6883106 w 10693106"/>
              <a:gd name="connsiteY84-38296" fmla="*/ 4970289 h 5292022"/>
              <a:gd name="connsiteX85-38297" fmla="*/ 6815373 w 10693106"/>
              <a:gd name="connsiteY85-38298" fmla="*/ 5012622 h 5292022"/>
              <a:gd name="connsiteX86-38299" fmla="*/ 6646040 w 10693106"/>
              <a:gd name="connsiteY86-38300" fmla="*/ 5105756 h 5292022"/>
              <a:gd name="connsiteX87-38301" fmla="*/ 6527506 w 10693106"/>
              <a:gd name="connsiteY87-38302" fmla="*/ 5165022 h 5292022"/>
              <a:gd name="connsiteX88-38303" fmla="*/ 6298906 w 10693106"/>
              <a:gd name="connsiteY88-38304" fmla="*/ 5241222 h 5292022"/>
              <a:gd name="connsiteX89-38305" fmla="*/ 6197306 w 10693106"/>
              <a:gd name="connsiteY89-38306" fmla="*/ 5266622 h 5292022"/>
              <a:gd name="connsiteX90-38307" fmla="*/ 6061840 w 10693106"/>
              <a:gd name="connsiteY90-38308" fmla="*/ 5275089 h 5292022"/>
              <a:gd name="connsiteX91-38309" fmla="*/ 5917906 w 10693106"/>
              <a:gd name="connsiteY91-38310" fmla="*/ 5292022 h 5292022"/>
              <a:gd name="connsiteX92-38311" fmla="*/ 5748573 w 10693106"/>
              <a:gd name="connsiteY92-38312" fmla="*/ 5283556 h 5292022"/>
              <a:gd name="connsiteX93-38313" fmla="*/ 5282906 w 10693106"/>
              <a:gd name="connsiteY93-38314" fmla="*/ 5173489 h 5292022"/>
              <a:gd name="connsiteX94-38315" fmla="*/ 4959480 w 10693106"/>
              <a:gd name="connsiteY94-38316" fmla="*/ 4988069 h 5292022"/>
              <a:gd name="connsiteX95-38317" fmla="*/ 4686853 w 10693106"/>
              <a:gd name="connsiteY95-38318" fmla="*/ 4788256 h 5292022"/>
              <a:gd name="connsiteX96-38319" fmla="*/ 3977346 w 10693106"/>
              <a:gd name="connsiteY96-38320" fmla="*/ 4470544 h 5292022"/>
              <a:gd name="connsiteX97-38321" fmla="*/ 3741550 w 10693106"/>
              <a:gd name="connsiteY97-38322" fmla="*/ 4154102 h 5292022"/>
              <a:gd name="connsiteX98-38323" fmla="*/ 3562056 w 10693106"/>
              <a:gd name="connsiteY98-38324" fmla="*/ 3406919 h 5292022"/>
              <a:gd name="connsiteX99-38325" fmla="*/ 3242440 w 10693106"/>
              <a:gd name="connsiteY99-38326" fmla="*/ 3099156 h 5292022"/>
              <a:gd name="connsiteX100-38327" fmla="*/ 3123906 w 10693106"/>
              <a:gd name="connsiteY100-38328" fmla="*/ 2997556 h 5292022"/>
              <a:gd name="connsiteX101-38329" fmla="*/ 2988440 w 10693106"/>
              <a:gd name="connsiteY101-38330" fmla="*/ 2802822 h 5292022"/>
              <a:gd name="connsiteX102-38331" fmla="*/ 2971506 w 10693106"/>
              <a:gd name="connsiteY102-38332" fmla="*/ 2743556 h 5292022"/>
              <a:gd name="connsiteX103-38333" fmla="*/ 2996906 w 10693106"/>
              <a:gd name="connsiteY103-38334" fmla="*/ 2531889 h 5292022"/>
              <a:gd name="connsiteX104-38335" fmla="*/ 3013840 w 10693106"/>
              <a:gd name="connsiteY104-38336" fmla="*/ 2430289 h 5292022"/>
              <a:gd name="connsiteX105-38337" fmla="*/ 3005373 w 10693106"/>
              <a:gd name="connsiteY105-38338" fmla="*/ 2311756 h 5292022"/>
              <a:gd name="connsiteX106-38339" fmla="*/ 2988440 w 10693106"/>
              <a:gd name="connsiteY106-38340" fmla="*/ 2260956 h 5292022"/>
              <a:gd name="connsiteX107-38341" fmla="*/ 2802173 w 10693106"/>
              <a:gd name="connsiteY107-38342" fmla="*/ 2006956 h 5292022"/>
              <a:gd name="connsiteX108-38343" fmla="*/ 2641306 w 10693106"/>
              <a:gd name="connsiteY108-38344" fmla="*/ 1863022 h 5292022"/>
              <a:gd name="connsiteX109-38345" fmla="*/ 2590506 w 10693106"/>
              <a:gd name="connsiteY109-38346" fmla="*/ 1837622 h 5292022"/>
              <a:gd name="connsiteX110-38347" fmla="*/ 2531240 w 10693106"/>
              <a:gd name="connsiteY110-38348" fmla="*/ 1829156 h 5292022"/>
              <a:gd name="connsiteX111-38349" fmla="*/ 2446573 w 10693106"/>
              <a:gd name="connsiteY111-38350" fmla="*/ 1812222 h 5292022"/>
              <a:gd name="connsiteX112-38351" fmla="*/ 2251840 w 10693106"/>
              <a:gd name="connsiteY112-38352" fmla="*/ 1837622 h 5292022"/>
              <a:gd name="connsiteX113-38353" fmla="*/ 2167173 w 10693106"/>
              <a:gd name="connsiteY113-38354" fmla="*/ 1879956 h 5292022"/>
              <a:gd name="connsiteX114-38355" fmla="*/ 1980906 w 10693106"/>
              <a:gd name="connsiteY114-38356" fmla="*/ 1939222 h 5292022"/>
              <a:gd name="connsiteX115-38357" fmla="*/ 1904706 w 10693106"/>
              <a:gd name="connsiteY115-38358" fmla="*/ 1973089 h 5292022"/>
              <a:gd name="connsiteX116-38359" fmla="*/ 1828506 w 10693106"/>
              <a:gd name="connsiteY116-38360" fmla="*/ 1990022 h 5292022"/>
              <a:gd name="connsiteX117-38361" fmla="*/ 1726906 w 10693106"/>
              <a:gd name="connsiteY117-38362" fmla="*/ 2040822 h 5292022"/>
              <a:gd name="connsiteX118-38363" fmla="*/ 1659173 w 10693106"/>
              <a:gd name="connsiteY118-38364" fmla="*/ 2074689 h 5292022"/>
              <a:gd name="connsiteX119-38365" fmla="*/ 1498306 w 10693106"/>
              <a:gd name="connsiteY119-38366" fmla="*/ 2100089 h 5292022"/>
              <a:gd name="connsiteX120-38367" fmla="*/ 914106 w 10693106"/>
              <a:gd name="connsiteY120-38368" fmla="*/ 2032356 h 5292022"/>
              <a:gd name="connsiteX121-38369" fmla="*/ 617773 w 10693106"/>
              <a:gd name="connsiteY121-38370" fmla="*/ 1922289 h 5292022"/>
              <a:gd name="connsiteX122-38371" fmla="*/ 516173 w 10693106"/>
              <a:gd name="connsiteY122-38372" fmla="*/ 1837622 h 5292022"/>
              <a:gd name="connsiteX123-38373" fmla="*/ 355306 w 10693106"/>
              <a:gd name="connsiteY123-38374" fmla="*/ 1625956 h 5292022"/>
              <a:gd name="connsiteX124-38375" fmla="*/ 296040 w 10693106"/>
              <a:gd name="connsiteY124-38376" fmla="*/ 1524356 h 5292022"/>
              <a:gd name="connsiteX125-38377" fmla="*/ 253706 w 10693106"/>
              <a:gd name="connsiteY125-38378" fmla="*/ 1346556 h 5292022"/>
              <a:gd name="connsiteX126-38379" fmla="*/ 245240 w 10693106"/>
              <a:gd name="connsiteY126-38380" fmla="*/ 1219556 h 5292022"/>
              <a:gd name="connsiteX127-38381" fmla="*/ 236773 w 10693106"/>
              <a:gd name="connsiteY127-38382" fmla="*/ 1117956 h 5292022"/>
              <a:gd name="connsiteX128-38383" fmla="*/ 245240 w 10693106"/>
              <a:gd name="connsiteY128-38384" fmla="*/ 847022 h 5292022"/>
              <a:gd name="connsiteX129-38385" fmla="*/ 236773 w 10693106"/>
              <a:gd name="connsiteY129-38386" fmla="*/ 703089 h 5292022"/>
              <a:gd name="connsiteX130-38387" fmla="*/ 109773 w 10693106"/>
              <a:gd name="connsiteY130-38388" fmla="*/ 559156 h 5292022"/>
              <a:gd name="connsiteX131-38389" fmla="*/ 58973 w 10693106"/>
              <a:gd name="connsiteY131-38390" fmla="*/ 482956 h 5292022"/>
              <a:gd name="connsiteX132-38391" fmla="*/ 16640 w 10693106"/>
              <a:gd name="connsiteY132-38392" fmla="*/ 432156 h 5292022"/>
              <a:gd name="connsiteX133-38393" fmla="*/ 8173 w 10693106"/>
              <a:gd name="connsiteY133-38394" fmla="*/ 389822 h 5292022"/>
              <a:gd name="connsiteX134-38395" fmla="*/ 16640 w 10693106"/>
              <a:gd name="connsiteY134-38396" fmla="*/ 339022 h 5292022"/>
              <a:gd name="connsiteX0-38397" fmla="*/ 16640 w 10693106"/>
              <a:gd name="connsiteY0-38398" fmla="*/ 339022 h 5292022"/>
              <a:gd name="connsiteX1-38399" fmla="*/ 58973 w 10693106"/>
              <a:gd name="connsiteY1-38400" fmla="*/ 245889 h 5292022"/>
              <a:gd name="connsiteX2-38401" fmla="*/ 109773 w 10693106"/>
              <a:gd name="connsiteY2-38402" fmla="*/ 178156 h 5292022"/>
              <a:gd name="connsiteX3-38403" fmla="*/ 202906 w 10693106"/>
              <a:gd name="connsiteY3-38404" fmla="*/ 93489 h 5292022"/>
              <a:gd name="connsiteX4-38405" fmla="*/ 236773 w 10693106"/>
              <a:gd name="connsiteY4-38406" fmla="*/ 68089 h 5292022"/>
              <a:gd name="connsiteX5-38407" fmla="*/ 335410 w 10693106"/>
              <a:gd name="connsiteY5-38408" fmla="*/ 58352 h 5292022"/>
              <a:gd name="connsiteX6-38409" fmla="*/ 382400 w 10693106"/>
              <a:gd name="connsiteY6-38410" fmla="*/ 51156 h 5292022"/>
              <a:gd name="connsiteX7-38411" fmla="*/ 434912 w 10693106"/>
              <a:gd name="connsiteY7-38412" fmla="*/ 70071 h 5292022"/>
              <a:gd name="connsiteX8-38413" fmla="*/ 492697 w 10693106"/>
              <a:gd name="connsiteY8-38414" fmla="*/ 74247 h 5292022"/>
              <a:gd name="connsiteX9-38415" fmla="*/ 822897 w 10693106"/>
              <a:gd name="connsiteY9-38416" fmla="*/ 82713 h 5292022"/>
              <a:gd name="connsiteX10-38417" fmla="*/ 1091906 w 10693106"/>
              <a:gd name="connsiteY10-38418" fmla="*/ 356 h 5292022"/>
              <a:gd name="connsiteX11-38419" fmla="*/ 1235840 w 10693106"/>
              <a:gd name="connsiteY11-38420" fmla="*/ 59622 h 5292022"/>
              <a:gd name="connsiteX12-38421" fmla="*/ 1337440 w 10693106"/>
              <a:gd name="connsiteY12-38422" fmla="*/ 135822 h 5292022"/>
              <a:gd name="connsiteX13-38423" fmla="*/ 1422106 w 10693106"/>
              <a:gd name="connsiteY13-38424" fmla="*/ 245889 h 5292022"/>
              <a:gd name="connsiteX14-38425" fmla="*/ 1481373 w 10693106"/>
              <a:gd name="connsiteY14-38426" fmla="*/ 313622 h 5292022"/>
              <a:gd name="connsiteX15-38427" fmla="*/ 1532173 w 10693106"/>
              <a:gd name="connsiteY15-38428" fmla="*/ 347489 h 5292022"/>
              <a:gd name="connsiteX16-38429" fmla="*/ 1684573 w 10693106"/>
              <a:gd name="connsiteY16-38430" fmla="*/ 406756 h 5292022"/>
              <a:gd name="connsiteX17-38431" fmla="*/ 1760773 w 10693106"/>
              <a:gd name="connsiteY17-38432" fmla="*/ 423689 h 5292022"/>
              <a:gd name="connsiteX18-38433" fmla="*/ 1997840 w 10693106"/>
              <a:gd name="connsiteY18-38434" fmla="*/ 415222 h 5292022"/>
              <a:gd name="connsiteX19-38435" fmla="*/ 2116373 w 10693106"/>
              <a:gd name="connsiteY19-38436" fmla="*/ 398289 h 5292022"/>
              <a:gd name="connsiteX20-38437" fmla="*/ 2260306 w 10693106"/>
              <a:gd name="connsiteY20-38438" fmla="*/ 381356 h 5292022"/>
              <a:gd name="connsiteX21-38439" fmla="*/ 2404240 w 10693106"/>
              <a:gd name="connsiteY21-38440" fmla="*/ 355956 h 5292022"/>
              <a:gd name="connsiteX22-38441" fmla="*/ 2455040 w 10693106"/>
              <a:gd name="connsiteY22-38442" fmla="*/ 330556 h 5292022"/>
              <a:gd name="connsiteX23-38443" fmla="*/ 2531240 w 10693106"/>
              <a:gd name="connsiteY23-38444" fmla="*/ 305156 h 5292022"/>
              <a:gd name="connsiteX24-38445" fmla="*/ 2649350 w 10693106"/>
              <a:gd name="connsiteY24-38446" fmla="*/ 225781 h 5292022"/>
              <a:gd name="connsiteX25-38447" fmla="*/ 2742906 w 10693106"/>
              <a:gd name="connsiteY25-38448" fmla="*/ 186622 h 5292022"/>
              <a:gd name="connsiteX26-38449" fmla="*/ 3002294 w 10693106"/>
              <a:gd name="connsiteY26-38450" fmla="*/ 154680 h 5292022"/>
              <a:gd name="connsiteX27-38451" fmla="*/ 3142763 w 10693106"/>
              <a:gd name="connsiteY27-38452" fmla="*/ 110421 h 5292022"/>
              <a:gd name="connsiteX28-38453" fmla="*/ 3398918 w 10693106"/>
              <a:gd name="connsiteY28-38454" fmla="*/ 72322 h 5292022"/>
              <a:gd name="connsiteX29-38455" fmla="*/ 4529373 w 10693106"/>
              <a:gd name="connsiteY29-38456" fmla="*/ 271289 h 5292022"/>
              <a:gd name="connsiteX30-38457" fmla="*/ 5630810 w 10693106"/>
              <a:gd name="connsiteY30-38458" fmla="*/ 1149898 h 5292022"/>
              <a:gd name="connsiteX31-38459" fmla="*/ 6881490 w 10693106"/>
              <a:gd name="connsiteY31-38460" fmla="*/ 1366452 h 5292022"/>
              <a:gd name="connsiteX32-38461" fmla="*/ 7839032 w 10693106"/>
              <a:gd name="connsiteY32-38462" fmla="*/ 1183996 h 5292022"/>
              <a:gd name="connsiteX33-38463" fmla="*/ 8652640 w 10693106"/>
              <a:gd name="connsiteY33-38464" fmla="*/ 677689 h 5292022"/>
              <a:gd name="connsiteX34-38465" fmla="*/ 8982840 w 10693106"/>
              <a:gd name="connsiteY34-38466" fmla="*/ 398289 h 5292022"/>
              <a:gd name="connsiteX35-38467" fmla="*/ 9380773 w 10693106"/>
              <a:gd name="connsiteY35-38468" fmla="*/ 355956 h 5292022"/>
              <a:gd name="connsiteX36-38469" fmla="*/ 9744840 w 10693106"/>
              <a:gd name="connsiteY36-38470" fmla="*/ 466022 h 5292022"/>
              <a:gd name="connsiteX37-38471" fmla="*/ 9888773 w 10693106"/>
              <a:gd name="connsiteY37-38472" fmla="*/ 508356 h 5292022"/>
              <a:gd name="connsiteX38-38473" fmla="*/ 9998840 w 10693106"/>
              <a:gd name="connsiteY38-38474" fmla="*/ 559156 h 5292022"/>
              <a:gd name="connsiteX39-38475" fmla="*/ 10083506 w 10693106"/>
              <a:gd name="connsiteY39-38476" fmla="*/ 618422 h 5292022"/>
              <a:gd name="connsiteX40-38477" fmla="*/ 10286706 w 10693106"/>
              <a:gd name="connsiteY40-38478" fmla="*/ 686156 h 5292022"/>
              <a:gd name="connsiteX41-38479" fmla="*/ 10388306 w 10693106"/>
              <a:gd name="connsiteY41-38480" fmla="*/ 889356 h 5292022"/>
              <a:gd name="connsiteX42-38481" fmla="*/ 10540706 w 10693106"/>
              <a:gd name="connsiteY42-38482" fmla="*/ 1261889 h 5292022"/>
              <a:gd name="connsiteX43-38483" fmla="*/ 10557640 w 10693106"/>
              <a:gd name="connsiteY43-38484" fmla="*/ 1346556 h 5292022"/>
              <a:gd name="connsiteX44-38485" fmla="*/ 10583040 w 10693106"/>
              <a:gd name="connsiteY44-38486" fmla="*/ 1448156 h 5292022"/>
              <a:gd name="connsiteX45-38487" fmla="*/ 10616906 w 10693106"/>
              <a:gd name="connsiteY45-38488" fmla="*/ 1651356 h 5292022"/>
              <a:gd name="connsiteX46-38489" fmla="*/ 10633840 w 10693106"/>
              <a:gd name="connsiteY46-38490" fmla="*/ 1736022 h 5292022"/>
              <a:gd name="connsiteX47-38491" fmla="*/ 10650773 w 10693106"/>
              <a:gd name="connsiteY47-38492" fmla="*/ 1769889 h 5292022"/>
              <a:gd name="connsiteX48-38493" fmla="*/ 10676173 w 10693106"/>
              <a:gd name="connsiteY48-38494" fmla="*/ 1854556 h 5292022"/>
              <a:gd name="connsiteX49-38495" fmla="*/ 10693106 w 10693106"/>
              <a:gd name="connsiteY49-38496" fmla="*/ 2006956 h 5292022"/>
              <a:gd name="connsiteX50-38497" fmla="*/ 10625373 w 10693106"/>
              <a:gd name="connsiteY50-38498" fmla="*/ 2227089 h 5292022"/>
              <a:gd name="connsiteX51-38499" fmla="*/ 10608440 w 10693106"/>
              <a:gd name="connsiteY51-38500" fmla="*/ 2252489 h 5292022"/>
              <a:gd name="connsiteX52-38501" fmla="*/ 10540706 w 10693106"/>
              <a:gd name="connsiteY52-38502" fmla="*/ 2396422 h 5292022"/>
              <a:gd name="connsiteX53-38503" fmla="*/ 10498373 w 10693106"/>
              <a:gd name="connsiteY53-38504" fmla="*/ 2481089 h 5292022"/>
              <a:gd name="connsiteX54-38505" fmla="*/ 10439106 w 10693106"/>
              <a:gd name="connsiteY54-38506" fmla="*/ 2667356 h 5292022"/>
              <a:gd name="connsiteX55-38507" fmla="*/ 10430640 w 10693106"/>
              <a:gd name="connsiteY55-38508" fmla="*/ 2709689 h 5292022"/>
              <a:gd name="connsiteX56-38509" fmla="*/ 10405240 w 10693106"/>
              <a:gd name="connsiteY56-38510" fmla="*/ 2785889 h 5292022"/>
              <a:gd name="connsiteX57-38511" fmla="*/ 10396773 w 10693106"/>
              <a:gd name="connsiteY57-38512" fmla="*/ 2819756 h 5292022"/>
              <a:gd name="connsiteX58-38513" fmla="*/ 10362906 w 10693106"/>
              <a:gd name="connsiteY58-38514" fmla="*/ 2912889 h 5292022"/>
              <a:gd name="connsiteX59-38515" fmla="*/ 10329040 w 10693106"/>
              <a:gd name="connsiteY59-38516" fmla="*/ 2955222 h 5292022"/>
              <a:gd name="connsiteX60-38517" fmla="*/ 10227440 w 10693106"/>
              <a:gd name="connsiteY60-38518" fmla="*/ 3056822 h 5292022"/>
              <a:gd name="connsiteX61-38519" fmla="*/ 10168173 w 10693106"/>
              <a:gd name="connsiteY61-38520" fmla="*/ 3124556 h 5292022"/>
              <a:gd name="connsiteX62-38521" fmla="*/ 10117373 w 10693106"/>
              <a:gd name="connsiteY62-38522" fmla="*/ 3175356 h 5292022"/>
              <a:gd name="connsiteX63-38523" fmla="*/ 10032706 w 10693106"/>
              <a:gd name="connsiteY63-38524" fmla="*/ 3276956 h 5292022"/>
              <a:gd name="connsiteX64-38525" fmla="*/ 9948040 w 10693106"/>
              <a:gd name="connsiteY64-38526" fmla="*/ 3336222 h 5292022"/>
              <a:gd name="connsiteX65-38527" fmla="*/ 9905706 w 10693106"/>
              <a:gd name="connsiteY65-38528" fmla="*/ 3361622 h 5292022"/>
              <a:gd name="connsiteX66-38529" fmla="*/ 9829506 w 10693106"/>
              <a:gd name="connsiteY66-38530" fmla="*/ 3378556 h 5292022"/>
              <a:gd name="connsiteX67-38531" fmla="*/ 9727906 w 10693106"/>
              <a:gd name="connsiteY67-38532" fmla="*/ 3420889 h 5292022"/>
              <a:gd name="connsiteX68-38533" fmla="*/ 9634773 w 10693106"/>
              <a:gd name="connsiteY68-38534" fmla="*/ 3446289 h 5292022"/>
              <a:gd name="connsiteX69-38535" fmla="*/ 9456973 w 10693106"/>
              <a:gd name="connsiteY69-38536" fmla="*/ 3539422 h 5292022"/>
              <a:gd name="connsiteX70-38537" fmla="*/ 9313040 w 10693106"/>
              <a:gd name="connsiteY70-38538" fmla="*/ 3666422 h 5292022"/>
              <a:gd name="connsiteX71-38539" fmla="*/ 9279173 w 10693106"/>
              <a:gd name="connsiteY71-38540" fmla="*/ 3683356 h 5292022"/>
              <a:gd name="connsiteX72-38541" fmla="*/ 9067506 w 10693106"/>
              <a:gd name="connsiteY72-38542" fmla="*/ 3861156 h 5292022"/>
              <a:gd name="connsiteX73-38543" fmla="*/ 8999773 w 10693106"/>
              <a:gd name="connsiteY73-38544" fmla="*/ 3928889 h 5292022"/>
              <a:gd name="connsiteX74-38545" fmla="*/ 8813506 w 10693106"/>
              <a:gd name="connsiteY74-38546" fmla="*/ 4064356 h 5292022"/>
              <a:gd name="connsiteX75-38547" fmla="*/ 8728840 w 10693106"/>
              <a:gd name="connsiteY75-38548" fmla="*/ 4106689 h 5292022"/>
              <a:gd name="connsiteX76-38549" fmla="*/ 8373240 w 10693106"/>
              <a:gd name="connsiteY76-38550" fmla="*/ 4140556 h 5292022"/>
              <a:gd name="connsiteX77-38551" fmla="*/ 7966840 w 10693106"/>
              <a:gd name="connsiteY77-38552" fmla="*/ 4233689 h 5292022"/>
              <a:gd name="connsiteX78-38553" fmla="*/ 7687440 w 10693106"/>
              <a:gd name="connsiteY78-38554" fmla="*/ 4394556 h 5292022"/>
              <a:gd name="connsiteX79-38555" fmla="*/ 7374173 w 10693106"/>
              <a:gd name="connsiteY79-38556" fmla="*/ 4657022 h 5292022"/>
              <a:gd name="connsiteX80-38557" fmla="*/ 7374173 w 10693106"/>
              <a:gd name="connsiteY80-38558" fmla="*/ 4657022 h 5292022"/>
              <a:gd name="connsiteX81-38559" fmla="*/ 7221773 w 10693106"/>
              <a:gd name="connsiteY81-38560" fmla="*/ 4775556 h 5292022"/>
              <a:gd name="connsiteX82-38561" fmla="*/ 7027040 w 10693106"/>
              <a:gd name="connsiteY82-38562" fmla="*/ 4902556 h 5292022"/>
              <a:gd name="connsiteX83-38563" fmla="*/ 6883106 w 10693106"/>
              <a:gd name="connsiteY83-38564" fmla="*/ 4970289 h 5292022"/>
              <a:gd name="connsiteX84-38565" fmla="*/ 6815373 w 10693106"/>
              <a:gd name="connsiteY84-38566" fmla="*/ 5012622 h 5292022"/>
              <a:gd name="connsiteX85-38567" fmla="*/ 6646040 w 10693106"/>
              <a:gd name="connsiteY85-38568" fmla="*/ 5105756 h 5292022"/>
              <a:gd name="connsiteX86-38569" fmla="*/ 6527506 w 10693106"/>
              <a:gd name="connsiteY86-38570" fmla="*/ 5165022 h 5292022"/>
              <a:gd name="connsiteX87-38571" fmla="*/ 6298906 w 10693106"/>
              <a:gd name="connsiteY87-38572" fmla="*/ 5241222 h 5292022"/>
              <a:gd name="connsiteX88-38573" fmla="*/ 6197306 w 10693106"/>
              <a:gd name="connsiteY88-38574" fmla="*/ 5266622 h 5292022"/>
              <a:gd name="connsiteX89-38575" fmla="*/ 6061840 w 10693106"/>
              <a:gd name="connsiteY89-38576" fmla="*/ 5275089 h 5292022"/>
              <a:gd name="connsiteX90-38577" fmla="*/ 5917906 w 10693106"/>
              <a:gd name="connsiteY90-38578" fmla="*/ 5292022 h 5292022"/>
              <a:gd name="connsiteX91-38579" fmla="*/ 5748573 w 10693106"/>
              <a:gd name="connsiteY91-38580" fmla="*/ 5283556 h 5292022"/>
              <a:gd name="connsiteX92-38581" fmla="*/ 5282906 w 10693106"/>
              <a:gd name="connsiteY92-38582" fmla="*/ 5173489 h 5292022"/>
              <a:gd name="connsiteX93-38583" fmla="*/ 4959480 w 10693106"/>
              <a:gd name="connsiteY93-38584" fmla="*/ 4988069 h 5292022"/>
              <a:gd name="connsiteX94-38585" fmla="*/ 4686853 w 10693106"/>
              <a:gd name="connsiteY94-38586" fmla="*/ 4788256 h 5292022"/>
              <a:gd name="connsiteX95-38587" fmla="*/ 3977346 w 10693106"/>
              <a:gd name="connsiteY95-38588" fmla="*/ 4470544 h 5292022"/>
              <a:gd name="connsiteX96-38589" fmla="*/ 3741550 w 10693106"/>
              <a:gd name="connsiteY96-38590" fmla="*/ 4154102 h 5292022"/>
              <a:gd name="connsiteX97-38591" fmla="*/ 3562056 w 10693106"/>
              <a:gd name="connsiteY97-38592" fmla="*/ 3406919 h 5292022"/>
              <a:gd name="connsiteX98-38593" fmla="*/ 3242440 w 10693106"/>
              <a:gd name="connsiteY98-38594" fmla="*/ 3099156 h 5292022"/>
              <a:gd name="connsiteX99-38595" fmla="*/ 3123906 w 10693106"/>
              <a:gd name="connsiteY99-38596" fmla="*/ 2997556 h 5292022"/>
              <a:gd name="connsiteX100-38597" fmla="*/ 2988440 w 10693106"/>
              <a:gd name="connsiteY100-38598" fmla="*/ 2802822 h 5292022"/>
              <a:gd name="connsiteX101-38599" fmla="*/ 2971506 w 10693106"/>
              <a:gd name="connsiteY101-38600" fmla="*/ 2743556 h 5292022"/>
              <a:gd name="connsiteX102-38601" fmla="*/ 2996906 w 10693106"/>
              <a:gd name="connsiteY102-38602" fmla="*/ 2531889 h 5292022"/>
              <a:gd name="connsiteX103-38603" fmla="*/ 3013840 w 10693106"/>
              <a:gd name="connsiteY103-38604" fmla="*/ 2430289 h 5292022"/>
              <a:gd name="connsiteX104-38605" fmla="*/ 3005373 w 10693106"/>
              <a:gd name="connsiteY104-38606" fmla="*/ 2311756 h 5292022"/>
              <a:gd name="connsiteX105-38607" fmla="*/ 2988440 w 10693106"/>
              <a:gd name="connsiteY105-38608" fmla="*/ 2260956 h 5292022"/>
              <a:gd name="connsiteX106-38609" fmla="*/ 2802173 w 10693106"/>
              <a:gd name="connsiteY106-38610" fmla="*/ 2006956 h 5292022"/>
              <a:gd name="connsiteX107-38611" fmla="*/ 2641306 w 10693106"/>
              <a:gd name="connsiteY107-38612" fmla="*/ 1863022 h 5292022"/>
              <a:gd name="connsiteX108-38613" fmla="*/ 2590506 w 10693106"/>
              <a:gd name="connsiteY108-38614" fmla="*/ 1837622 h 5292022"/>
              <a:gd name="connsiteX109-38615" fmla="*/ 2531240 w 10693106"/>
              <a:gd name="connsiteY109-38616" fmla="*/ 1829156 h 5292022"/>
              <a:gd name="connsiteX110-38617" fmla="*/ 2446573 w 10693106"/>
              <a:gd name="connsiteY110-38618" fmla="*/ 1812222 h 5292022"/>
              <a:gd name="connsiteX111-38619" fmla="*/ 2251840 w 10693106"/>
              <a:gd name="connsiteY111-38620" fmla="*/ 1837622 h 5292022"/>
              <a:gd name="connsiteX112-38621" fmla="*/ 2167173 w 10693106"/>
              <a:gd name="connsiteY112-38622" fmla="*/ 1879956 h 5292022"/>
              <a:gd name="connsiteX113-38623" fmla="*/ 1980906 w 10693106"/>
              <a:gd name="connsiteY113-38624" fmla="*/ 1939222 h 5292022"/>
              <a:gd name="connsiteX114-38625" fmla="*/ 1904706 w 10693106"/>
              <a:gd name="connsiteY114-38626" fmla="*/ 1973089 h 5292022"/>
              <a:gd name="connsiteX115-38627" fmla="*/ 1828506 w 10693106"/>
              <a:gd name="connsiteY115-38628" fmla="*/ 1990022 h 5292022"/>
              <a:gd name="connsiteX116-38629" fmla="*/ 1726906 w 10693106"/>
              <a:gd name="connsiteY116-38630" fmla="*/ 2040822 h 5292022"/>
              <a:gd name="connsiteX117-38631" fmla="*/ 1659173 w 10693106"/>
              <a:gd name="connsiteY117-38632" fmla="*/ 2074689 h 5292022"/>
              <a:gd name="connsiteX118-38633" fmla="*/ 1498306 w 10693106"/>
              <a:gd name="connsiteY118-38634" fmla="*/ 2100089 h 5292022"/>
              <a:gd name="connsiteX119-38635" fmla="*/ 914106 w 10693106"/>
              <a:gd name="connsiteY119-38636" fmla="*/ 2032356 h 5292022"/>
              <a:gd name="connsiteX120-38637" fmla="*/ 617773 w 10693106"/>
              <a:gd name="connsiteY120-38638" fmla="*/ 1922289 h 5292022"/>
              <a:gd name="connsiteX121-38639" fmla="*/ 516173 w 10693106"/>
              <a:gd name="connsiteY121-38640" fmla="*/ 1837622 h 5292022"/>
              <a:gd name="connsiteX122-38641" fmla="*/ 355306 w 10693106"/>
              <a:gd name="connsiteY122-38642" fmla="*/ 1625956 h 5292022"/>
              <a:gd name="connsiteX123-38643" fmla="*/ 296040 w 10693106"/>
              <a:gd name="connsiteY123-38644" fmla="*/ 1524356 h 5292022"/>
              <a:gd name="connsiteX124-38645" fmla="*/ 253706 w 10693106"/>
              <a:gd name="connsiteY124-38646" fmla="*/ 1346556 h 5292022"/>
              <a:gd name="connsiteX125-38647" fmla="*/ 245240 w 10693106"/>
              <a:gd name="connsiteY125-38648" fmla="*/ 1219556 h 5292022"/>
              <a:gd name="connsiteX126-38649" fmla="*/ 236773 w 10693106"/>
              <a:gd name="connsiteY126-38650" fmla="*/ 1117956 h 5292022"/>
              <a:gd name="connsiteX127-38651" fmla="*/ 245240 w 10693106"/>
              <a:gd name="connsiteY127-38652" fmla="*/ 847022 h 5292022"/>
              <a:gd name="connsiteX128-38653" fmla="*/ 236773 w 10693106"/>
              <a:gd name="connsiteY128-38654" fmla="*/ 703089 h 5292022"/>
              <a:gd name="connsiteX129-38655" fmla="*/ 109773 w 10693106"/>
              <a:gd name="connsiteY129-38656" fmla="*/ 559156 h 5292022"/>
              <a:gd name="connsiteX130-38657" fmla="*/ 58973 w 10693106"/>
              <a:gd name="connsiteY130-38658" fmla="*/ 482956 h 5292022"/>
              <a:gd name="connsiteX131-38659" fmla="*/ 16640 w 10693106"/>
              <a:gd name="connsiteY131-38660" fmla="*/ 432156 h 5292022"/>
              <a:gd name="connsiteX132-38661" fmla="*/ 8173 w 10693106"/>
              <a:gd name="connsiteY132-38662" fmla="*/ 389822 h 5292022"/>
              <a:gd name="connsiteX133-38663" fmla="*/ 16640 w 10693106"/>
              <a:gd name="connsiteY133-38664" fmla="*/ 339022 h 5292022"/>
              <a:gd name="connsiteX0-38665" fmla="*/ 16640 w 10693106"/>
              <a:gd name="connsiteY0-38666" fmla="*/ 339022 h 5292022"/>
              <a:gd name="connsiteX1-38667" fmla="*/ 58973 w 10693106"/>
              <a:gd name="connsiteY1-38668" fmla="*/ 245889 h 5292022"/>
              <a:gd name="connsiteX2-38669" fmla="*/ 109773 w 10693106"/>
              <a:gd name="connsiteY2-38670" fmla="*/ 178156 h 5292022"/>
              <a:gd name="connsiteX3-38671" fmla="*/ 202906 w 10693106"/>
              <a:gd name="connsiteY3-38672" fmla="*/ 93489 h 5292022"/>
              <a:gd name="connsiteX4-38673" fmla="*/ 236773 w 10693106"/>
              <a:gd name="connsiteY4-38674" fmla="*/ 68089 h 5292022"/>
              <a:gd name="connsiteX5-38675" fmla="*/ 335410 w 10693106"/>
              <a:gd name="connsiteY5-38676" fmla="*/ 58352 h 5292022"/>
              <a:gd name="connsiteX6-38677" fmla="*/ 382400 w 10693106"/>
              <a:gd name="connsiteY6-38678" fmla="*/ 51156 h 5292022"/>
              <a:gd name="connsiteX7-38679" fmla="*/ 434912 w 10693106"/>
              <a:gd name="connsiteY7-38680" fmla="*/ 70071 h 5292022"/>
              <a:gd name="connsiteX8-38681" fmla="*/ 492697 w 10693106"/>
              <a:gd name="connsiteY8-38682" fmla="*/ 74247 h 5292022"/>
              <a:gd name="connsiteX9-38683" fmla="*/ 822897 w 10693106"/>
              <a:gd name="connsiteY9-38684" fmla="*/ 82713 h 5292022"/>
              <a:gd name="connsiteX10-38685" fmla="*/ 1091906 w 10693106"/>
              <a:gd name="connsiteY10-38686" fmla="*/ 356 h 5292022"/>
              <a:gd name="connsiteX11-38687" fmla="*/ 1235840 w 10693106"/>
              <a:gd name="connsiteY11-38688" fmla="*/ 59622 h 5292022"/>
              <a:gd name="connsiteX12-38689" fmla="*/ 1337440 w 10693106"/>
              <a:gd name="connsiteY12-38690" fmla="*/ 135822 h 5292022"/>
              <a:gd name="connsiteX13-38691" fmla="*/ 1422106 w 10693106"/>
              <a:gd name="connsiteY13-38692" fmla="*/ 245889 h 5292022"/>
              <a:gd name="connsiteX14-38693" fmla="*/ 1481373 w 10693106"/>
              <a:gd name="connsiteY14-38694" fmla="*/ 313622 h 5292022"/>
              <a:gd name="connsiteX15-38695" fmla="*/ 1532173 w 10693106"/>
              <a:gd name="connsiteY15-38696" fmla="*/ 347489 h 5292022"/>
              <a:gd name="connsiteX16-38697" fmla="*/ 1684573 w 10693106"/>
              <a:gd name="connsiteY16-38698" fmla="*/ 406756 h 5292022"/>
              <a:gd name="connsiteX17-38699" fmla="*/ 1760773 w 10693106"/>
              <a:gd name="connsiteY17-38700" fmla="*/ 423689 h 5292022"/>
              <a:gd name="connsiteX18-38701" fmla="*/ 1997840 w 10693106"/>
              <a:gd name="connsiteY18-38702" fmla="*/ 415222 h 5292022"/>
              <a:gd name="connsiteX19-38703" fmla="*/ 2116373 w 10693106"/>
              <a:gd name="connsiteY19-38704" fmla="*/ 398289 h 5292022"/>
              <a:gd name="connsiteX20-38705" fmla="*/ 2260306 w 10693106"/>
              <a:gd name="connsiteY20-38706" fmla="*/ 381356 h 5292022"/>
              <a:gd name="connsiteX21-38707" fmla="*/ 2404240 w 10693106"/>
              <a:gd name="connsiteY21-38708" fmla="*/ 355956 h 5292022"/>
              <a:gd name="connsiteX22-38709" fmla="*/ 2455040 w 10693106"/>
              <a:gd name="connsiteY22-38710" fmla="*/ 330556 h 5292022"/>
              <a:gd name="connsiteX23-38711" fmla="*/ 2531240 w 10693106"/>
              <a:gd name="connsiteY23-38712" fmla="*/ 305156 h 5292022"/>
              <a:gd name="connsiteX24-38713" fmla="*/ 2649350 w 10693106"/>
              <a:gd name="connsiteY24-38714" fmla="*/ 225781 h 5292022"/>
              <a:gd name="connsiteX25-38715" fmla="*/ 3002294 w 10693106"/>
              <a:gd name="connsiteY25-38716" fmla="*/ 154680 h 5292022"/>
              <a:gd name="connsiteX26-38717" fmla="*/ 3142763 w 10693106"/>
              <a:gd name="connsiteY26-38718" fmla="*/ 110421 h 5292022"/>
              <a:gd name="connsiteX27-38719" fmla="*/ 3398918 w 10693106"/>
              <a:gd name="connsiteY27-38720" fmla="*/ 72322 h 5292022"/>
              <a:gd name="connsiteX28-38721" fmla="*/ 4529373 w 10693106"/>
              <a:gd name="connsiteY28-38722" fmla="*/ 271289 h 5292022"/>
              <a:gd name="connsiteX29-38723" fmla="*/ 5630810 w 10693106"/>
              <a:gd name="connsiteY29-38724" fmla="*/ 1149898 h 5292022"/>
              <a:gd name="connsiteX30-38725" fmla="*/ 6881490 w 10693106"/>
              <a:gd name="connsiteY30-38726" fmla="*/ 1366452 h 5292022"/>
              <a:gd name="connsiteX31-38727" fmla="*/ 7839032 w 10693106"/>
              <a:gd name="connsiteY31-38728" fmla="*/ 1183996 h 5292022"/>
              <a:gd name="connsiteX32-38729" fmla="*/ 8652640 w 10693106"/>
              <a:gd name="connsiteY32-38730" fmla="*/ 677689 h 5292022"/>
              <a:gd name="connsiteX33-38731" fmla="*/ 8982840 w 10693106"/>
              <a:gd name="connsiteY33-38732" fmla="*/ 398289 h 5292022"/>
              <a:gd name="connsiteX34-38733" fmla="*/ 9380773 w 10693106"/>
              <a:gd name="connsiteY34-38734" fmla="*/ 355956 h 5292022"/>
              <a:gd name="connsiteX35-38735" fmla="*/ 9744840 w 10693106"/>
              <a:gd name="connsiteY35-38736" fmla="*/ 466022 h 5292022"/>
              <a:gd name="connsiteX36-38737" fmla="*/ 9888773 w 10693106"/>
              <a:gd name="connsiteY36-38738" fmla="*/ 508356 h 5292022"/>
              <a:gd name="connsiteX37-38739" fmla="*/ 9998840 w 10693106"/>
              <a:gd name="connsiteY37-38740" fmla="*/ 559156 h 5292022"/>
              <a:gd name="connsiteX38-38741" fmla="*/ 10083506 w 10693106"/>
              <a:gd name="connsiteY38-38742" fmla="*/ 618422 h 5292022"/>
              <a:gd name="connsiteX39-38743" fmla="*/ 10286706 w 10693106"/>
              <a:gd name="connsiteY39-38744" fmla="*/ 686156 h 5292022"/>
              <a:gd name="connsiteX40-38745" fmla="*/ 10388306 w 10693106"/>
              <a:gd name="connsiteY40-38746" fmla="*/ 889356 h 5292022"/>
              <a:gd name="connsiteX41-38747" fmla="*/ 10540706 w 10693106"/>
              <a:gd name="connsiteY41-38748" fmla="*/ 1261889 h 5292022"/>
              <a:gd name="connsiteX42-38749" fmla="*/ 10557640 w 10693106"/>
              <a:gd name="connsiteY42-38750" fmla="*/ 1346556 h 5292022"/>
              <a:gd name="connsiteX43-38751" fmla="*/ 10583040 w 10693106"/>
              <a:gd name="connsiteY43-38752" fmla="*/ 1448156 h 5292022"/>
              <a:gd name="connsiteX44-38753" fmla="*/ 10616906 w 10693106"/>
              <a:gd name="connsiteY44-38754" fmla="*/ 1651356 h 5292022"/>
              <a:gd name="connsiteX45-38755" fmla="*/ 10633840 w 10693106"/>
              <a:gd name="connsiteY45-38756" fmla="*/ 1736022 h 5292022"/>
              <a:gd name="connsiteX46-38757" fmla="*/ 10650773 w 10693106"/>
              <a:gd name="connsiteY46-38758" fmla="*/ 1769889 h 5292022"/>
              <a:gd name="connsiteX47-38759" fmla="*/ 10676173 w 10693106"/>
              <a:gd name="connsiteY47-38760" fmla="*/ 1854556 h 5292022"/>
              <a:gd name="connsiteX48-38761" fmla="*/ 10693106 w 10693106"/>
              <a:gd name="connsiteY48-38762" fmla="*/ 2006956 h 5292022"/>
              <a:gd name="connsiteX49-38763" fmla="*/ 10625373 w 10693106"/>
              <a:gd name="connsiteY49-38764" fmla="*/ 2227089 h 5292022"/>
              <a:gd name="connsiteX50-38765" fmla="*/ 10608440 w 10693106"/>
              <a:gd name="connsiteY50-38766" fmla="*/ 2252489 h 5292022"/>
              <a:gd name="connsiteX51-38767" fmla="*/ 10540706 w 10693106"/>
              <a:gd name="connsiteY51-38768" fmla="*/ 2396422 h 5292022"/>
              <a:gd name="connsiteX52-38769" fmla="*/ 10498373 w 10693106"/>
              <a:gd name="connsiteY52-38770" fmla="*/ 2481089 h 5292022"/>
              <a:gd name="connsiteX53-38771" fmla="*/ 10439106 w 10693106"/>
              <a:gd name="connsiteY53-38772" fmla="*/ 2667356 h 5292022"/>
              <a:gd name="connsiteX54-38773" fmla="*/ 10430640 w 10693106"/>
              <a:gd name="connsiteY54-38774" fmla="*/ 2709689 h 5292022"/>
              <a:gd name="connsiteX55-38775" fmla="*/ 10405240 w 10693106"/>
              <a:gd name="connsiteY55-38776" fmla="*/ 2785889 h 5292022"/>
              <a:gd name="connsiteX56-38777" fmla="*/ 10396773 w 10693106"/>
              <a:gd name="connsiteY56-38778" fmla="*/ 2819756 h 5292022"/>
              <a:gd name="connsiteX57-38779" fmla="*/ 10362906 w 10693106"/>
              <a:gd name="connsiteY57-38780" fmla="*/ 2912889 h 5292022"/>
              <a:gd name="connsiteX58-38781" fmla="*/ 10329040 w 10693106"/>
              <a:gd name="connsiteY58-38782" fmla="*/ 2955222 h 5292022"/>
              <a:gd name="connsiteX59-38783" fmla="*/ 10227440 w 10693106"/>
              <a:gd name="connsiteY59-38784" fmla="*/ 3056822 h 5292022"/>
              <a:gd name="connsiteX60-38785" fmla="*/ 10168173 w 10693106"/>
              <a:gd name="connsiteY60-38786" fmla="*/ 3124556 h 5292022"/>
              <a:gd name="connsiteX61-38787" fmla="*/ 10117373 w 10693106"/>
              <a:gd name="connsiteY61-38788" fmla="*/ 3175356 h 5292022"/>
              <a:gd name="connsiteX62-38789" fmla="*/ 10032706 w 10693106"/>
              <a:gd name="connsiteY62-38790" fmla="*/ 3276956 h 5292022"/>
              <a:gd name="connsiteX63-38791" fmla="*/ 9948040 w 10693106"/>
              <a:gd name="connsiteY63-38792" fmla="*/ 3336222 h 5292022"/>
              <a:gd name="connsiteX64-38793" fmla="*/ 9905706 w 10693106"/>
              <a:gd name="connsiteY64-38794" fmla="*/ 3361622 h 5292022"/>
              <a:gd name="connsiteX65-38795" fmla="*/ 9829506 w 10693106"/>
              <a:gd name="connsiteY65-38796" fmla="*/ 3378556 h 5292022"/>
              <a:gd name="connsiteX66-38797" fmla="*/ 9727906 w 10693106"/>
              <a:gd name="connsiteY66-38798" fmla="*/ 3420889 h 5292022"/>
              <a:gd name="connsiteX67-38799" fmla="*/ 9634773 w 10693106"/>
              <a:gd name="connsiteY67-38800" fmla="*/ 3446289 h 5292022"/>
              <a:gd name="connsiteX68-38801" fmla="*/ 9456973 w 10693106"/>
              <a:gd name="connsiteY68-38802" fmla="*/ 3539422 h 5292022"/>
              <a:gd name="connsiteX69-38803" fmla="*/ 9313040 w 10693106"/>
              <a:gd name="connsiteY69-38804" fmla="*/ 3666422 h 5292022"/>
              <a:gd name="connsiteX70-38805" fmla="*/ 9279173 w 10693106"/>
              <a:gd name="connsiteY70-38806" fmla="*/ 3683356 h 5292022"/>
              <a:gd name="connsiteX71-38807" fmla="*/ 9067506 w 10693106"/>
              <a:gd name="connsiteY71-38808" fmla="*/ 3861156 h 5292022"/>
              <a:gd name="connsiteX72-38809" fmla="*/ 8999773 w 10693106"/>
              <a:gd name="connsiteY72-38810" fmla="*/ 3928889 h 5292022"/>
              <a:gd name="connsiteX73-38811" fmla="*/ 8813506 w 10693106"/>
              <a:gd name="connsiteY73-38812" fmla="*/ 4064356 h 5292022"/>
              <a:gd name="connsiteX74-38813" fmla="*/ 8728840 w 10693106"/>
              <a:gd name="connsiteY74-38814" fmla="*/ 4106689 h 5292022"/>
              <a:gd name="connsiteX75-38815" fmla="*/ 8373240 w 10693106"/>
              <a:gd name="connsiteY75-38816" fmla="*/ 4140556 h 5292022"/>
              <a:gd name="connsiteX76-38817" fmla="*/ 7966840 w 10693106"/>
              <a:gd name="connsiteY76-38818" fmla="*/ 4233689 h 5292022"/>
              <a:gd name="connsiteX77-38819" fmla="*/ 7687440 w 10693106"/>
              <a:gd name="connsiteY77-38820" fmla="*/ 4394556 h 5292022"/>
              <a:gd name="connsiteX78-38821" fmla="*/ 7374173 w 10693106"/>
              <a:gd name="connsiteY78-38822" fmla="*/ 4657022 h 5292022"/>
              <a:gd name="connsiteX79-38823" fmla="*/ 7374173 w 10693106"/>
              <a:gd name="connsiteY79-38824" fmla="*/ 4657022 h 5292022"/>
              <a:gd name="connsiteX80-38825" fmla="*/ 7221773 w 10693106"/>
              <a:gd name="connsiteY80-38826" fmla="*/ 4775556 h 5292022"/>
              <a:gd name="connsiteX81-38827" fmla="*/ 7027040 w 10693106"/>
              <a:gd name="connsiteY81-38828" fmla="*/ 4902556 h 5292022"/>
              <a:gd name="connsiteX82-38829" fmla="*/ 6883106 w 10693106"/>
              <a:gd name="connsiteY82-38830" fmla="*/ 4970289 h 5292022"/>
              <a:gd name="connsiteX83-38831" fmla="*/ 6815373 w 10693106"/>
              <a:gd name="connsiteY83-38832" fmla="*/ 5012622 h 5292022"/>
              <a:gd name="connsiteX84-38833" fmla="*/ 6646040 w 10693106"/>
              <a:gd name="connsiteY84-38834" fmla="*/ 5105756 h 5292022"/>
              <a:gd name="connsiteX85-38835" fmla="*/ 6527506 w 10693106"/>
              <a:gd name="connsiteY85-38836" fmla="*/ 5165022 h 5292022"/>
              <a:gd name="connsiteX86-38837" fmla="*/ 6298906 w 10693106"/>
              <a:gd name="connsiteY86-38838" fmla="*/ 5241222 h 5292022"/>
              <a:gd name="connsiteX87-38839" fmla="*/ 6197306 w 10693106"/>
              <a:gd name="connsiteY87-38840" fmla="*/ 5266622 h 5292022"/>
              <a:gd name="connsiteX88-38841" fmla="*/ 6061840 w 10693106"/>
              <a:gd name="connsiteY88-38842" fmla="*/ 5275089 h 5292022"/>
              <a:gd name="connsiteX89-38843" fmla="*/ 5917906 w 10693106"/>
              <a:gd name="connsiteY89-38844" fmla="*/ 5292022 h 5292022"/>
              <a:gd name="connsiteX90-38845" fmla="*/ 5748573 w 10693106"/>
              <a:gd name="connsiteY90-38846" fmla="*/ 5283556 h 5292022"/>
              <a:gd name="connsiteX91-38847" fmla="*/ 5282906 w 10693106"/>
              <a:gd name="connsiteY91-38848" fmla="*/ 5173489 h 5292022"/>
              <a:gd name="connsiteX92-38849" fmla="*/ 4959480 w 10693106"/>
              <a:gd name="connsiteY92-38850" fmla="*/ 4988069 h 5292022"/>
              <a:gd name="connsiteX93-38851" fmla="*/ 4686853 w 10693106"/>
              <a:gd name="connsiteY93-38852" fmla="*/ 4788256 h 5292022"/>
              <a:gd name="connsiteX94-38853" fmla="*/ 3977346 w 10693106"/>
              <a:gd name="connsiteY94-38854" fmla="*/ 4470544 h 5292022"/>
              <a:gd name="connsiteX95-38855" fmla="*/ 3741550 w 10693106"/>
              <a:gd name="connsiteY95-38856" fmla="*/ 4154102 h 5292022"/>
              <a:gd name="connsiteX96-38857" fmla="*/ 3562056 w 10693106"/>
              <a:gd name="connsiteY96-38858" fmla="*/ 3406919 h 5292022"/>
              <a:gd name="connsiteX97-38859" fmla="*/ 3242440 w 10693106"/>
              <a:gd name="connsiteY97-38860" fmla="*/ 3099156 h 5292022"/>
              <a:gd name="connsiteX98-38861" fmla="*/ 3123906 w 10693106"/>
              <a:gd name="connsiteY98-38862" fmla="*/ 2997556 h 5292022"/>
              <a:gd name="connsiteX99-38863" fmla="*/ 2988440 w 10693106"/>
              <a:gd name="connsiteY99-38864" fmla="*/ 2802822 h 5292022"/>
              <a:gd name="connsiteX100-38865" fmla="*/ 2971506 w 10693106"/>
              <a:gd name="connsiteY100-38866" fmla="*/ 2743556 h 5292022"/>
              <a:gd name="connsiteX101-38867" fmla="*/ 2996906 w 10693106"/>
              <a:gd name="connsiteY101-38868" fmla="*/ 2531889 h 5292022"/>
              <a:gd name="connsiteX102-38869" fmla="*/ 3013840 w 10693106"/>
              <a:gd name="connsiteY102-38870" fmla="*/ 2430289 h 5292022"/>
              <a:gd name="connsiteX103-38871" fmla="*/ 3005373 w 10693106"/>
              <a:gd name="connsiteY103-38872" fmla="*/ 2311756 h 5292022"/>
              <a:gd name="connsiteX104-38873" fmla="*/ 2988440 w 10693106"/>
              <a:gd name="connsiteY104-38874" fmla="*/ 2260956 h 5292022"/>
              <a:gd name="connsiteX105-38875" fmla="*/ 2802173 w 10693106"/>
              <a:gd name="connsiteY105-38876" fmla="*/ 2006956 h 5292022"/>
              <a:gd name="connsiteX106-38877" fmla="*/ 2641306 w 10693106"/>
              <a:gd name="connsiteY106-38878" fmla="*/ 1863022 h 5292022"/>
              <a:gd name="connsiteX107-38879" fmla="*/ 2590506 w 10693106"/>
              <a:gd name="connsiteY107-38880" fmla="*/ 1837622 h 5292022"/>
              <a:gd name="connsiteX108-38881" fmla="*/ 2531240 w 10693106"/>
              <a:gd name="connsiteY108-38882" fmla="*/ 1829156 h 5292022"/>
              <a:gd name="connsiteX109-38883" fmla="*/ 2446573 w 10693106"/>
              <a:gd name="connsiteY109-38884" fmla="*/ 1812222 h 5292022"/>
              <a:gd name="connsiteX110-38885" fmla="*/ 2251840 w 10693106"/>
              <a:gd name="connsiteY110-38886" fmla="*/ 1837622 h 5292022"/>
              <a:gd name="connsiteX111-38887" fmla="*/ 2167173 w 10693106"/>
              <a:gd name="connsiteY111-38888" fmla="*/ 1879956 h 5292022"/>
              <a:gd name="connsiteX112-38889" fmla="*/ 1980906 w 10693106"/>
              <a:gd name="connsiteY112-38890" fmla="*/ 1939222 h 5292022"/>
              <a:gd name="connsiteX113-38891" fmla="*/ 1904706 w 10693106"/>
              <a:gd name="connsiteY113-38892" fmla="*/ 1973089 h 5292022"/>
              <a:gd name="connsiteX114-38893" fmla="*/ 1828506 w 10693106"/>
              <a:gd name="connsiteY114-38894" fmla="*/ 1990022 h 5292022"/>
              <a:gd name="connsiteX115-38895" fmla="*/ 1726906 w 10693106"/>
              <a:gd name="connsiteY115-38896" fmla="*/ 2040822 h 5292022"/>
              <a:gd name="connsiteX116-38897" fmla="*/ 1659173 w 10693106"/>
              <a:gd name="connsiteY116-38898" fmla="*/ 2074689 h 5292022"/>
              <a:gd name="connsiteX117-38899" fmla="*/ 1498306 w 10693106"/>
              <a:gd name="connsiteY117-38900" fmla="*/ 2100089 h 5292022"/>
              <a:gd name="connsiteX118-38901" fmla="*/ 914106 w 10693106"/>
              <a:gd name="connsiteY118-38902" fmla="*/ 2032356 h 5292022"/>
              <a:gd name="connsiteX119-38903" fmla="*/ 617773 w 10693106"/>
              <a:gd name="connsiteY119-38904" fmla="*/ 1922289 h 5292022"/>
              <a:gd name="connsiteX120-38905" fmla="*/ 516173 w 10693106"/>
              <a:gd name="connsiteY120-38906" fmla="*/ 1837622 h 5292022"/>
              <a:gd name="connsiteX121-38907" fmla="*/ 355306 w 10693106"/>
              <a:gd name="connsiteY121-38908" fmla="*/ 1625956 h 5292022"/>
              <a:gd name="connsiteX122-38909" fmla="*/ 296040 w 10693106"/>
              <a:gd name="connsiteY122-38910" fmla="*/ 1524356 h 5292022"/>
              <a:gd name="connsiteX123-38911" fmla="*/ 253706 w 10693106"/>
              <a:gd name="connsiteY123-38912" fmla="*/ 1346556 h 5292022"/>
              <a:gd name="connsiteX124-38913" fmla="*/ 245240 w 10693106"/>
              <a:gd name="connsiteY124-38914" fmla="*/ 1219556 h 5292022"/>
              <a:gd name="connsiteX125-38915" fmla="*/ 236773 w 10693106"/>
              <a:gd name="connsiteY125-38916" fmla="*/ 1117956 h 5292022"/>
              <a:gd name="connsiteX126-38917" fmla="*/ 245240 w 10693106"/>
              <a:gd name="connsiteY126-38918" fmla="*/ 847022 h 5292022"/>
              <a:gd name="connsiteX127-38919" fmla="*/ 236773 w 10693106"/>
              <a:gd name="connsiteY127-38920" fmla="*/ 703089 h 5292022"/>
              <a:gd name="connsiteX128-38921" fmla="*/ 109773 w 10693106"/>
              <a:gd name="connsiteY128-38922" fmla="*/ 559156 h 5292022"/>
              <a:gd name="connsiteX129-38923" fmla="*/ 58973 w 10693106"/>
              <a:gd name="connsiteY129-38924" fmla="*/ 482956 h 5292022"/>
              <a:gd name="connsiteX130-38925" fmla="*/ 16640 w 10693106"/>
              <a:gd name="connsiteY130-38926" fmla="*/ 432156 h 5292022"/>
              <a:gd name="connsiteX131-38927" fmla="*/ 8173 w 10693106"/>
              <a:gd name="connsiteY131-38928" fmla="*/ 389822 h 5292022"/>
              <a:gd name="connsiteX132-38929" fmla="*/ 16640 w 10693106"/>
              <a:gd name="connsiteY132-38930" fmla="*/ 339022 h 5292022"/>
              <a:gd name="connsiteX0-38931" fmla="*/ 16640 w 10693106"/>
              <a:gd name="connsiteY0-38932" fmla="*/ 339022 h 5292022"/>
              <a:gd name="connsiteX1-38933" fmla="*/ 58973 w 10693106"/>
              <a:gd name="connsiteY1-38934" fmla="*/ 245889 h 5292022"/>
              <a:gd name="connsiteX2-38935" fmla="*/ 109773 w 10693106"/>
              <a:gd name="connsiteY2-38936" fmla="*/ 178156 h 5292022"/>
              <a:gd name="connsiteX3-38937" fmla="*/ 202906 w 10693106"/>
              <a:gd name="connsiteY3-38938" fmla="*/ 93489 h 5292022"/>
              <a:gd name="connsiteX4-38939" fmla="*/ 236773 w 10693106"/>
              <a:gd name="connsiteY4-38940" fmla="*/ 68089 h 5292022"/>
              <a:gd name="connsiteX5-38941" fmla="*/ 335410 w 10693106"/>
              <a:gd name="connsiteY5-38942" fmla="*/ 58352 h 5292022"/>
              <a:gd name="connsiteX6-38943" fmla="*/ 382400 w 10693106"/>
              <a:gd name="connsiteY6-38944" fmla="*/ 51156 h 5292022"/>
              <a:gd name="connsiteX7-38945" fmla="*/ 434912 w 10693106"/>
              <a:gd name="connsiteY7-38946" fmla="*/ 70071 h 5292022"/>
              <a:gd name="connsiteX8-38947" fmla="*/ 492697 w 10693106"/>
              <a:gd name="connsiteY8-38948" fmla="*/ 74247 h 5292022"/>
              <a:gd name="connsiteX9-38949" fmla="*/ 822897 w 10693106"/>
              <a:gd name="connsiteY9-38950" fmla="*/ 82713 h 5292022"/>
              <a:gd name="connsiteX10-38951" fmla="*/ 1091906 w 10693106"/>
              <a:gd name="connsiteY10-38952" fmla="*/ 356 h 5292022"/>
              <a:gd name="connsiteX11-38953" fmla="*/ 1235840 w 10693106"/>
              <a:gd name="connsiteY11-38954" fmla="*/ 59622 h 5292022"/>
              <a:gd name="connsiteX12-38955" fmla="*/ 1337440 w 10693106"/>
              <a:gd name="connsiteY12-38956" fmla="*/ 135822 h 5292022"/>
              <a:gd name="connsiteX13-38957" fmla="*/ 1422106 w 10693106"/>
              <a:gd name="connsiteY13-38958" fmla="*/ 245889 h 5292022"/>
              <a:gd name="connsiteX14-38959" fmla="*/ 1481373 w 10693106"/>
              <a:gd name="connsiteY14-38960" fmla="*/ 313622 h 5292022"/>
              <a:gd name="connsiteX15-38961" fmla="*/ 1532173 w 10693106"/>
              <a:gd name="connsiteY15-38962" fmla="*/ 347489 h 5292022"/>
              <a:gd name="connsiteX16-38963" fmla="*/ 1684573 w 10693106"/>
              <a:gd name="connsiteY16-38964" fmla="*/ 406756 h 5292022"/>
              <a:gd name="connsiteX17-38965" fmla="*/ 1760773 w 10693106"/>
              <a:gd name="connsiteY17-38966" fmla="*/ 423689 h 5292022"/>
              <a:gd name="connsiteX18-38967" fmla="*/ 1997840 w 10693106"/>
              <a:gd name="connsiteY18-38968" fmla="*/ 415222 h 5292022"/>
              <a:gd name="connsiteX19-38969" fmla="*/ 2116373 w 10693106"/>
              <a:gd name="connsiteY19-38970" fmla="*/ 398289 h 5292022"/>
              <a:gd name="connsiteX20-38971" fmla="*/ 2260306 w 10693106"/>
              <a:gd name="connsiteY20-38972" fmla="*/ 381356 h 5292022"/>
              <a:gd name="connsiteX21-38973" fmla="*/ 2404240 w 10693106"/>
              <a:gd name="connsiteY21-38974" fmla="*/ 355956 h 5292022"/>
              <a:gd name="connsiteX22-38975" fmla="*/ 2455040 w 10693106"/>
              <a:gd name="connsiteY22-38976" fmla="*/ 330556 h 5292022"/>
              <a:gd name="connsiteX23-38977" fmla="*/ 2531240 w 10693106"/>
              <a:gd name="connsiteY23-38978" fmla="*/ 305156 h 5292022"/>
              <a:gd name="connsiteX24-38979" fmla="*/ 3002294 w 10693106"/>
              <a:gd name="connsiteY24-38980" fmla="*/ 154680 h 5292022"/>
              <a:gd name="connsiteX25-38981" fmla="*/ 3142763 w 10693106"/>
              <a:gd name="connsiteY25-38982" fmla="*/ 110421 h 5292022"/>
              <a:gd name="connsiteX26-38983" fmla="*/ 3398918 w 10693106"/>
              <a:gd name="connsiteY26-38984" fmla="*/ 72322 h 5292022"/>
              <a:gd name="connsiteX27-38985" fmla="*/ 4529373 w 10693106"/>
              <a:gd name="connsiteY27-38986" fmla="*/ 271289 h 5292022"/>
              <a:gd name="connsiteX28-38987" fmla="*/ 5630810 w 10693106"/>
              <a:gd name="connsiteY28-38988" fmla="*/ 1149898 h 5292022"/>
              <a:gd name="connsiteX29-38989" fmla="*/ 6881490 w 10693106"/>
              <a:gd name="connsiteY29-38990" fmla="*/ 1366452 h 5292022"/>
              <a:gd name="connsiteX30-38991" fmla="*/ 7839032 w 10693106"/>
              <a:gd name="connsiteY30-38992" fmla="*/ 1183996 h 5292022"/>
              <a:gd name="connsiteX31-38993" fmla="*/ 8652640 w 10693106"/>
              <a:gd name="connsiteY31-38994" fmla="*/ 677689 h 5292022"/>
              <a:gd name="connsiteX32-38995" fmla="*/ 8982840 w 10693106"/>
              <a:gd name="connsiteY32-38996" fmla="*/ 398289 h 5292022"/>
              <a:gd name="connsiteX33-38997" fmla="*/ 9380773 w 10693106"/>
              <a:gd name="connsiteY33-38998" fmla="*/ 355956 h 5292022"/>
              <a:gd name="connsiteX34-38999" fmla="*/ 9744840 w 10693106"/>
              <a:gd name="connsiteY34-39000" fmla="*/ 466022 h 5292022"/>
              <a:gd name="connsiteX35-39001" fmla="*/ 9888773 w 10693106"/>
              <a:gd name="connsiteY35-39002" fmla="*/ 508356 h 5292022"/>
              <a:gd name="connsiteX36-39003" fmla="*/ 9998840 w 10693106"/>
              <a:gd name="connsiteY36-39004" fmla="*/ 559156 h 5292022"/>
              <a:gd name="connsiteX37-39005" fmla="*/ 10083506 w 10693106"/>
              <a:gd name="connsiteY37-39006" fmla="*/ 618422 h 5292022"/>
              <a:gd name="connsiteX38-39007" fmla="*/ 10286706 w 10693106"/>
              <a:gd name="connsiteY38-39008" fmla="*/ 686156 h 5292022"/>
              <a:gd name="connsiteX39-39009" fmla="*/ 10388306 w 10693106"/>
              <a:gd name="connsiteY39-39010" fmla="*/ 889356 h 5292022"/>
              <a:gd name="connsiteX40-39011" fmla="*/ 10540706 w 10693106"/>
              <a:gd name="connsiteY40-39012" fmla="*/ 1261889 h 5292022"/>
              <a:gd name="connsiteX41-39013" fmla="*/ 10557640 w 10693106"/>
              <a:gd name="connsiteY41-39014" fmla="*/ 1346556 h 5292022"/>
              <a:gd name="connsiteX42-39015" fmla="*/ 10583040 w 10693106"/>
              <a:gd name="connsiteY42-39016" fmla="*/ 1448156 h 5292022"/>
              <a:gd name="connsiteX43-39017" fmla="*/ 10616906 w 10693106"/>
              <a:gd name="connsiteY43-39018" fmla="*/ 1651356 h 5292022"/>
              <a:gd name="connsiteX44-39019" fmla="*/ 10633840 w 10693106"/>
              <a:gd name="connsiteY44-39020" fmla="*/ 1736022 h 5292022"/>
              <a:gd name="connsiteX45-39021" fmla="*/ 10650773 w 10693106"/>
              <a:gd name="connsiteY45-39022" fmla="*/ 1769889 h 5292022"/>
              <a:gd name="connsiteX46-39023" fmla="*/ 10676173 w 10693106"/>
              <a:gd name="connsiteY46-39024" fmla="*/ 1854556 h 5292022"/>
              <a:gd name="connsiteX47-39025" fmla="*/ 10693106 w 10693106"/>
              <a:gd name="connsiteY47-39026" fmla="*/ 2006956 h 5292022"/>
              <a:gd name="connsiteX48-39027" fmla="*/ 10625373 w 10693106"/>
              <a:gd name="connsiteY48-39028" fmla="*/ 2227089 h 5292022"/>
              <a:gd name="connsiteX49-39029" fmla="*/ 10608440 w 10693106"/>
              <a:gd name="connsiteY49-39030" fmla="*/ 2252489 h 5292022"/>
              <a:gd name="connsiteX50-39031" fmla="*/ 10540706 w 10693106"/>
              <a:gd name="connsiteY50-39032" fmla="*/ 2396422 h 5292022"/>
              <a:gd name="connsiteX51-39033" fmla="*/ 10498373 w 10693106"/>
              <a:gd name="connsiteY51-39034" fmla="*/ 2481089 h 5292022"/>
              <a:gd name="connsiteX52-39035" fmla="*/ 10439106 w 10693106"/>
              <a:gd name="connsiteY52-39036" fmla="*/ 2667356 h 5292022"/>
              <a:gd name="connsiteX53-39037" fmla="*/ 10430640 w 10693106"/>
              <a:gd name="connsiteY53-39038" fmla="*/ 2709689 h 5292022"/>
              <a:gd name="connsiteX54-39039" fmla="*/ 10405240 w 10693106"/>
              <a:gd name="connsiteY54-39040" fmla="*/ 2785889 h 5292022"/>
              <a:gd name="connsiteX55-39041" fmla="*/ 10396773 w 10693106"/>
              <a:gd name="connsiteY55-39042" fmla="*/ 2819756 h 5292022"/>
              <a:gd name="connsiteX56-39043" fmla="*/ 10362906 w 10693106"/>
              <a:gd name="connsiteY56-39044" fmla="*/ 2912889 h 5292022"/>
              <a:gd name="connsiteX57-39045" fmla="*/ 10329040 w 10693106"/>
              <a:gd name="connsiteY57-39046" fmla="*/ 2955222 h 5292022"/>
              <a:gd name="connsiteX58-39047" fmla="*/ 10227440 w 10693106"/>
              <a:gd name="connsiteY58-39048" fmla="*/ 3056822 h 5292022"/>
              <a:gd name="connsiteX59-39049" fmla="*/ 10168173 w 10693106"/>
              <a:gd name="connsiteY59-39050" fmla="*/ 3124556 h 5292022"/>
              <a:gd name="connsiteX60-39051" fmla="*/ 10117373 w 10693106"/>
              <a:gd name="connsiteY60-39052" fmla="*/ 3175356 h 5292022"/>
              <a:gd name="connsiteX61-39053" fmla="*/ 10032706 w 10693106"/>
              <a:gd name="connsiteY61-39054" fmla="*/ 3276956 h 5292022"/>
              <a:gd name="connsiteX62-39055" fmla="*/ 9948040 w 10693106"/>
              <a:gd name="connsiteY62-39056" fmla="*/ 3336222 h 5292022"/>
              <a:gd name="connsiteX63-39057" fmla="*/ 9905706 w 10693106"/>
              <a:gd name="connsiteY63-39058" fmla="*/ 3361622 h 5292022"/>
              <a:gd name="connsiteX64-39059" fmla="*/ 9829506 w 10693106"/>
              <a:gd name="connsiteY64-39060" fmla="*/ 3378556 h 5292022"/>
              <a:gd name="connsiteX65-39061" fmla="*/ 9727906 w 10693106"/>
              <a:gd name="connsiteY65-39062" fmla="*/ 3420889 h 5292022"/>
              <a:gd name="connsiteX66-39063" fmla="*/ 9634773 w 10693106"/>
              <a:gd name="connsiteY66-39064" fmla="*/ 3446289 h 5292022"/>
              <a:gd name="connsiteX67-39065" fmla="*/ 9456973 w 10693106"/>
              <a:gd name="connsiteY67-39066" fmla="*/ 3539422 h 5292022"/>
              <a:gd name="connsiteX68-39067" fmla="*/ 9313040 w 10693106"/>
              <a:gd name="connsiteY68-39068" fmla="*/ 3666422 h 5292022"/>
              <a:gd name="connsiteX69-39069" fmla="*/ 9279173 w 10693106"/>
              <a:gd name="connsiteY69-39070" fmla="*/ 3683356 h 5292022"/>
              <a:gd name="connsiteX70-39071" fmla="*/ 9067506 w 10693106"/>
              <a:gd name="connsiteY70-39072" fmla="*/ 3861156 h 5292022"/>
              <a:gd name="connsiteX71-39073" fmla="*/ 8999773 w 10693106"/>
              <a:gd name="connsiteY71-39074" fmla="*/ 3928889 h 5292022"/>
              <a:gd name="connsiteX72-39075" fmla="*/ 8813506 w 10693106"/>
              <a:gd name="connsiteY72-39076" fmla="*/ 4064356 h 5292022"/>
              <a:gd name="connsiteX73-39077" fmla="*/ 8728840 w 10693106"/>
              <a:gd name="connsiteY73-39078" fmla="*/ 4106689 h 5292022"/>
              <a:gd name="connsiteX74-39079" fmla="*/ 8373240 w 10693106"/>
              <a:gd name="connsiteY74-39080" fmla="*/ 4140556 h 5292022"/>
              <a:gd name="connsiteX75-39081" fmla="*/ 7966840 w 10693106"/>
              <a:gd name="connsiteY75-39082" fmla="*/ 4233689 h 5292022"/>
              <a:gd name="connsiteX76-39083" fmla="*/ 7687440 w 10693106"/>
              <a:gd name="connsiteY76-39084" fmla="*/ 4394556 h 5292022"/>
              <a:gd name="connsiteX77-39085" fmla="*/ 7374173 w 10693106"/>
              <a:gd name="connsiteY77-39086" fmla="*/ 4657022 h 5292022"/>
              <a:gd name="connsiteX78-39087" fmla="*/ 7374173 w 10693106"/>
              <a:gd name="connsiteY78-39088" fmla="*/ 4657022 h 5292022"/>
              <a:gd name="connsiteX79-39089" fmla="*/ 7221773 w 10693106"/>
              <a:gd name="connsiteY79-39090" fmla="*/ 4775556 h 5292022"/>
              <a:gd name="connsiteX80-39091" fmla="*/ 7027040 w 10693106"/>
              <a:gd name="connsiteY80-39092" fmla="*/ 4902556 h 5292022"/>
              <a:gd name="connsiteX81-39093" fmla="*/ 6883106 w 10693106"/>
              <a:gd name="connsiteY81-39094" fmla="*/ 4970289 h 5292022"/>
              <a:gd name="connsiteX82-39095" fmla="*/ 6815373 w 10693106"/>
              <a:gd name="connsiteY82-39096" fmla="*/ 5012622 h 5292022"/>
              <a:gd name="connsiteX83-39097" fmla="*/ 6646040 w 10693106"/>
              <a:gd name="connsiteY83-39098" fmla="*/ 5105756 h 5292022"/>
              <a:gd name="connsiteX84-39099" fmla="*/ 6527506 w 10693106"/>
              <a:gd name="connsiteY84-39100" fmla="*/ 5165022 h 5292022"/>
              <a:gd name="connsiteX85-39101" fmla="*/ 6298906 w 10693106"/>
              <a:gd name="connsiteY85-39102" fmla="*/ 5241222 h 5292022"/>
              <a:gd name="connsiteX86-39103" fmla="*/ 6197306 w 10693106"/>
              <a:gd name="connsiteY86-39104" fmla="*/ 5266622 h 5292022"/>
              <a:gd name="connsiteX87-39105" fmla="*/ 6061840 w 10693106"/>
              <a:gd name="connsiteY87-39106" fmla="*/ 5275089 h 5292022"/>
              <a:gd name="connsiteX88-39107" fmla="*/ 5917906 w 10693106"/>
              <a:gd name="connsiteY88-39108" fmla="*/ 5292022 h 5292022"/>
              <a:gd name="connsiteX89-39109" fmla="*/ 5748573 w 10693106"/>
              <a:gd name="connsiteY89-39110" fmla="*/ 5283556 h 5292022"/>
              <a:gd name="connsiteX90-39111" fmla="*/ 5282906 w 10693106"/>
              <a:gd name="connsiteY90-39112" fmla="*/ 5173489 h 5292022"/>
              <a:gd name="connsiteX91-39113" fmla="*/ 4959480 w 10693106"/>
              <a:gd name="connsiteY91-39114" fmla="*/ 4988069 h 5292022"/>
              <a:gd name="connsiteX92-39115" fmla="*/ 4686853 w 10693106"/>
              <a:gd name="connsiteY92-39116" fmla="*/ 4788256 h 5292022"/>
              <a:gd name="connsiteX93-39117" fmla="*/ 3977346 w 10693106"/>
              <a:gd name="connsiteY93-39118" fmla="*/ 4470544 h 5292022"/>
              <a:gd name="connsiteX94-39119" fmla="*/ 3741550 w 10693106"/>
              <a:gd name="connsiteY94-39120" fmla="*/ 4154102 h 5292022"/>
              <a:gd name="connsiteX95-39121" fmla="*/ 3562056 w 10693106"/>
              <a:gd name="connsiteY95-39122" fmla="*/ 3406919 h 5292022"/>
              <a:gd name="connsiteX96-39123" fmla="*/ 3242440 w 10693106"/>
              <a:gd name="connsiteY96-39124" fmla="*/ 3099156 h 5292022"/>
              <a:gd name="connsiteX97-39125" fmla="*/ 3123906 w 10693106"/>
              <a:gd name="connsiteY97-39126" fmla="*/ 2997556 h 5292022"/>
              <a:gd name="connsiteX98-39127" fmla="*/ 2988440 w 10693106"/>
              <a:gd name="connsiteY98-39128" fmla="*/ 2802822 h 5292022"/>
              <a:gd name="connsiteX99-39129" fmla="*/ 2971506 w 10693106"/>
              <a:gd name="connsiteY99-39130" fmla="*/ 2743556 h 5292022"/>
              <a:gd name="connsiteX100-39131" fmla="*/ 2996906 w 10693106"/>
              <a:gd name="connsiteY100-39132" fmla="*/ 2531889 h 5292022"/>
              <a:gd name="connsiteX101-39133" fmla="*/ 3013840 w 10693106"/>
              <a:gd name="connsiteY101-39134" fmla="*/ 2430289 h 5292022"/>
              <a:gd name="connsiteX102-39135" fmla="*/ 3005373 w 10693106"/>
              <a:gd name="connsiteY102-39136" fmla="*/ 2311756 h 5292022"/>
              <a:gd name="connsiteX103-39137" fmla="*/ 2988440 w 10693106"/>
              <a:gd name="connsiteY103-39138" fmla="*/ 2260956 h 5292022"/>
              <a:gd name="connsiteX104-39139" fmla="*/ 2802173 w 10693106"/>
              <a:gd name="connsiteY104-39140" fmla="*/ 2006956 h 5292022"/>
              <a:gd name="connsiteX105-39141" fmla="*/ 2641306 w 10693106"/>
              <a:gd name="connsiteY105-39142" fmla="*/ 1863022 h 5292022"/>
              <a:gd name="connsiteX106-39143" fmla="*/ 2590506 w 10693106"/>
              <a:gd name="connsiteY106-39144" fmla="*/ 1837622 h 5292022"/>
              <a:gd name="connsiteX107-39145" fmla="*/ 2531240 w 10693106"/>
              <a:gd name="connsiteY107-39146" fmla="*/ 1829156 h 5292022"/>
              <a:gd name="connsiteX108-39147" fmla="*/ 2446573 w 10693106"/>
              <a:gd name="connsiteY108-39148" fmla="*/ 1812222 h 5292022"/>
              <a:gd name="connsiteX109-39149" fmla="*/ 2251840 w 10693106"/>
              <a:gd name="connsiteY109-39150" fmla="*/ 1837622 h 5292022"/>
              <a:gd name="connsiteX110-39151" fmla="*/ 2167173 w 10693106"/>
              <a:gd name="connsiteY110-39152" fmla="*/ 1879956 h 5292022"/>
              <a:gd name="connsiteX111-39153" fmla="*/ 1980906 w 10693106"/>
              <a:gd name="connsiteY111-39154" fmla="*/ 1939222 h 5292022"/>
              <a:gd name="connsiteX112-39155" fmla="*/ 1904706 w 10693106"/>
              <a:gd name="connsiteY112-39156" fmla="*/ 1973089 h 5292022"/>
              <a:gd name="connsiteX113-39157" fmla="*/ 1828506 w 10693106"/>
              <a:gd name="connsiteY113-39158" fmla="*/ 1990022 h 5292022"/>
              <a:gd name="connsiteX114-39159" fmla="*/ 1726906 w 10693106"/>
              <a:gd name="connsiteY114-39160" fmla="*/ 2040822 h 5292022"/>
              <a:gd name="connsiteX115-39161" fmla="*/ 1659173 w 10693106"/>
              <a:gd name="connsiteY115-39162" fmla="*/ 2074689 h 5292022"/>
              <a:gd name="connsiteX116-39163" fmla="*/ 1498306 w 10693106"/>
              <a:gd name="connsiteY116-39164" fmla="*/ 2100089 h 5292022"/>
              <a:gd name="connsiteX117-39165" fmla="*/ 914106 w 10693106"/>
              <a:gd name="connsiteY117-39166" fmla="*/ 2032356 h 5292022"/>
              <a:gd name="connsiteX118-39167" fmla="*/ 617773 w 10693106"/>
              <a:gd name="connsiteY118-39168" fmla="*/ 1922289 h 5292022"/>
              <a:gd name="connsiteX119-39169" fmla="*/ 516173 w 10693106"/>
              <a:gd name="connsiteY119-39170" fmla="*/ 1837622 h 5292022"/>
              <a:gd name="connsiteX120-39171" fmla="*/ 355306 w 10693106"/>
              <a:gd name="connsiteY120-39172" fmla="*/ 1625956 h 5292022"/>
              <a:gd name="connsiteX121-39173" fmla="*/ 296040 w 10693106"/>
              <a:gd name="connsiteY121-39174" fmla="*/ 1524356 h 5292022"/>
              <a:gd name="connsiteX122-39175" fmla="*/ 253706 w 10693106"/>
              <a:gd name="connsiteY122-39176" fmla="*/ 1346556 h 5292022"/>
              <a:gd name="connsiteX123-39177" fmla="*/ 245240 w 10693106"/>
              <a:gd name="connsiteY123-39178" fmla="*/ 1219556 h 5292022"/>
              <a:gd name="connsiteX124-39179" fmla="*/ 236773 w 10693106"/>
              <a:gd name="connsiteY124-39180" fmla="*/ 1117956 h 5292022"/>
              <a:gd name="connsiteX125-39181" fmla="*/ 245240 w 10693106"/>
              <a:gd name="connsiteY125-39182" fmla="*/ 847022 h 5292022"/>
              <a:gd name="connsiteX126-39183" fmla="*/ 236773 w 10693106"/>
              <a:gd name="connsiteY126-39184" fmla="*/ 703089 h 5292022"/>
              <a:gd name="connsiteX127-39185" fmla="*/ 109773 w 10693106"/>
              <a:gd name="connsiteY127-39186" fmla="*/ 559156 h 5292022"/>
              <a:gd name="connsiteX128-39187" fmla="*/ 58973 w 10693106"/>
              <a:gd name="connsiteY128-39188" fmla="*/ 482956 h 5292022"/>
              <a:gd name="connsiteX129-39189" fmla="*/ 16640 w 10693106"/>
              <a:gd name="connsiteY129-39190" fmla="*/ 432156 h 5292022"/>
              <a:gd name="connsiteX130-39191" fmla="*/ 8173 w 10693106"/>
              <a:gd name="connsiteY130-39192" fmla="*/ 389822 h 5292022"/>
              <a:gd name="connsiteX131-39193" fmla="*/ 16640 w 10693106"/>
              <a:gd name="connsiteY131-39194" fmla="*/ 339022 h 5292022"/>
              <a:gd name="connsiteX0-39195" fmla="*/ 16640 w 10693106"/>
              <a:gd name="connsiteY0-39196" fmla="*/ 339022 h 5292022"/>
              <a:gd name="connsiteX1-39197" fmla="*/ 58973 w 10693106"/>
              <a:gd name="connsiteY1-39198" fmla="*/ 245889 h 5292022"/>
              <a:gd name="connsiteX2-39199" fmla="*/ 109773 w 10693106"/>
              <a:gd name="connsiteY2-39200" fmla="*/ 178156 h 5292022"/>
              <a:gd name="connsiteX3-39201" fmla="*/ 202906 w 10693106"/>
              <a:gd name="connsiteY3-39202" fmla="*/ 93489 h 5292022"/>
              <a:gd name="connsiteX4-39203" fmla="*/ 236773 w 10693106"/>
              <a:gd name="connsiteY4-39204" fmla="*/ 68089 h 5292022"/>
              <a:gd name="connsiteX5-39205" fmla="*/ 335410 w 10693106"/>
              <a:gd name="connsiteY5-39206" fmla="*/ 58352 h 5292022"/>
              <a:gd name="connsiteX6-39207" fmla="*/ 382400 w 10693106"/>
              <a:gd name="connsiteY6-39208" fmla="*/ 51156 h 5292022"/>
              <a:gd name="connsiteX7-39209" fmla="*/ 434912 w 10693106"/>
              <a:gd name="connsiteY7-39210" fmla="*/ 70071 h 5292022"/>
              <a:gd name="connsiteX8-39211" fmla="*/ 492697 w 10693106"/>
              <a:gd name="connsiteY8-39212" fmla="*/ 74247 h 5292022"/>
              <a:gd name="connsiteX9-39213" fmla="*/ 822897 w 10693106"/>
              <a:gd name="connsiteY9-39214" fmla="*/ 82713 h 5292022"/>
              <a:gd name="connsiteX10-39215" fmla="*/ 1091906 w 10693106"/>
              <a:gd name="connsiteY10-39216" fmla="*/ 356 h 5292022"/>
              <a:gd name="connsiteX11-39217" fmla="*/ 1235840 w 10693106"/>
              <a:gd name="connsiteY11-39218" fmla="*/ 59622 h 5292022"/>
              <a:gd name="connsiteX12-39219" fmla="*/ 1337440 w 10693106"/>
              <a:gd name="connsiteY12-39220" fmla="*/ 135822 h 5292022"/>
              <a:gd name="connsiteX13-39221" fmla="*/ 1422106 w 10693106"/>
              <a:gd name="connsiteY13-39222" fmla="*/ 245889 h 5292022"/>
              <a:gd name="connsiteX14-39223" fmla="*/ 1481373 w 10693106"/>
              <a:gd name="connsiteY14-39224" fmla="*/ 313622 h 5292022"/>
              <a:gd name="connsiteX15-39225" fmla="*/ 1532173 w 10693106"/>
              <a:gd name="connsiteY15-39226" fmla="*/ 347489 h 5292022"/>
              <a:gd name="connsiteX16-39227" fmla="*/ 1684573 w 10693106"/>
              <a:gd name="connsiteY16-39228" fmla="*/ 406756 h 5292022"/>
              <a:gd name="connsiteX17-39229" fmla="*/ 1760773 w 10693106"/>
              <a:gd name="connsiteY17-39230" fmla="*/ 423689 h 5292022"/>
              <a:gd name="connsiteX18-39231" fmla="*/ 1997840 w 10693106"/>
              <a:gd name="connsiteY18-39232" fmla="*/ 415222 h 5292022"/>
              <a:gd name="connsiteX19-39233" fmla="*/ 2116373 w 10693106"/>
              <a:gd name="connsiteY19-39234" fmla="*/ 398289 h 5292022"/>
              <a:gd name="connsiteX20-39235" fmla="*/ 2260306 w 10693106"/>
              <a:gd name="connsiteY20-39236" fmla="*/ 381356 h 5292022"/>
              <a:gd name="connsiteX21-39237" fmla="*/ 2404240 w 10693106"/>
              <a:gd name="connsiteY21-39238" fmla="*/ 355956 h 5292022"/>
              <a:gd name="connsiteX22-39239" fmla="*/ 2455040 w 10693106"/>
              <a:gd name="connsiteY22-39240" fmla="*/ 330556 h 5292022"/>
              <a:gd name="connsiteX23-39241" fmla="*/ 3002294 w 10693106"/>
              <a:gd name="connsiteY23-39242" fmla="*/ 154680 h 5292022"/>
              <a:gd name="connsiteX24-39243" fmla="*/ 3142763 w 10693106"/>
              <a:gd name="connsiteY24-39244" fmla="*/ 110421 h 5292022"/>
              <a:gd name="connsiteX25-39245" fmla="*/ 3398918 w 10693106"/>
              <a:gd name="connsiteY25-39246" fmla="*/ 72322 h 5292022"/>
              <a:gd name="connsiteX26-39247" fmla="*/ 4529373 w 10693106"/>
              <a:gd name="connsiteY26-39248" fmla="*/ 271289 h 5292022"/>
              <a:gd name="connsiteX27-39249" fmla="*/ 5630810 w 10693106"/>
              <a:gd name="connsiteY27-39250" fmla="*/ 1149898 h 5292022"/>
              <a:gd name="connsiteX28-39251" fmla="*/ 6881490 w 10693106"/>
              <a:gd name="connsiteY28-39252" fmla="*/ 1366452 h 5292022"/>
              <a:gd name="connsiteX29-39253" fmla="*/ 7839032 w 10693106"/>
              <a:gd name="connsiteY29-39254" fmla="*/ 1183996 h 5292022"/>
              <a:gd name="connsiteX30-39255" fmla="*/ 8652640 w 10693106"/>
              <a:gd name="connsiteY30-39256" fmla="*/ 677689 h 5292022"/>
              <a:gd name="connsiteX31-39257" fmla="*/ 8982840 w 10693106"/>
              <a:gd name="connsiteY31-39258" fmla="*/ 398289 h 5292022"/>
              <a:gd name="connsiteX32-39259" fmla="*/ 9380773 w 10693106"/>
              <a:gd name="connsiteY32-39260" fmla="*/ 355956 h 5292022"/>
              <a:gd name="connsiteX33-39261" fmla="*/ 9744840 w 10693106"/>
              <a:gd name="connsiteY33-39262" fmla="*/ 466022 h 5292022"/>
              <a:gd name="connsiteX34-39263" fmla="*/ 9888773 w 10693106"/>
              <a:gd name="connsiteY34-39264" fmla="*/ 508356 h 5292022"/>
              <a:gd name="connsiteX35-39265" fmla="*/ 9998840 w 10693106"/>
              <a:gd name="connsiteY35-39266" fmla="*/ 559156 h 5292022"/>
              <a:gd name="connsiteX36-39267" fmla="*/ 10083506 w 10693106"/>
              <a:gd name="connsiteY36-39268" fmla="*/ 618422 h 5292022"/>
              <a:gd name="connsiteX37-39269" fmla="*/ 10286706 w 10693106"/>
              <a:gd name="connsiteY37-39270" fmla="*/ 686156 h 5292022"/>
              <a:gd name="connsiteX38-39271" fmla="*/ 10388306 w 10693106"/>
              <a:gd name="connsiteY38-39272" fmla="*/ 889356 h 5292022"/>
              <a:gd name="connsiteX39-39273" fmla="*/ 10540706 w 10693106"/>
              <a:gd name="connsiteY39-39274" fmla="*/ 1261889 h 5292022"/>
              <a:gd name="connsiteX40-39275" fmla="*/ 10557640 w 10693106"/>
              <a:gd name="connsiteY40-39276" fmla="*/ 1346556 h 5292022"/>
              <a:gd name="connsiteX41-39277" fmla="*/ 10583040 w 10693106"/>
              <a:gd name="connsiteY41-39278" fmla="*/ 1448156 h 5292022"/>
              <a:gd name="connsiteX42-39279" fmla="*/ 10616906 w 10693106"/>
              <a:gd name="connsiteY42-39280" fmla="*/ 1651356 h 5292022"/>
              <a:gd name="connsiteX43-39281" fmla="*/ 10633840 w 10693106"/>
              <a:gd name="connsiteY43-39282" fmla="*/ 1736022 h 5292022"/>
              <a:gd name="connsiteX44-39283" fmla="*/ 10650773 w 10693106"/>
              <a:gd name="connsiteY44-39284" fmla="*/ 1769889 h 5292022"/>
              <a:gd name="connsiteX45-39285" fmla="*/ 10676173 w 10693106"/>
              <a:gd name="connsiteY45-39286" fmla="*/ 1854556 h 5292022"/>
              <a:gd name="connsiteX46-39287" fmla="*/ 10693106 w 10693106"/>
              <a:gd name="connsiteY46-39288" fmla="*/ 2006956 h 5292022"/>
              <a:gd name="connsiteX47-39289" fmla="*/ 10625373 w 10693106"/>
              <a:gd name="connsiteY47-39290" fmla="*/ 2227089 h 5292022"/>
              <a:gd name="connsiteX48-39291" fmla="*/ 10608440 w 10693106"/>
              <a:gd name="connsiteY48-39292" fmla="*/ 2252489 h 5292022"/>
              <a:gd name="connsiteX49-39293" fmla="*/ 10540706 w 10693106"/>
              <a:gd name="connsiteY49-39294" fmla="*/ 2396422 h 5292022"/>
              <a:gd name="connsiteX50-39295" fmla="*/ 10498373 w 10693106"/>
              <a:gd name="connsiteY50-39296" fmla="*/ 2481089 h 5292022"/>
              <a:gd name="connsiteX51-39297" fmla="*/ 10439106 w 10693106"/>
              <a:gd name="connsiteY51-39298" fmla="*/ 2667356 h 5292022"/>
              <a:gd name="connsiteX52-39299" fmla="*/ 10430640 w 10693106"/>
              <a:gd name="connsiteY52-39300" fmla="*/ 2709689 h 5292022"/>
              <a:gd name="connsiteX53-39301" fmla="*/ 10405240 w 10693106"/>
              <a:gd name="connsiteY53-39302" fmla="*/ 2785889 h 5292022"/>
              <a:gd name="connsiteX54-39303" fmla="*/ 10396773 w 10693106"/>
              <a:gd name="connsiteY54-39304" fmla="*/ 2819756 h 5292022"/>
              <a:gd name="connsiteX55-39305" fmla="*/ 10362906 w 10693106"/>
              <a:gd name="connsiteY55-39306" fmla="*/ 2912889 h 5292022"/>
              <a:gd name="connsiteX56-39307" fmla="*/ 10329040 w 10693106"/>
              <a:gd name="connsiteY56-39308" fmla="*/ 2955222 h 5292022"/>
              <a:gd name="connsiteX57-39309" fmla="*/ 10227440 w 10693106"/>
              <a:gd name="connsiteY57-39310" fmla="*/ 3056822 h 5292022"/>
              <a:gd name="connsiteX58-39311" fmla="*/ 10168173 w 10693106"/>
              <a:gd name="connsiteY58-39312" fmla="*/ 3124556 h 5292022"/>
              <a:gd name="connsiteX59-39313" fmla="*/ 10117373 w 10693106"/>
              <a:gd name="connsiteY59-39314" fmla="*/ 3175356 h 5292022"/>
              <a:gd name="connsiteX60-39315" fmla="*/ 10032706 w 10693106"/>
              <a:gd name="connsiteY60-39316" fmla="*/ 3276956 h 5292022"/>
              <a:gd name="connsiteX61-39317" fmla="*/ 9948040 w 10693106"/>
              <a:gd name="connsiteY61-39318" fmla="*/ 3336222 h 5292022"/>
              <a:gd name="connsiteX62-39319" fmla="*/ 9905706 w 10693106"/>
              <a:gd name="connsiteY62-39320" fmla="*/ 3361622 h 5292022"/>
              <a:gd name="connsiteX63-39321" fmla="*/ 9829506 w 10693106"/>
              <a:gd name="connsiteY63-39322" fmla="*/ 3378556 h 5292022"/>
              <a:gd name="connsiteX64-39323" fmla="*/ 9727906 w 10693106"/>
              <a:gd name="connsiteY64-39324" fmla="*/ 3420889 h 5292022"/>
              <a:gd name="connsiteX65-39325" fmla="*/ 9634773 w 10693106"/>
              <a:gd name="connsiteY65-39326" fmla="*/ 3446289 h 5292022"/>
              <a:gd name="connsiteX66-39327" fmla="*/ 9456973 w 10693106"/>
              <a:gd name="connsiteY66-39328" fmla="*/ 3539422 h 5292022"/>
              <a:gd name="connsiteX67-39329" fmla="*/ 9313040 w 10693106"/>
              <a:gd name="connsiteY67-39330" fmla="*/ 3666422 h 5292022"/>
              <a:gd name="connsiteX68-39331" fmla="*/ 9279173 w 10693106"/>
              <a:gd name="connsiteY68-39332" fmla="*/ 3683356 h 5292022"/>
              <a:gd name="connsiteX69-39333" fmla="*/ 9067506 w 10693106"/>
              <a:gd name="connsiteY69-39334" fmla="*/ 3861156 h 5292022"/>
              <a:gd name="connsiteX70-39335" fmla="*/ 8999773 w 10693106"/>
              <a:gd name="connsiteY70-39336" fmla="*/ 3928889 h 5292022"/>
              <a:gd name="connsiteX71-39337" fmla="*/ 8813506 w 10693106"/>
              <a:gd name="connsiteY71-39338" fmla="*/ 4064356 h 5292022"/>
              <a:gd name="connsiteX72-39339" fmla="*/ 8728840 w 10693106"/>
              <a:gd name="connsiteY72-39340" fmla="*/ 4106689 h 5292022"/>
              <a:gd name="connsiteX73-39341" fmla="*/ 8373240 w 10693106"/>
              <a:gd name="connsiteY73-39342" fmla="*/ 4140556 h 5292022"/>
              <a:gd name="connsiteX74-39343" fmla="*/ 7966840 w 10693106"/>
              <a:gd name="connsiteY74-39344" fmla="*/ 4233689 h 5292022"/>
              <a:gd name="connsiteX75-39345" fmla="*/ 7687440 w 10693106"/>
              <a:gd name="connsiteY75-39346" fmla="*/ 4394556 h 5292022"/>
              <a:gd name="connsiteX76-39347" fmla="*/ 7374173 w 10693106"/>
              <a:gd name="connsiteY76-39348" fmla="*/ 4657022 h 5292022"/>
              <a:gd name="connsiteX77-39349" fmla="*/ 7374173 w 10693106"/>
              <a:gd name="connsiteY77-39350" fmla="*/ 4657022 h 5292022"/>
              <a:gd name="connsiteX78-39351" fmla="*/ 7221773 w 10693106"/>
              <a:gd name="connsiteY78-39352" fmla="*/ 4775556 h 5292022"/>
              <a:gd name="connsiteX79-39353" fmla="*/ 7027040 w 10693106"/>
              <a:gd name="connsiteY79-39354" fmla="*/ 4902556 h 5292022"/>
              <a:gd name="connsiteX80-39355" fmla="*/ 6883106 w 10693106"/>
              <a:gd name="connsiteY80-39356" fmla="*/ 4970289 h 5292022"/>
              <a:gd name="connsiteX81-39357" fmla="*/ 6815373 w 10693106"/>
              <a:gd name="connsiteY81-39358" fmla="*/ 5012622 h 5292022"/>
              <a:gd name="connsiteX82-39359" fmla="*/ 6646040 w 10693106"/>
              <a:gd name="connsiteY82-39360" fmla="*/ 5105756 h 5292022"/>
              <a:gd name="connsiteX83-39361" fmla="*/ 6527506 w 10693106"/>
              <a:gd name="connsiteY83-39362" fmla="*/ 5165022 h 5292022"/>
              <a:gd name="connsiteX84-39363" fmla="*/ 6298906 w 10693106"/>
              <a:gd name="connsiteY84-39364" fmla="*/ 5241222 h 5292022"/>
              <a:gd name="connsiteX85-39365" fmla="*/ 6197306 w 10693106"/>
              <a:gd name="connsiteY85-39366" fmla="*/ 5266622 h 5292022"/>
              <a:gd name="connsiteX86-39367" fmla="*/ 6061840 w 10693106"/>
              <a:gd name="connsiteY86-39368" fmla="*/ 5275089 h 5292022"/>
              <a:gd name="connsiteX87-39369" fmla="*/ 5917906 w 10693106"/>
              <a:gd name="connsiteY87-39370" fmla="*/ 5292022 h 5292022"/>
              <a:gd name="connsiteX88-39371" fmla="*/ 5748573 w 10693106"/>
              <a:gd name="connsiteY88-39372" fmla="*/ 5283556 h 5292022"/>
              <a:gd name="connsiteX89-39373" fmla="*/ 5282906 w 10693106"/>
              <a:gd name="connsiteY89-39374" fmla="*/ 5173489 h 5292022"/>
              <a:gd name="connsiteX90-39375" fmla="*/ 4959480 w 10693106"/>
              <a:gd name="connsiteY90-39376" fmla="*/ 4988069 h 5292022"/>
              <a:gd name="connsiteX91-39377" fmla="*/ 4686853 w 10693106"/>
              <a:gd name="connsiteY91-39378" fmla="*/ 4788256 h 5292022"/>
              <a:gd name="connsiteX92-39379" fmla="*/ 3977346 w 10693106"/>
              <a:gd name="connsiteY92-39380" fmla="*/ 4470544 h 5292022"/>
              <a:gd name="connsiteX93-39381" fmla="*/ 3741550 w 10693106"/>
              <a:gd name="connsiteY93-39382" fmla="*/ 4154102 h 5292022"/>
              <a:gd name="connsiteX94-39383" fmla="*/ 3562056 w 10693106"/>
              <a:gd name="connsiteY94-39384" fmla="*/ 3406919 h 5292022"/>
              <a:gd name="connsiteX95-39385" fmla="*/ 3242440 w 10693106"/>
              <a:gd name="connsiteY95-39386" fmla="*/ 3099156 h 5292022"/>
              <a:gd name="connsiteX96-39387" fmla="*/ 3123906 w 10693106"/>
              <a:gd name="connsiteY96-39388" fmla="*/ 2997556 h 5292022"/>
              <a:gd name="connsiteX97-39389" fmla="*/ 2988440 w 10693106"/>
              <a:gd name="connsiteY97-39390" fmla="*/ 2802822 h 5292022"/>
              <a:gd name="connsiteX98-39391" fmla="*/ 2971506 w 10693106"/>
              <a:gd name="connsiteY98-39392" fmla="*/ 2743556 h 5292022"/>
              <a:gd name="connsiteX99-39393" fmla="*/ 2996906 w 10693106"/>
              <a:gd name="connsiteY99-39394" fmla="*/ 2531889 h 5292022"/>
              <a:gd name="connsiteX100-39395" fmla="*/ 3013840 w 10693106"/>
              <a:gd name="connsiteY100-39396" fmla="*/ 2430289 h 5292022"/>
              <a:gd name="connsiteX101-39397" fmla="*/ 3005373 w 10693106"/>
              <a:gd name="connsiteY101-39398" fmla="*/ 2311756 h 5292022"/>
              <a:gd name="connsiteX102-39399" fmla="*/ 2988440 w 10693106"/>
              <a:gd name="connsiteY102-39400" fmla="*/ 2260956 h 5292022"/>
              <a:gd name="connsiteX103-39401" fmla="*/ 2802173 w 10693106"/>
              <a:gd name="connsiteY103-39402" fmla="*/ 2006956 h 5292022"/>
              <a:gd name="connsiteX104-39403" fmla="*/ 2641306 w 10693106"/>
              <a:gd name="connsiteY104-39404" fmla="*/ 1863022 h 5292022"/>
              <a:gd name="connsiteX105-39405" fmla="*/ 2590506 w 10693106"/>
              <a:gd name="connsiteY105-39406" fmla="*/ 1837622 h 5292022"/>
              <a:gd name="connsiteX106-39407" fmla="*/ 2531240 w 10693106"/>
              <a:gd name="connsiteY106-39408" fmla="*/ 1829156 h 5292022"/>
              <a:gd name="connsiteX107-39409" fmla="*/ 2446573 w 10693106"/>
              <a:gd name="connsiteY107-39410" fmla="*/ 1812222 h 5292022"/>
              <a:gd name="connsiteX108-39411" fmla="*/ 2251840 w 10693106"/>
              <a:gd name="connsiteY108-39412" fmla="*/ 1837622 h 5292022"/>
              <a:gd name="connsiteX109-39413" fmla="*/ 2167173 w 10693106"/>
              <a:gd name="connsiteY109-39414" fmla="*/ 1879956 h 5292022"/>
              <a:gd name="connsiteX110-39415" fmla="*/ 1980906 w 10693106"/>
              <a:gd name="connsiteY110-39416" fmla="*/ 1939222 h 5292022"/>
              <a:gd name="connsiteX111-39417" fmla="*/ 1904706 w 10693106"/>
              <a:gd name="connsiteY111-39418" fmla="*/ 1973089 h 5292022"/>
              <a:gd name="connsiteX112-39419" fmla="*/ 1828506 w 10693106"/>
              <a:gd name="connsiteY112-39420" fmla="*/ 1990022 h 5292022"/>
              <a:gd name="connsiteX113-39421" fmla="*/ 1726906 w 10693106"/>
              <a:gd name="connsiteY113-39422" fmla="*/ 2040822 h 5292022"/>
              <a:gd name="connsiteX114-39423" fmla="*/ 1659173 w 10693106"/>
              <a:gd name="connsiteY114-39424" fmla="*/ 2074689 h 5292022"/>
              <a:gd name="connsiteX115-39425" fmla="*/ 1498306 w 10693106"/>
              <a:gd name="connsiteY115-39426" fmla="*/ 2100089 h 5292022"/>
              <a:gd name="connsiteX116-39427" fmla="*/ 914106 w 10693106"/>
              <a:gd name="connsiteY116-39428" fmla="*/ 2032356 h 5292022"/>
              <a:gd name="connsiteX117-39429" fmla="*/ 617773 w 10693106"/>
              <a:gd name="connsiteY117-39430" fmla="*/ 1922289 h 5292022"/>
              <a:gd name="connsiteX118-39431" fmla="*/ 516173 w 10693106"/>
              <a:gd name="connsiteY118-39432" fmla="*/ 1837622 h 5292022"/>
              <a:gd name="connsiteX119-39433" fmla="*/ 355306 w 10693106"/>
              <a:gd name="connsiteY119-39434" fmla="*/ 1625956 h 5292022"/>
              <a:gd name="connsiteX120-39435" fmla="*/ 296040 w 10693106"/>
              <a:gd name="connsiteY120-39436" fmla="*/ 1524356 h 5292022"/>
              <a:gd name="connsiteX121-39437" fmla="*/ 253706 w 10693106"/>
              <a:gd name="connsiteY121-39438" fmla="*/ 1346556 h 5292022"/>
              <a:gd name="connsiteX122-39439" fmla="*/ 245240 w 10693106"/>
              <a:gd name="connsiteY122-39440" fmla="*/ 1219556 h 5292022"/>
              <a:gd name="connsiteX123-39441" fmla="*/ 236773 w 10693106"/>
              <a:gd name="connsiteY123-39442" fmla="*/ 1117956 h 5292022"/>
              <a:gd name="connsiteX124-39443" fmla="*/ 245240 w 10693106"/>
              <a:gd name="connsiteY124-39444" fmla="*/ 847022 h 5292022"/>
              <a:gd name="connsiteX125-39445" fmla="*/ 236773 w 10693106"/>
              <a:gd name="connsiteY125-39446" fmla="*/ 703089 h 5292022"/>
              <a:gd name="connsiteX126-39447" fmla="*/ 109773 w 10693106"/>
              <a:gd name="connsiteY126-39448" fmla="*/ 559156 h 5292022"/>
              <a:gd name="connsiteX127-39449" fmla="*/ 58973 w 10693106"/>
              <a:gd name="connsiteY127-39450" fmla="*/ 482956 h 5292022"/>
              <a:gd name="connsiteX128-39451" fmla="*/ 16640 w 10693106"/>
              <a:gd name="connsiteY128-39452" fmla="*/ 432156 h 5292022"/>
              <a:gd name="connsiteX129-39453" fmla="*/ 8173 w 10693106"/>
              <a:gd name="connsiteY129-39454" fmla="*/ 389822 h 5292022"/>
              <a:gd name="connsiteX130-39455" fmla="*/ 16640 w 10693106"/>
              <a:gd name="connsiteY130-39456" fmla="*/ 339022 h 5292022"/>
              <a:gd name="connsiteX0-39457" fmla="*/ 16640 w 10693106"/>
              <a:gd name="connsiteY0-39458" fmla="*/ 339022 h 5292022"/>
              <a:gd name="connsiteX1-39459" fmla="*/ 58973 w 10693106"/>
              <a:gd name="connsiteY1-39460" fmla="*/ 245889 h 5292022"/>
              <a:gd name="connsiteX2-39461" fmla="*/ 109773 w 10693106"/>
              <a:gd name="connsiteY2-39462" fmla="*/ 178156 h 5292022"/>
              <a:gd name="connsiteX3-39463" fmla="*/ 202906 w 10693106"/>
              <a:gd name="connsiteY3-39464" fmla="*/ 93489 h 5292022"/>
              <a:gd name="connsiteX4-39465" fmla="*/ 236773 w 10693106"/>
              <a:gd name="connsiteY4-39466" fmla="*/ 68089 h 5292022"/>
              <a:gd name="connsiteX5-39467" fmla="*/ 335410 w 10693106"/>
              <a:gd name="connsiteY5-39468" fmla="*/ 58352 h 5292022"/>
              <a:gd name="connsiteX6-39469" fmla="*/ 382400 w 10693106"/>
              <a:gd name="connsiteY6-39470" fmla="*/ 51156 h 5292022"/>
              <a:gd name="connsiteX7-39471" fmla="*/ 434912 w 10693106"/>
              <a:gd name="connsiteY7-39472" fmla="*/ 70071 h 5292022"/>
              <a:gd name="connsiteX8-39473" fmla="*/ 492697 w 10693106"/>
              <a:gd name="connsiteY8-39474" fmla="*/ 74247 h 5292022"/>
              <a:gd name="connsiteX9-39475" fmla="*/ 822897 w 10693106"/>
              <a:gd name="connsiteY9-39476" fmla="*/ 82713 h 5292022"/>
              <a:gd name="connsiteX10-39477" fmla="*/ 1091906 w 10693106"/>
              <a:gd name="connsiteY10-39478" fmla="*/ 356 h 5292022"/>
              <a:gd name="connsiteX11-39479" fmla="*/ 1235840 w 10693106"/>
              <a:gd name="connsiteY11-39480" fmla="*/ 59622 h 5292022"/>
              <a:gd name="connsiteX12-39481" fmla="*/ 1337440 w 10693106"/>
              <a:gd name="connsiteY12-39482" fmla="*/ 135822 h 5292022"/>
              <a:gd name="connsiteX13-39483" fmla="*/ 1422106 w 10693106"/>
              <a:gd name="connsiteY13-39484" fmla="*/ 245889 h 5292022"/>
              <a:gd name="connsiteX14-39485" fmla="*/ 1481373 w 10693106"/>
              <a:gd name="connsiteY14-39486" fmla="*/ 313622 h 5292022"/>
              <a:gd name="connsiteX15-39487" fmla="*/ 1532173 w 10693106"/>
              <a:gd name="connsiteY15-39488" fmla="*/ 347489 h 5292022"/>
              <a:gd name="connsiteX16-39489" fmla="*/ 1684573 w 10693106"/>
              <a:gd name="connsiteY16-39490" fmla="*/ 406756 h 5292022"/>
              <a:gd name="connsiteX17-39491" fmla="*/ 1760773 w 10693106"/>
              <a:gd name="connsiteY17-39492" fmla="*/ 423689 h 5292022"/>
              <a:gd name="connsiteX18-39493" fmla="*/ 1997840 w 10693106"/>
              <a:gd name="connsiteY18-39494" fmla="*/ 415222 h 5292022"/>
              <a:gd name="connsiteX19-39495" fmla="*/ 2116373 w 10693106"/>
              <a:gd name="connsiteY19-39496" fmla="*/ 398289 h 5292022"/>
              <a:gd name="connsiteX20-39497" fmla="*/ 2260306 w 10693106"/>
              <a:gd name="connsiteY20-39498" fmla="*/ 381356 h 5292022"/>
              <a:gd name="connsiteX21-39499" fmla="*/ 2404240 w 10693106"/>
              <a:gd name="connsiteY21-39500" fmla="*/ 355956 h 5292022"/>
              <a:gd name="connsiteX22-39501" fmla="*/ 3002294 w 10693106"/>
              <a:gd name="connsiteY22-39502" fmla="*/ 154680 h 5292022"/>
              <a:gd name="connsiteX23-39503" fmla="*/ 3142763 w 10693106"/>
              <a:gd name="connsiteY23-39504" fmla="*/ 110421 h 5292022"/>
              <a:gd name="connsiteX24-39505" fmla="*/ 3398918 w 10693106"/>
              <a:gd name="connsiteY24-39506" fmla="*/ 72322 h 5292022"/>
              <a:gd name="connsiteX25-39507" fmla="*/ 4529373 w 10693106"/>
              <a:gd name="connsiteY25-39508" fmla="*/ 271289 h 5292022"/>
              <a:gd name="connsiteX26-39509" fmla="*/ 5630810 w 10693106"/>
              <a:gd name="connsiteY26-39510" fmla="*/ 1149898 h 5292022"/>
              <a:gd name="connsiteX27-39511" fmla="*/ 6881490 w 10693106"/>
              <a:gd name="connsiteY27-39512" fmla="*/ 1366452 h 5292022"/>
              <a:gd name="connsiteX28-39513" fmla="*/ 7839032 w 10693106"/>
              <a:gd name="connsiteY28-39514" fmla="*/ 1183996 h 5292022"/>
              <a:gd name="connsiteX29-39515" fmla="*/ 8652640 w 10693106"/>
              <a:gd name="connsiteY29-39516" fmla="*/ 677689 h 5292022"/>
              <a:gd name="connsiteX30-39517" fmla="*/ 8982840 w 10693106"/>
              <a:gd name="connsiteY30-39518" fmla="*/ 398289 h 5292022"/>
              <a:gd name="connsiteX31-39519" fmla="*/ 9380773 w 10693106"/>
              <a:gd name="connsiteY31-39520" fmla="*/ 355956 h 5292022"/>
              <a:gd name="connsiteX32-39521" fmla="*/ 9744840 w 10693106"/>
              <a:gd name="connsiteY32-39522" fmla="*/ 466022 h 5292022"/>
              <a:gd name="connsiteX33-39523" fmla="*/ 9888773 w 10693106"/>
              <a:gd name="connsiteY33-39524" fmla="*/ 508356 h 5292022"/>
              <a:gd name="connsiteX34-39525" fmla="*/ 9998840 w 10693106"/>
              <a:gd name="connsiteY34-39526" fmla="*/ 559156 h 5292022"/>
              <a:gd name="connsiteX35-39527" fmla="*/ 10083506 w 10693106"/>
              <a:gd name="connsiteY35-39528" fmla="*/ 618422 h 5292022"/>
              <a:gd name="connsiteX36-39529" fmla="*/ 10286706 w 10693106"/>
              <a:gd name="connsiteY36-39530" fmla="*/ 686156 h 5292022"/>
              <a:gd name="connsiteX37-39531" fmla="*/ 10388306 w 10693106"/>
              <a:gd name="connsiteY37-39532" fmla="*/ 889356 h 5292022"/>
              <a:gd name="connsiteX38-39533" fmla="*/ 10540706 w 10693106"/>
              <a:gd name="connsiteY38-39534" fmla="*/ 1261889 h 5292022"/>
              <a:gd name="connsiteX39-39535" fmla="*/ 10557640 w 10693106"/>
              <a:gd name="connsiteY39-39536" fmla="*/ 1346556 h 5292022"/>
              <a:gd name="connsiteX40-39537" fmla="*/ 10583040 w 10693106"/>
              <a:gd name="connsiteY40-39538" fmla="*/ 1448156 h 5292022"/>
              <a:gd name="connsiteX41-39539" fmla="*/ 10616906 w 10693106"/>
              <a:gd name="connsiteY41-39540" fmla="*/ 1651356 h 5292022"/>
              <a:gd name="connsiteX42-39541" fmla="*/ 10633840 w 10693106"/>
              <a:gd name="connsiteY42-39542" fmla="*/ 1736022 h 5292022"/>
              <a:gd name="connsiteX43-39543" fmla="*/ 10650773 w 10693106"/>
              <a:gd name="connsiteY43-39544" fmla="*/ 1769889 h 5292022"/>
              <a:gd name="connsiteX44-39545" fmla="*/ 10676173 w 10693106"/>
              <a:gd name="connsiteY44-39546" fmla="*/ 1854556 h 5292022"/>
              <a:gd name="connsiteX45-39547" fmla="*/ 10693106 w 10693106"/>
              <a:gd name="connsiteY45-39548" fmla="*/ 2006956 h 5292022"/>
              <a:gd name="connsiteX46-39549" fmla="*/ 10625373 w 10693106"/>
              <a:gd name="connsiteY46-39550" fmla="*/ 2227089 h 5292022"/>
              <a:gd name="connsiteX47-39551" fmla="*/ 10608440 w 10693106"/>
              <a:gd name="connsiteY47-39552" fmla="*/ 2252489 h 5292022"/>
              <a:gd name="connsiteX48-39553" fmla="*/ 10540706 w 10693106"/>
              <a:gd name="connsiteY48-39554" fmla="*/ 2396422 h 5292022"/>
              <a:gd name="connsiteX49-39555" fmla="*/ 10498373 w 10693106"/>
              <a:gd name="connsiteY49-39556" fmla="*/ 2481089 h 5292022"/>
              <a:gd name="connsiteX50-39557" fmla="*/ 10439106 w 10693106"/>
              <a:gd name="connsiteY50-39558" fmla="*/ 2667356 h 5292022"/>
              <a:gd name="connsiteX51-39559" fmla="*/ 10430640 w 10693106"/>
              <a:gd name="connsiteY51-39560" fmla="*/ 2709689 h 5292022"/>
              <a:gd name="connsiteX52-39561" fmla="*/ 10405240 w 10693106"/>
              <a:gd name="connsiteY52-39562" fmla="*/ 2785889 h 5292022"/>
              <a:gd name="connsiteX53-39563" fmla="*/ 10396773 w 10693106"/>
              <a:gd name="connsiteY53-39564" fmla="*/ 2819756 h 5292022"/>
              <a:gd name="connsiteX54-39565" fmla="*/ 10362906 w 10693106"/>
              <a:gd name="connsiteY54-39566" fmla="*/ 2912889 h 5292022"/>
              <a:gd name="connsiteX55-39567" fmla="*/ 10329040 w 10693106"/>
              <a:gd name="connsiteY55-39568" fmla="*/ 2955222 h 5292022"/>
              <a:gd name="connsiteX56-39569" fmla="*/ 10227440 w 10693106"/>
              <a:gd name="connsiteY56-39570" fmla="*/ 3056822 h 5292022"/>
              <a:gd name="connsiteX57-39571" fmla="*/ 10168173 w 10693106"/>
              <a:gd name="connsiteY57-39572" fmla="*/ 3124556 h 5292022"/>
              <a:gd name="connsiteX58-39573" fmla="*/ 10117373 w 10693106"/>
              <a:gd name="connsiteY58-39574" fmla="*/ 3175356 h 5292022"/>
              <a:gd name="connsiteX59-39575" fmla="*/ 10032706 w 10693106"/>
              <a:gd name="connsiteY59-39576" fmla="*/ 3276956 h 5292022"/>
              <a:gd name="connsiteX60-39577" fmla="*/ 9948040 w 10693106"/>
              <a:gd name="connsiteY60-39578" fmla="*/ 3336222 h 5292022"/>
              <a:gd name="connsiteX61-39579" fmla="*/ 9905706 w 10693106"/>
              <a:gd name="connsiteY61-39580" fmla="*/ 3361622 h 5292022"/>
              <a:gd name="connsiteX62-39581" fmla="*/ 9829506 w 10693106"/>
              <a:gd name="connsiteY62-39582" fmla="*/ 3378556 h 5292022"/>
              <a:gd name="connsiteX63-39583" fmla="*/ 9727906 w 10693106"/>
              <a:gd name="connsiteY63-39584" fmla="*/ 3420889 h 5292022"/>
              <a:gd name="connsiteX64-39585" fmla="*/ 9634773 w 10693106"/>
              <a:gd name="connsiteY64-39586" fmla="*/ 3446289 h 5292022"/>
              <a:gd name="connsiteX65-39587" fmla="*/ 9456973 w 10693106"/>
              <a:gd name="connsiteY65-39588" fmla="*/ 3539422 h 5292022"/>
              <a:gd name="connsiteX66-39589" fmla="*/ 9313040 w 10693106"/>
              <a:gd name="connsiteY66-39590" fmla="*/ 3666422 h 5292022"/>
              <a:gd name="connsiteX67-39591" fmla="*/ 9279173 w 10693106"/>
              <a:gd name="connsiteY67-39592" fmla="*/ 3683356 h 5292022"/>
              <a:gd name="connsiteX68-39593" fmla="*/ 9067506 w 10693106"/>
              <a:gd name="connsiteY68-39594" fmla="*/ 3861156 h 5292022"/>
              <a:gd name="connsiteX69-39595" fmla="*/ 8999773 w 10693106"/>
              <a:gd name="connsiteY69-39596" fmla="*/ 3928889 h 5292022"/>
              <a:gd name="connsiteX70-39597" fmla="*/ 8813506 w 10693106"/>
              <a:gd name="connsiteY70-39598" fmla="*/ 4064356 h 5292022"/>
              <a:gd name="connsiteX71-39599" fmla="*/ 8728840 w 10693106"/>
              <a:gd name="connsiteY71-39600" fmla="*/ 4106689 h 5292022"/>
              <a:gd name="connsiteX72-39601" fmla="*/ 8373240 w 10693106"/>
              <a:gd name="connsiteY72-39602" fmla="*/ 4140556 h 5292022"/>
              <a:gd name="connsiteX73-39603" fmla="*/ 7966840 w 10693106"/>
              <a:gd name="connsiteY73-39604" fmla="*/ 4233689 h 5292022"/>
              <a:gd name="connsiteX74-39605" fmla="*/ 7687440 w 10693106"/>
              <a:gd name="connsiteY74-39606" fmla="*/ 4394556 h 5292022"/>
              <a:gd name="connsiteX75-39607" fmla="*/ 7374173 w 10693106"/>
              <a:gd name="connsiteY75-39608" fmla="*/ 4657022 h 5292022"/>
              <a:gd name="connsiteX76-39609" fmla="*/ 7374173 w 10693106"/>
              <a:gd name="connsiteY76-39610" fmla="*/ 4657022 h 5292022"/>
              <a:gd name="connsiteX77-39611" fmla="*/ 7221773 w 10693106"/>
              <a:gd name="connsiteY77-39612" fmla="*/ 4775556 h 5292022"/>
              <a:gd name="connsiteX78-39613" fmla="*/ 7027040 w 10693106"/>
              <a:gd name="connsiteY78-39614" fmla="*/ 4902556 h 5292022"/>
              <a:gd name="connsiteX79-39615" fmla="*/ 6883106 w 10693106"/>
              <a:gd name="connsiteY79-39616" fmla="*/ 4970289 h 5292022"/>
              <a:gd name="connsiteX80-39617" fmla="*/ 6815373 w 10693106"/>
              <a:gd name="connsiteY80-39618" fmla="*/ 5012622 h 5292022"/>
              <a:gd name="connsiteX81-39619" fmla="*/ 6646040 w 10693106"/>
              <a:gd name="connsiteY81-39620" fmla="*/ 5105756 h 5292022"/>
              <a:gd name="connsiteX82-39621" fmla="*/ 6527506 w 10693106"/>
              <a:gd name="connsiteY82-39622" fmla="*/ 5165022 h 5292022"/>
              <a:gd name="connsiteX83-39623" fmla="*/ 6298906 w 10693106"/>
              <a:gd name="connsiteY83-39624" fmla="*/ 5241222 h 5292022"/>
              <a:gd name="connsiteX84-39625" fmla="*/ 6197306 w 10693106"/>
              <a:gd name="connsiteY84-39626" fmla="*/ 5266622 h 5292022"/>
              <a:gd name="connsiteX85-39627" fmla="*/ 6061840 w 10693106"/>
              <a:gd name="connsiteY85-39628" fmla="*/ 5275089 h 5292022"/>
              <a:gd name="connsiteX86-39629" fmla="*/ 5917906 w 10693106"/>
              <a:gd name="connsiteY86-39630" fmla="*/ 5292022 h 5292022"/>
              <a:gd name="connsiteX87-39631" fmla="*/ 5748573 w 10693106"/>
              <a:gd name="connsiteY87-39632" fmla="*/ 5283556 h 5292022"/>
              <a:gd name="connsiteX88-39633" fmla="*/ 5282906 w 10693106"/>
              <a:gd name="connsiteY88-39634" fmla="*/ 5173489 h 5292022"/>
              <a:gd name="connsiteX89-39635" fmla="*/ 4959480 w 10693106"/>
              <a:gd name="connsiteY89-39636" fmla="*/ 4988069 h 5292022"/>
              <a:gd name="connsiteX90-39637" fmla="*/ 4686853 w 10693106"/>
              <a:gd name="connsiteY90-39638" fmla="*/ 4788256 h 5292022"/>
              <a:gd name="connsiteX91-39639" fmla="*/ 3977346 w 10693106"/>
              <a:gd name="connsiteY91-39640" fmla="*/ 4470544 h 5292022"/>
              <a:gd name="connsiteX92-39641" fmla="*/ 3741550 w 10693106"/>
              <a:gd name="connsiteY92-39642" fmla="*/ 4154102 h 5292022"/>
              <a:gd name="connsiteX93-39643" fmla="*/ 3562056 w 10693106"/>
              <a:gd name="connsiteY93-39644" fmla="*/ 3406919 h 5292022"/>
              <a:gd name="connsiteX94-39645" fmla="*/ 3242440 w 10693106"/>
              <a:gd name="connsiteY94-39646" fmla="*/ 3099156 h 5292022"/>
              <a:gd name="connsiteX95-39647" fmla="*/ 3123906 w 10693106"/>
              <a:gd name="connsiteY95-39648" fmla="*/ 2997556 h 5292022"/>
              <a:gd name="connsiteX96-39649" fmla="*/ 2988440 w 10693106"/>
              <a:gd name="connsiteY96-39650" fmla="*/ 2802822 h 5292022"/>
              <a:gd name="connsiteX97-39651" fmla="*/ 2971506 w 10693106"/>
              <a:gd name="connsiteY97-39652" fmla="*/ 2743556 h 5292022"/>
              <a:gd name="connsiteX98-39653" fmla="*/ 2996906 w 10693106"/>
              <a:gd name="connsiteY98-39654" fmla="*/ 2531889 h 5292022"/>
              <a:gd name="connsiteX99-39655" fmla="*/ 3013840 w 10693106"/>
              <a:gd name="connsiteY99-39656" fmla="*/ 2430289 h 5292022"/>
              <a:gd name="connsiteX100-39657" fmla="*/ 3005373 w 10693106"/>
              <a:gd name="connsiteY100-39658" fmla="*/ 2311756 h 5292022"/>
              <a:gd name="connsiteX101-39659" fmla="*/ 2988440 w 10693106"/>
              <a:gd name="connsiteY101-39660" fmla="*/ 2260956 h 5292022"/>
              <a:gd name="connsiteX102-39661" fmla="*/ 2802173 w 10693106"/>
              <a:gd name="connsiteY102-39662" fmla="*/ 2006956 h 5292022"/>
              <a:gd name="connsiteX103-39663" fmla="*/ 2641306 w 10693106"/>
              <a:gd name="connsiteY103-39664" fmla="*/ 1863022 h 5292022"/>
              <a:gd name="connsiteX104-39665" fmla="*/ 2590506 w 10693106"/>
              <a:gd name="connsiteY104-39666" fmla="*/ 1837622 h 5292022"/>
              <a:gd name="connsiteX105-39667" fmla="*/ 2531240 w 10693106"/>
              <a:gd name="connsiteY105-39668" fmla="*/ 1829156 h 5292022"/>
              <a:gd name="connsiteX106-39669" fmla="*/ 2446573 w 10693106"/>
              <a:gd name="connsiteY106-39670" fmla="*/ 1812222 h 5292022"/>
              <a:gd name="connsiteX107-39671" fmla="*/ 2251840 w 10693106"/>
              <a:gd name="connsiteY107-39672" fmla="*/ 1837622 h 5292022"/>
              <a:gd name="connsiteX108-39673" fmla="*/ 2167173 w 10693106"/>
              <a:gd name="connsiteY108-39674" fmla="*/ 1879956 h 5292022"/>
              <a:gd name="connsiteX109-39675" fmla="*/ 1980906 w 10693106"/>
              <a:gd name="connsiteY109-39676" fmla="*/ 1939222 h 5292022"/>
              <a:gd name="connsiteX110-39677" fmla="*/ 1904706 w 10693106"/>
              <a:gd name="connsiteY110-39678" fmla="*/ 1973089 h 5292022"/>
              <a:gd name="connsiteX111-39679" fmla="*/ 1828506 w 10693106"/>
              <a:gd name="connsiteY111-39680" fmla="*/ 1990022 h 5292022"/>
              <a:gd name="connsiteX112-39681" fmla="*/ 1726906 w 10693106"/>
              <a:gd name="connsiteY112-39682" fmla="*/ 2040822 h 5292022"/>
              <a:gd name="connsiteX113-39683" fmla="*/ 1659173 w 10693106"/>
              <a:gd name="connsiteY113-39684" fmla="*/ 2074689 h 5292022"/>
              <a:gd name="connsiteX114-39685" fmla="*/ 1498306 w 10693106"/>
              <a:gd name="connsiteY114-39686" fmla="*/ 2100089 h 5292022"/>
              <a:gd name="connsiteX115-39687" fmla="*/ 914106 w 10693106"/>
              <a:gd name="connsiteY115-39688" fmla="*/ 2032356 h 5292022"/>
              <a:gd name="connsiteX116-39689" fmla="*/ 617773 w 10693106"/>
              <a:gd name="connsiteY116-39690" fmla="*/ 1922289 h 5292022"/>
              <a:gd name="connsiteX117-39691" fmla="*/ 516173 w 10693106"/>
              <a:gd name="connsiteY117-39692" fmla="*/ 1837622 h 5292022"/>
              <a:gd name="connsiteX118-39693" fmla="*/ 355306 w 10693106"/>
              <a:gd name="connsiteY118-39694" fmla="*/ 1625956 h 5292022"/>
              <a:gd name="connsiteX119-39695" fmla="*/ 296040 w 10693106"/>
              <a:gd name="connsiteY119-39696" fmla="*/ 1524356 h 5292022"/>
              <a:gd name="connsiteX120-39697" fmla="*/ 253706 w 10693106"/>
              <a:gd name="connsiteY120-39698" fmla="*/ 1346556 h 5292022"/>
              <a:gd name="connsiteX121-39699" fmla="*/ 245240 w 10693106"/>
              <a:gd name="connsiteY121-39700" fmla="*/ 1219556 h 5292022"/>
              <a:gd name="connsiteX122-39701" fmla="*/ 236773 w 10693106"/>
              <a:gd name="connsiteY122-39702" fmla="*/ 1117956 h 5292022"/>
              <a:gd name="connsiteX123-39703" fmla="*/ 245240 w 10693106"/>
              <a:gd name="connsiteY123-39704" fmla="*/ 847022 h 5292022"/>
              <a:gd name="connsiteX124-39705" fmla="*/ 236773 w 10693106"/>
              <a:gd name="connsiteY124-39706" fmla="*/ 703089 h 5292022"/>
              <a:gd name="connsiteX125-39707" fmla="*/ 109773 w 10693106"/>
              <a:gd name="connsiteY125-39708" fmla="*/ 559156 h 5292022"/>
              <a:gd name="connsiteX126-39709" fmla="*/ 58973 w 10693106"/>
              <a:gd name="connsiteY126-39710" fmla="*/ 482956 h 5292022"/>
              <a:gd name="connsiteX127-39711" fmla="*/ 16640 w 10693106"/>
              <a:gd name="connsiteY127-39712" fmla="*/ 432156 h 5292022"/>
              <a:gd name="connsiteX128-39713" fmla="*/ 8173 w 10693106"/>
              <a:gd name="connsiteY128-39714" fmla="*/ 389822 h 5292022"/>
              <a:gd name="connsiteX129-39715" fmla="*/ 16640 w 10693106"/>
              <a:gd name="connsiteY129-39716" fmla="*/ 339022 h 5292022"/>
              <a:gd name="connsiteX0-39717" fmla="*/ 16640 w 10693106"/>
              <a:gd name="connsiteY0-39718" fmla="*/ 339022 h 5292022"/>
              <a:gd name="connsiteX1-39719" fmla="*/ 58973 w 10693106"/>
              <a:gd name="connsiteY1-39720" fmla="*/ 245889 h 5292022"/>
              <a:gd name="connsiteX2-39721" fmla="*/ 109773 w 10693106"/>
              <a:gd name="connsiteY2-39722" fmla="*/ 178156 h 5292022"/>
              <a:gd name="connsiteX3-39723" fmla="*/ 202906 w 10693106"/>
              <a:gd name="connsiteY3-39724" fmla="*/ 93489 h 5292022"/>
              <a:gd name="connsiteX4-39725" fmla="*/ 236773 w 10693106"/>
              <a:gd name="connsiteY4-39726" fmla="*/ 68089 h 5292022"/>
              <a:gd name="connsiteX5-39727" fmla="*/ 335410 w 10693106"/>
              <a:gd name="connsiteY5-39728" fmla="*/ 58352 h 5292022"/>
              <a:gd name="connsiteX6-39729" fmla="*/ 382400 w 10693106"/>
              <a:gd name="connsiteY6-39730" fmla="*/ 51156 h 5292022"/>
              <a:gd name="connsiteX7-39731" fmla="*/ 434912 w 10693106"/>
              <a:gd name="connsiteY7-39732" fmla="*/ 70071 h 5292022"/>
              <a:gd name="connsiteX8-39733" fmla="*/ 492697 w 10693106"/>
              <a:gd name="connsiteY8-39734" fmla="*/ 74247 h 5292022"/>
              <a:gd name="connsiteX9-39735" fmla="*/ 822897 w 10693106"/>
              <a:gd name="connsiteY9-39736" fmla="*/ 82713 h 5292022"/>
              <a:gd name="connsiteX10-39737" fmla="*/ 1091906 w 10693106"/>
              <a:gd name="connsiteY10-39738" fmla="*/ 356 h 5292022"/>
              <a:gd name="connsiteX11-39739" fmla="*/ 1235840 w 10693106"/>
              <a:gd name="connsiteY11-39740" fmla="*/ 59622 h 5292022"/>
              <a:gd name="connsiteX12-39741" fmla="*/ 1337440 w 10693106"/>
              <a:gd name="connsiteY12-39742" fmla="*/ 135822 h 5292022"/>
              <a:gd name="connsiteX13-39743" fmla="*/ 1422106 w 10693106"/>
              <a:gd name="connsiteY13-39744" fmla="*/ 245889 h 5292022"/>
              <a:gd name="connsiteX14-39745" fmla="*/ 1481373 w 10693106"/>
              <a:gd name="connsiteY14-39746" fmla="*/ 313622 h 5292022"/>
              <a:gd name="connsiteX15-39747" fmla="*/ 1532173 w 10693106"/>
              <a:gd name="connsiteY15-39748" fmla="*/ 347489 h 5292022"/>
              <a:gd name="connsiteX16-39749" fmla="*/ 1684573 w 10693106"/>
              <a:gd name="connsiteY16-39750" fmla="*/ 406756 h 5292022"/>
              <a:gd name="connsiteX17-39751" fmla="*/ 1760773 w 10693106"/>
              <a:gd name="connsiteY17-39752" fmla="*/ 423689 h 5292022"/>
              <a:gd name="connsiteX18-39753" fmla="*/ 2116373 w 10693106"/>
              <a:gd name="connsiteY18-39754" fmla="*/ 398289 h 5292022"/>
              <a:gd name="connsiteX19-39755" fmla="*/ 2260306 w 10693106"/>
              <a:gd name="connsiteY19-39756" fmla="*/ 381356 h 5292022"/>
              <a:gd name="connsiteX20-39757" fmla="*/ 2404240 w 10693106"/>
              <a:gd name="connsiteY20-39758" fmla="*/ 355956 h 5292022"/>
              <a:gd name="connsiteX21-39759" fmla="*/ 3002294 w 10693106"/>
              <a:gd name="connsiteY21-39760" fmla="*/ 154680 h 5292022"/>
              <a:gd name="connsiteX22-39761" fmla="*/ 3142763 w 10693106"/>
              <a:gd name="connsiteY22-39762" fmla="*/ 110421 h 5292022"/>
              <a:gd name="connsiteX23-39763" fmla="*/ 3398918 w 10693106"/>
              <a:gd name="connsiteY23-39764" fmla="*/ 72322 h 5292022"/>
              <a:gd name="connsiteX24-39765" fmla="*/ 4529373 w 10693106"/>
              <a:gd name="connsiteY24-39766" fmla="*/ 271289 h 5292022"/>
              <a:gd name="connsiteX25-39767" fmla="*/ 5630810 w 10693106"/>
              <a:gd name="connsiteY25-39768" fmla="*/ 1149898 h 5292022"/>
              <a:gd name="connsiteX26-39769" fmla="*/ 6881490 w 10693106"/>
              <a:gd name="connsiteY26-39770" fmla="*/ 1366452 h 5292022"/>
              <a:gd name="connsiteX27-39771" fmla="*/ 7839032 w 10693106"/>
              <a:gd name="connsiteY27-39772" fmla="*/ 1183996 h 5292022"/>
              <a:gd name="connsiteX28-39773" fmla="*/ 8652640 w 10693106"/>
              <a:gd name="connsiteY28-39774" fmla="*/ 677689 h 5292022"/>
              <a:gd name="connsiteX29-39775" fmla="*/ 8982840 w 10693106"/>
              <a:gd name="connsiteY29-39776" fmla="*/ 398289 h 5292022"/>
              <a:gd name="connsiteX30-39777" fmla="*/ 9380773 w 10693106"/>
              <a:gd name="connsiteY30-39778" fmla="*/ 355956 h 5292022"/>
              <a:gd name="connsiteX31-39779" fmla="*/ 9744840 w 10693106"/>
              <a:gd name="connsiteY31-39780" fmla="*/ 466022 h 5292022"/>
              <a:gd name="connsiteX32-39781" fmla="*/ 9888773 w 10693106"/>
              <a:gd name="connsiteY32-39782" fmla="*/ 508356 h 5292022"/>
              <a:gd name="connsiteX33-39783" fmla="*/ 9998840 w 10693106"/>
              <a:gd name="connsiteY33-39784" fmla="*/ 559156 h 5292022"/>
              <a:gd name="connsiteX34-39785" fmla="*/ 10083506 w 10693106"/>
              <a:gd name="connsiteY34-39786" fmla="*/ 618422 h 5292022"/>
              <a:gd name="connsiteX35-39787" fmla="*/ 10286706 w 10693106"/>
              <a:gd name="connsiteY35-39788" fmla="*/ 686156 h 5292022"/>
              <a:gd name="connsiteX36-39789" fmla="*/ 10388306 w 10693106"/>
              <a:gd name="connsiteY36-39790" fmla="*/ 889356 h 5292022"/>
              <a:gd name="connsiteX37-39791" fmla="*/ 10540706 w 10693106"/>
              <a:gd name="connsiteY37-39792" fmla="*/ 1261889 h 5292022"/>
              <a:gd name="connsiteX38-39793" fmla="*/ 10557640 w 10693106"/>
              <a:gd name="connsiteY38-39794" fmla="*/ 1346556 h 5292022"/>
              <a:gd name="connsiteX39-39795" fmla="*/ 10583040 w 10693106"/>
              <a:gd name="connsiteY39-39796" fmla="*/ 1448156 h 5292022"/>
              <a:gd name="connsiteX40-39797" fmla="*/ 10616906 w 10693106"/>
              <a:gd name="connsiteY40-39798" fmla="*/ 1651356 h 5292022"/>
              <a:gd name="connsiteX41-39799" fmla="*/ 10633840 w 10693106"/>
              <a:gd name="connsiteY41-39800" fmla="*/ 1736022 h 5292022"/>
              <a:gd name="connsiteX42-39801" fmla="*/ 10650773 w 10693106"/>
              <a:gd name="connsiteY42-39802" fmla="*/ 1769889 h 5292022"/>
              <a:gd name="connsiteX43-39803" fmla="*/ 10676173 w 10693106"/>
              <a:gd name="connsiteY43-39804" fmla="*/ 1854556 h 5292022"/>
              <a:gd name="connsiteX44-39805" fmla="*/ 10693106 w 10693106"/>
              <a:gd name="connsiteY44-39806" fmla="*/ 2006956 h 5292022"/>
              <a:gd name="connsiteX45-39807" fmla="*/ 10625373 w 10693106"/>
              <a:gd name="connsiteY45-39808" fmla="*/ 2227089 h 5292022"/>
              <a:gd name="connsiteX46-39809" fmla="*/ 10608440 w 10693106"/>
              <a:gd name="connsiteY46-39810" fmla="*/ 2252489 h 5292022"/>
              <a:gd name="connsiteX47-39811" fmla="*/ 10540706 w 10693106"/>
              <a:gd name="connsiteY47-39812" fmla="*/ 2396422 h 5292022"/>
              <a:gd name="connsiteX48-39813" fmla="*/ 10498373 w 10693106"/>
              <a:gd name="connsiteY48-39814" fmla="*/ 2481089 h 5292022"/>
              <a:gd name="connsiteX49-39815" fmla="*/ 10439106 w 10693106"/>
              <a:gd name="connsiteY49-39816" fmla="*/ 2667356 h 5292022"/>
              <a:gd name="connsiteX50-39817" fmla="*/ 10430640 w 10693106"/>
              <a:gd name="connsiteY50-39818" fmla="*/ 2709689 h 5292022"/>
              <a:gd name="connsiteX51-39819" fmla="*/ 10405240 w 10693106"/>
              <a:gd name="connsiteY51-39820" fmla="*/ 2785889 h 5292022"/>
              <a:gd name="connsiteX52-39821" fmla="*/ 10396773 w 10693106"/>
              <a:gd name="connsiteY52-39822" fmla="*/ 2819756 h 5292022"/>
              <a:gd name="connsiteX53-39823" fmla="*/ 10362906 w 10693106"/>
              <a:gd name="connsiteY53-39824" fmla="*/ 2912889 h 5292022"/>
              <a:gd name="connsiteX54-39825" fmla="*/ 10329040 w 10693106"/>
              <a:gd name="connsiteY54-39826" fmla="*/ 2955222 h 5292022"/>
              <a:gd name="connsiteX55-39827" fmla="*/ 10227440 w 10693106"/>
              <a:gd name="connsiteY55-39828" fmla="*/ 3056822 h 5292022"/>
              <a:gd name="connsiteX56-39829" fmla="*/ 10168173 w 10693106"/>
              <a:gd name="connsiteY56-39830" fmla="*/ 3124556 h 5292022"/>
              <a:gd name="connsiteX57-39831" fmla="*/ 10117373 w 10693106"/>
              <a:gd name="connsiteY57-39832" fmla="*/ 3175356 h 5292022"/>
              <a:gd name="connsiteX58-39833" fmla="*/ 10032706 w 10693106"/>
              <a:gd name="connsiteY58-39834" fmla="*/ 3276956 h 5292022"/>
              <a:gd name="connsiteX59-39835" fmla="*/ 9948040 w 10693106"/>
              <a:gd name="connsiteY59-39836" fmla="*/ 3336222 h 5292022"/>
              <a:gd name="connsiteX60-39837" fmla="*/ 9905706 w 10693106"/>
              <a:gd name="connsiteY60-39838" fmla="*/ 3361622 h 5292022"/>
              <a:gd name="connsiteX61-39839" fmla="*/ 9829506 w 10693106"/>
              <a:gd name="connsiteY61-39840" fmla="*/ 3378556 h 5292022"/>
              <a:gd name="connsiteX62-39841" fmla="*/ 9727906 w 10693106"/>
              <a:gd name="connsiteY62-39842" fmla="*/ 3420889 h 5292022"/>
              <a:gd name="connsiteX63-39843" fmla="*/ 9634773 w 10693106"/>
              <a:gd name="connsiteY63-39844" fmla="*/ 3446289 h 5292022"/>
              <a:gd name="connsiteX64-39845" fmla="*/ 9456973 w 10693106"/>
              <a:gd name="connsiteY64-39846" fmla="*/ 3539422 h 5292022"/>
              <a:gd name="connsiteX65-39847" fmla="*/ 9313040 w 10693106"/>
              <a:gd name="connsiteY65-39848" fmla="*/ 3666422 h 5292022"/>
              <a:gd name="connsiteX66-39849" fmla="*/ 9279173 w 10693106"/>
              <a:gd name="connsiteY66-39850" fmla="*/ 3683356 h 5292022"/>
              <a:gd name="connsiteX67-39851" fmla="*/ 9067506 w 10693106"/>
              <a:gd name="connsiteY67-39852" fmla="*/ 3861156 h 5292022"/>
              <a:gd name="connsiteX68-39853" fmla="*/ 8999773 w 10693106"/>
              <a:gd name="connsiteY68-39854" fmla="*/ 3928889 h 5292022"/>
              <a:gd name="connsiteX69-39855" fmla="*/ 8813506 w 10693106"/>
              <a:gd name="connsiteY69-39856" fmla="*/ 4064356 h 5292022"/>
              <a:gd name="connsiteX70-39857" fmla="*/ 8728840 w 10693106"/>
              <a:gd name="connsiteY70-39858" fmla="*/ 4106689 h 5292022"/>
              <a:gd name="connsiteX71-39859" fmla="*/ 8373240 w 10693106"/>
              <a:gd name="connsiteY71-39860" fmla="*/ 4140556 h 5292022"/>
              <a:gd name="connsiteX72-39861" fmla="*/ 7966840 w 10693106"/>
              <a:gd name="connsiteY72-39862" fmla="*/ 4233689 h 5292022"/>
              <a:gd name="connsiteX73-39863" fmla="*/ 7687440 w 10693106"/>
              <a:gd name="connsiteY73-39864" fmla="*/ 4394556 h 5292022"/>
              <a:gd name="connsiteX74-39865" fmla="*/ 7374173 w 10693106"/>
              <a:gd name="connsiteY74-39866" fmla="*/ 4657022 h 5292022"/>
              <a:gd name="connsiteX75-39867" fmla="*/ 7374173 w 10693106"/>
              <a:gd name="connsiteY75-39868" fmla="*/ 4657022 h 5292022"/>
              <a:gd name="connsiteX76-39869" fmla="*/ 7221773 w 10693106"/>
              <a:gd name="connsiteY76-39870" fmla="*/ 4775556 h 5292022"/>
              <a:gd name="connsiteX77-39871" fmla="*/ 7027040 w 10693106"/>
              <a:gd name="connsiteY77-39872" fmla="*/ 4902556 h 5292022"/>
              <a:gd name="connsiteX78-39873" fmla="*/ 6883106 w 10693106"/>
              <a:gd name="connsiteY78-39874" fmla="*/ 4970289 h 5292022"/>
              <a:gd name="connsiteX79-39875" fmla="*/ 6815373 w 10693106"/>
              <a:gd name="connsiteY79-39876" fmla="*/ 5012622 h 5292022"/>
              <a:gd name="connsiteX80-39877" fmla="*/ 6646040 w 10693106"/>
              <a:gd name="connsiteY80-39878" fmla="*/ 5105756 h 5292022"/>
              <a:gd name="connsiteX81-39879" fmla="*/ 6527506 w 10693106"/>
              <a:gd name="connsiteY81-39880" fmla="*/ 5165022 h 5292022"/>
              <a:gd name="connsiteX82-39881" fmla="*/ 6298906 w 10693106"/>
              <a:gd name="connsiteY82-39882" fmla="*/ 5241222 h 5292022"/>
              <a:gd name="connsiteX83-39883" fmla="*/ 6197306 w 10693106"/>
              <a:gd name="connsiteY83-39884" fmla="*/ 5266622 h 5292022"/>
              <a:gd name="connsiteX84-39885" fmla="*/ 6061840 w 10693106"/>
              <a:gd name="connsiteY84-39886" fmla="*/ 5275089 h 5292022"/>
              <a:gd name="connsiteX85-39887" fmla="*/ 5917906 w 10693106"/>
              <a:gd name="connsiteY85-39888" fmla="*/ 5292022 h 5292022"/>
              <a:gd name="connsiteX86-39889" fmla="*/ 5748573 w 10693106"/>
              <a:gd name="connsiteY86-39890" fmla="*/ 5283556 h 5292022"/>
              <a:gd name="connsiteX87-39891" fmla="*/ 5282906 w 10693106"/>
              <a:gd name="connsiteY87-39892" fmla="*/ 5173489 h 5292022"/>
              <a:gd name="connsiteX88-39893" fmla="*/ 4959480 w 10693106"/>
              <a:gd name="connsiteY88-39894" fmla="*/ 4988069 h 5292022"/>
              <a:gd name="connsiteX89-39895" fmla="*/ 4686853 w 10693106"/>
              <a:gd name="connsiteY89-39896" fmla="*/ 4788256 h 5292022"/>
              <a:gd name="connsiteX90-39897" fmla="*/ 3977346 w 10693106"/>
              <a:gd name="connsiteY90-39898" fmla="*/ 4470544 h 5292022"/>
              <a:gd name="connsiteX91-39899" fmla="*/ 3741550 w 10693106"/>
              <a:gd name="connsiteY91-39900" fmla="*/ 4154102 h 5292022"/>
              <a:gd name="connsiteX92-39901" fmla="*/ 3562056 w 10693106"/>
              <a:gd name="connsiteY92-39902" fmla="*/ 3406919 h 5292022"/>
              <a:gd name="connsiteX93-39903" fmla="*/ 3242440 w 10693106"/>
              <a:gd name="connsiteY93-39904" fmla="*/ 3099156 h 5292022"/>
              <a:gd name="connsiteX94-39905" fmla="*/ 3123906 w 10693106"/>
              <a:gd name="connsiteY94-39906" fmla="*/ 2997556 h 5292022"/>
              <a:gd name="connsiteX95-39907" fmla="*/ 2988440 w 10693106"/>
              <a:gd name="connsiteY95-39908" fmla="*/ 2802822 h 5292022"/>
              <a:gd name="connsiteX96-39909" fmla="*/ 2971506 w 10693106"/>
              <a:gd name="connsiteY96-39910" fmla="*/ 2743556 h 5292022"/>
              <a:gd name="connsiteX97-39911" fmla="*/ 2996906 w 10693106"/>
              <a:gd name="connsiteY97-39912" fmla="*/ 2531889 h 5292022"/>
              <a:gd name="connsiteX98-39913" fmla="*/ 3013840 w 10693106"/>
              <a:gd name="connsiteY98-39914" fmla="*/ 2430289 h 5292022"/>
              <a:gd name="connsiteX99-39915" fmla="*/ 3005373 w 10693106"/>
              <a:gd name="connsiteY99-39916" fmla="*/ 2311756 h 5292022"/>
              <a:gd name="connsiteX100-39917" fmla="*/ 2988440 w 10693106"/>
              <a:gd name="connsiteY100-39918" fmla="*/ 2260956 h 5292022"/>
              <a:gd name="connsiteX101-39919" fmla="*/ 2802173 w 10693106"/>
              <a:gd name="connsiteY101-39920" fmla="*/ 2006956 h 5292022"/>
              <a:gd name="connsiteX102-39921" fmla="*/ 2641306 w 10693106"/>
              <a:gd name="connsiteY102-39922" fmla="*/ 1863022 h 5292022"/>
              <a:gd name="connsiteX103-39923" fmla="*/ 2590506 w 10693106"/>
              <a:gd name="connsiteY103-39924" fmla="*/ 1837622 h 5292022"/>
              <a:gd name="connsiteX104-39925" fmla="*/ 2531240 w 10693106"/>
              <a:gd name="connsiteY104-39926" fmla="*/ 1829156 h 5292022"/>
              <a:gd name="connsiteX105-39927" fmla="*/ 2446573 w 10693106"/>
              <a:gd name="connsiteY105-39928" fmla="*/ 1812222 h 5292022"/>
              <a:gd name="connsiteX106-39929" fmla="*/ 2251840 w 10693106"/>
              <a:gd name="connsiteY106-39930" fmla="*/ 1837622 h 5292022"/>
              <a:gd name="connsiteX107-39931" fmla="*/ 2167173 w 10693106"/>
              <a:gd name="connsiteY107-39932" fmla="*/ 1879956 h 5292022"/>
              <a:gd name="connsiteX108-39933" fmla="*/ 1980906 w 10693106"/>
              <a:gd name="connsiteY108-39934" fmla="*/ 1939222 h 5292022"/>
              <a:gd name="connsiteX109-39935" fmla="*/ 1904706 w 10693106"/>
              <a:gd name="connsiteY109-39936" fmla="*/ 1973089 h 5292022"/>
              <a:gd name="connsiteX110-39937" fmla="*/ 1828506 w 10693106"/>
              <a:gd name="connsiteY110-39938" fmla="*/ 1990022 h 5292022"/>
              <a:gd name="connsiteX111-39939" fmla="*/ 1726906 w 10693106"/>
              <a:gd name="connsiteY111-39940" fmla="*/ 2040822 h 5292022"/>
              <a:gd name="connsiteX112-39941" fmla="*/ 1659173 w 10693106"/>
              <a:gd name="connsiteY112-39942" fmla="*/ 2074689 h 5292022"/>
              <a:gd name="connsiteX113-39943" fmla="*/ 1498306 w 10693106"/>
              <a:gd name="connsiteY113-39944" fmla="*/ 2100089 h 5292022"/>
              <a:gd name="connsiteX114-39945" fmla="*/ 914106 w 10693106"/>
              <a:gd name="connsiteY114-39946" fmla="*/ 2032356 h 5292022"/>
              <a:gd name="connsiteX115-39947" fmla="*/ 617773 w 10693106"/>
              <a:gd name="connsiteY115-39948" fmla="*/ 1922289 h 5292022"/>
              <a:gd name="connsiteX116-39949" fmla="*/ 516173 w 10693106"/>
              <a:gd name="connsiteY116-39950" fmla="*/ 1837622 h 5292022"/>
              <a:gd name="connsiteX117-39951" fmla="*/ 355306 w 10693106"/>
              <a:gd name="connsiteY117-39952" fmla="*/ 1625956 h 5292022"/>
              <a:gd name="connsiteX118-39953" fmla="*/ 296040 w 10693106"/>
              <a:gd name="connsiteY118-39954" fmla="*/ 1524356 h 5292022"/>
              <a:gd name="connsiteX119-39955" fmla="*/ 253706 w 10693106"/>
              <a:gd name="connsiteY119-39956" fmla="*/ 1346556 h 5292022"/>
              <a:gd name="connsiteX120-39957" fmla="*/ 245240 w 10693106"/>
              <a:gd name="connsiteY120-39958" fmla="*/ 1219556 h 5292022"/>
              <a:gd name="connsiteX121-39959" fmla="*/ 236773 w 10693106"/>
              <a:gd name="connsiteY121-39960" fmla="*/ 1117956 h 5292022"/>
              <a:gd name="connsiteX122-39961" fmla="*/ 245240 w 10693106"/>
              <a:gd name="connsiteY122-39962" fmla="*/ 847022 h 5292022"/>
              <a:gd name="connsiteX123-39963" fmla="*/ 236773 w 10693106"/>
              <a:gd name="connsiteY123-39964" fmla="*/ 703089 h 5292022"/>
              <a:gd name="connsiteX124-39965" fmla="*/ 109773 w 10693106"/>
              <a:gd name="connsiteY124-39966" fmla="*/ 559156 h 5292022"/>
              <a:gd name="connsiteX125-39967" fmla="*/ 58973 w 10693106"/>
              <a:gd name="connsiteY125-39968" fmla="*/ 482956 h 5292022"/>
              <a:gd name="connsiteX126-39969" fmla="*/ 16640 w 10693106"/>
              <a:gd name="connsiteY126-39970" fmla="*/ 432156 h 5292022"/>
              <a:gd name="connsiteX127-39971" fmla="*/ 8173 w 10693106"/>
              <a:gd name="connsiteY127-39972" fmla="*/ 389822 h 5292022"/>
              <a:gd name="connsiteX128-39973" fmla="*/ 16640 w 10693106"/>
              <a:gd name="connsiteY128-39974" fmla="*/ 339022 h 5292022"/>
              <a:gd name="connsiteX0-39975" fmla="*/ 16640 w 10693106"/>
              <a:gd name="connsiteY0-39976" fmla="*/ 339022 h 5292022"/>
              <a:gd name="connsiteX1-39977" fmla="*/ 58973 w 10693106"/>
              <a:gd name="connsiteY1-39978" fmla="*/ 245889 h 5292022"/>
              <a:gd name="connsiteX2-39979" fmla="*/ 109773 w 10693106"/>
              <a:gd name="connsiteY2-39980" fmla="*/ 178156 h 5292022"/>
              <a:gd name="connsiteX3-39981" fmla="*/ 202906 w 10693106"/>
              <a:gd name="connsiteY3-39982" fmla="*/ 93489 h 5292022"/>
              <a:gd name="connsiteX4-39983" fmla="*/ 236773 w 10693106"/>
              <a:gd name="connsiteY4-39984" fmla="*/ 68089 h 5292022"/>
              <a:gd name="connsiteX5-39985" fmla="*/ 335410 w 10693106"/>
              <a:gd name="connsiteY5-39986" fmla="*/ 58352 h 5292022"/>
              <a:gd name="connsiteX6-39987" fmla="*/ 382400 w 10693106"/>
              <a:gd name="connsiteY6-39988" fmla="*/ 51156 h 5292022"/>
              <a:gd name="connsiteX7-39989" fmla="*/ 434912 w 10693106"/>
              <a:gd name="connsiteY7-39990" fmla="*/ 70071 h 5292022"/>
              <a:gd name="connsiteX8-39991" fmla="*/ 492697 w 10693106"/>
              <a:gd name="connsiteY8-39992" fmla="*/ 74247 h 5292022"/>
              <a:gd name="connsiteX9-39993" fmla="*/ 822897 w 10693106"/>
              <a:gd name="connsiteY9-39994" fmla="*/ 82713 h 5292022"/>
              <a:gd name="connsiteX10-39995" fmla="*/ 1091906 w 10693106"/>
              <a:gd name="connsiteY10-39996" fmla="*/ 356 h 5292022"/>
              <a:gd name="connsiteX11-39997" fmla="*/ 1235840 w 10693106"/>
              <a:gd name="connsiteY11-39998" fmla="*/ 59622 h 5292022"/>
              <a:gd name="connsiteX12-39999" fmla="*/ 1337440 w 10693106"/>
              <a:gd name="connsiteY12-40000" fmla="*/ 135822 h 5292022"/>
              <a:gd name="connsiteX13-40001" fmla="*/ 1422106 w 10693106"/>
              <a:gd name="connsiteY13-40002" fmla="*/ 245889 h 5292022"/>
              <a:gd name="connsiteX14-40003" fmla="*/ 1481373 w 10693106"/>
              <a:gd name="connsiteY14-40004" fmla="*/ 313622 h 5292022"/>
              <a:gd name="connsiteX15-40005" fmla="*/ 1532173 w 10693106"/>
              <a:gd name="connsiteY15-40006" fmla="*/ 347489 h 5292022"/>
              <a:gd name="connsiteX16-40007" fmla="*/ 1684573 w 10693106"/>
              <a:gd name="connsiteY16-40008" fmla="*/ 406756 h 5292022"/>
              <a:gd name="connsiteX17-40009" fmla="*/ 1760773 w 10693106"/>
              <a:gd name="connsiteY17-40010" fmla="*/ 423689 h 5292022"/>
              <a:gd name="connsiteX18-40011" fmla="*/ 2260306 w 10693106"/>
              <a:gd name="connsiteY18-40012" fmla="*/ 381356 h 5292022"/>
              <a:gd name="connsiteX19-40013" fmla="*/ 2404240 w 10693106"/>
              <a:gd name="connsiteY19-40014" fmla="*/ 355956 h 5292022"/>
              <a:gd name="connsiteX20-40015" fmla="*/ 3002294 w 10693106"/>
              <a:gd name="connsiteY20-40016" fmla="*/ 154680 h 5292022"/>
              <a:gd name="connsiteX21-40017" fmla="*/ 3142763 w 10693106"/>
              <a:gd name="connsiteY21-40018" fmla="*/ 110421 h 5292022"/>
              <a:gd name="connsiteX22-40019" fmla="*/ 3398918 w 10693106"/>
              <a:gd name="connsiteY22-40020" fmla="*/ 72322 h 5292022"/>
              <a:gd name="connsiteX23-40021" fmla="*/ 4529373 w 10693106"/>
              <a:gd name="connsiteY23-40022" fmla="*/ 271289 h 5292022"/>
              <a:gd name="connsiteX24-40023" fmla="*/ 5630810 w 10693106"/>
              <a:gd name="connsiteY24-40024" fmla="*/ 1149898 h 5292022"/>
              <a:gd name="connsiteX25-40025" fmla="*/ 6881490 w 10693106"/>
              <a:gd name="connsiteY25-40026" fmla="*/ 1366452 h 5292022"/>
              <a:gd name="connsiteX26-40027" fmla="*/ 7839032 w 10693106"/>
              <a:gd name="connsiteY26-40028" fmla="*/ 1183996 h 5292022"/>
              <a:gd name="connsiteX27-40029" fmla="*/ 8652640 w 10693106"/>
              <a:gd name="connsiteY27-40030" fmla="*/ 677689 h 5292022"/>
              <a:gd name="connsiteX28-40031" fmla="*/ 8982840 w 10693106"/>
              <a:gd name="connsiteY28-40032" fmla="*/ 398289 h 5292022"/>
              <a:gd name="connsiteX29-40033" fmla="*/ 9380773 w 10693106"/>
              <a:gd name="connsiteY29-40034" fmla="*/ 355956 h 5292022"/>
              <a:gd name="connsiteX30-40035" fmla="*/ 9744840 w 10693106"/>
              <a:gd name="connsiteY30-40036" fmla="*/ 466022 h 5292022"/>
              <a:gd name="connsiteX31-40037" fmla="*/ 9888773 w 10693106"/>
              <a:gd name="connsiteY31-40038" fmla="*/ 508356 h 5292022"/>
              <a:gd name="connsiteX32-40039" fmla="*/ 9998840 w 10693106"/>
              <a:gd name="connsiteY32-40040" fmla="*/ 559156 h 5292022"/>
              <a:gd name="connsiteX33-40041" fmla="*/ 10083506 w 10693106"/>
              <a:gd name="connsiteY33-40042" fmla="*/ 618422 h 5292022"/>
              <a:gd name="connsiteX34-40043" fmla="*/ 10286706 w 10693106"/>
              <a:gd name="connsiteY34-40044" fmla="*/ 686156 h 5292022"/>
              <a:gd name="connsiteX35-40045" fmla="*/ 10388306 w 10693106"/>
              <a:gd name="connsiteY35-40046" fmla="*/ 889356 h 5292022"/>
              <a:gd name="connsiteX36-40047" fmla="*/ 10540706 w 10693106"/>
              <a:gd name="connsiteY36-40048" fmla="*/ 1261889 h 5292022"/>
              <a:gd name="connsiteX37-40049" fmla="*/ 10557640 w 10693106"/>
              <a:gd name="connsiteY37-40050" fmla="*/ 1346556 h 5292022"/>
              <a:gd name="connsiteX38-40051" fmla="*/ 10583040 w 10693106"/>
              <a:gd name="connsiteY38-40052" fmla="*/ 1448156 h 5292022"/>
              <a:gd name="connsiteX39-40053" fmla="*/ 10616906 w 10693106"/>
              <a:gd name="connsiteY39-40054" fmla="*/ 1651356 h 5292022"/>
              <a:gd name="connsiteX40-40055" fmla="*/ 10633840 w 10693106"/>
              <a:gd name="connsiteY40-40056" fmla="*/ 1736022 h 5292022"/>
              <a:gd name="connsiteX41-40057" fmla="*/ 10650773 w 10693106"/>
              <a:gd name="connsiteY41-40058" fmla="*/ 1769889 h 5292022"/>
              <a:gd name="connsiteX42-40059" fmla="*/ 10676173 w 10693106"/>
              <a:gd name="connsiteY42-40060" fmla="*/ 1854556 h 5292022"/>
              <a:gd name="connsiteX43-40061" fmla="*/ 10693106 w 10693106"/>
              <a:gd name="connsiteY43-40062" fmla="*/ 2006956 h 5292022"/>
              <a:gd name="connsiteX44-40063" fmla="*/ 10625373 w 10693106"/>
              <a:gd name="connsiteY44-40064" fmla="*/ 2227089 h 5292022"/>
              <a:gd name="connsiteX45-40065" fmla="*/ 10608440 w 10693106"/>
              <a:gd name="connsiteY45-40066" fmla="*/ 2252489 h 5292022"/>
              <a:gd name="connsiteX46-40067" fmla="*/ 10540706 w 10693106"/>
              <a:gd name="connsiteY46-40068" fmla="*/ 2396422 h 5292022"/>
              <a:gd name="connsiteX47-40069" fmla="*/ 10498373 w 10693106"/>
              <a:gd name="connsiteY47-40070" fmla="*/ 2481089 h 5292022"/>
              <a:gd name="connsiteX48-40071" fmla="*/ 10439106 w 10693106"/>
              <a:gd name="connsiteY48-40072" fmla="*/ 2667356 h 5292022"/>
              <a:gd name="connsiteX49-40073" fmla="*/ 10430640 w 10693106"/>
              <a:gd name="connsiteY49-40074" fmla="*/ 2709689 h 5292022"/>
              <a:gd name="connsiteX50-40075" fmla="*/ 10405240 w 10693106"/>
              <a:gd name="connsiteY50-40076" fmla="*/ 2785889 h 5292022"/>
              <a:gd name="connsiteX51-40077" fmla="*/ 10396773 w 10693106"/>
              <a:gd name="connsiteY51-40078" fmla="*/ 2819756 h 5292022"/>
              <a:gd name="connsiteX52-40079" fmla="*/ 10362906 w 10693106"/>
              <a:gd name="connsiteY52-40080" fmla="*/ 2912889 h 5292022"/>
              <a:gd name="connsiteX53-40081" fmla="*/ 10329040 w 10693106"/>
              <a:gd name="connsiteY53-40082" fmla="*/ 2955222 h 5292022"/>
              <a:gd name="connsiteX54-40083" fmla="*/ 10227440 w 10693106"/>
              <a:gd name="connsiteY54-40084" fmla="*/ 3056822 h 5292022"/>
              <a:gd name="connsiteX55-40085" fmla="*/ 10168173 w 10693106"/>
              <a:gd name="connsiteY55-40086" fmla="*/ 3124556 h 5292022"/>
              <a:gd name="connsiteX56-40087" fmla="*/ 10117373 w 10693106"/>
              <a:gd name="connsiteY56-40088" fmla="*/ 3175356 h 5292022"/>
              <a:gd name="connsiteX57-40089" fmla="*/ 10032706 w 10693106"/>
              <a:gd name="connsiteY57-40090" fmla="*/ 3276956 h 5292022"/>
              <a:gd name="connsiteX58-40091" fmla="*/ 9948040 w 10693106"/>
              <a:gd name="connsiteY58-40092" fmla="*/ 3336222 h 5292022"/>
              <a:gd name="connsiteX59-40093" fmla="*/ 9905706 w 10693106"/>
              <a:gd name="connsiteY59-40094" fmla="*/ 3361622 h 5292022"/>
              <a:gd name="connsiteX60-40095" fmla="*/ 9829506 w 10693106"/>
              <a:gd name="connsiteY60-40096" fmla="*/ 3378556 h 5292022"/>
              <a:gd name="connsiteX61-40097" fmla="*/ 9727906 w 10693106"/>
              <a:gd name="connsiteY61-40098" fmla="*/ 3420889 h 5292022"/>
              <a:gd name="connsiteX62-40099" fmla="*/ 9634773 w 10693106"/>
              <a:gd name="connsiteY62-40100" fmla="*/ 3446289 h 5292022"/>
              <a:gd name="connsiteX63-40101" fmla="*/ 9456973 w 10693106"/>
              <a:gd name="connsiteY63-40102" fmla="*/ 3539422 h 5292022"/>
              <a:gd name="connsiteX64-40103" fmla="*/ 9313040 w 10693106"/>
              <a:gd name="connsiteY64-40104" fmla="*/ 3666422 h 5292022"/>
              <a:gd name="connsiteX65-40105" fmla="*/ 9279173 w 10693106"/>
              <a:gd name="connsiteY65-40106" fmla="*/ 3683356 h 5292022"/>
              <a:gd name="connsiteX66-40107" fmla="*/ 9067506 w 10693106"/>
              <a:gd name="connsiteY66-40108" fmla="*/ 3861156 h 5292022"/>
              <a:gd name="connsiteX67-40109" fmla="*/ 8999773 w 10693106"/>
              <a:gd name="connsiteY67-40110" fmla="*/ 3928889 h 5292022"/>
              <a:gd name="connsiteX68-40111" fmla="*/ 8813506 w 10693106"/>
              <a:gd name="connsiteY68-40112" fmla="*/ 4064356 h 5292022"/>
              <a:gd name="connsiteX69-40113" fmla="*/ 8728840 w 10693106"/>
              <a:gd name="connsiteY69-40114" fmla="*/ 4106689 h 5292022"/>
              <a:gd name="connsiteX70-40115" fmla="*/ 8373240 w 10693106"/>
              <a:gd name="connsiteY70-40116" fmla="*/ 4140556 h 5292022"/>
              <a:gd name="connsiteX71-40117" fmla="*/ 7966840 w 10693106"/>
              <a:gd name="connsiteY71-40118" fmla="*/ 4233689 h 5292022"/>
              <a:gd name="connsiteX72-40119" fmla="*/ 7687440 w 10693106"/>
              <a:gd name="connsiteY72-40120" fmla="*/ 4394556 h 5292022"/>
              <a:gd name="connsiteX73-40121" fmla="*/ 7374173 w 10693106"/>
              <a:gd name="connsiteY73-40122" fmla="*/ 4657022 h 5292022"/>
              <a:gd name="connsiteX74-40123" fmla="*/ 7374173 w 10693106"/>
              <a:gd name="connsiteY74-40124" fmla="*/ 4657022 h 5292022"/>
              <a:gd name="connsiteX75-40125" fmla="*/ 7221773 w 10693106"/>
              <a:gd name="connsiteY75-40126" fmla="*/ 4775556 h 5292022"/>
              <a:gd name="connsiteX76-40127" fmla="*/ 7027040 w 10693106"/>
              <a:gd name="connsiteY76-40128" fmla="*/ 4902556 h 5292022"/>
              <a:gd name="connsiteX77-40129" fmla="*/ 6883106 w 10693106"/>
              <a:gd name="connsiteY77-40130" fmla="*/ 4970289 h 5292022"/>
              <a:gd name="connsiteX78-40131" fmla="*/ 6815373 w 10693106"/>
              <a:gd name="connsiteY78-40132" fmla="*/ 5012622 h 5292022"/>
              <a:gd name="connsiteX79-40133" fmla="*/ 6646040 w 10693106"/>
              <a:gd name="connsiteY79-40134" fmla="*/ 5105756 h 5292022"/>
              <a:gd name="connsiteX80-40135" fmla="*/ 6527506 w 10693106"/>
              <a:gd name="connsiteY80-40136" fmla="*/ 5165022 h 5292022"/>
              <a:gd name="connsiteX81-40137" fmla="*/ 6298906 w 10693106"/>
              <a:gd name="connsiteY81-40138" fmla="*/ 5241222 h 5292022"/>
              <a:gd name="connsiteX82-40139" fmla="*/ 6197306 w 10693106"/>
              <a:gd name="connsiteY82-40140" fmla="*/ 5266622 h 5292022"/>
              <a:gd name="connsiteX83-40141" fmla="*/ 6061840 w 10693106"/>
              <a:gd name="connsiteY83-40142" fmla="*/ 5275089 h 5292022"/>
              <a:gd name="connsiteX84-40143" fmla="*/ 5917906 w 10693106"/>
              <a:gd name="connsiteY84-40144" fmla="*/ 5292022 h 5292022"/>
              <a:gd name="connsiteX85-40145" fmla="*/ 5748573 w 10693106"/>
              <a:gd name="connsiteY85-40146" fmla="*/ 5283556 h 5292022"/>
              <a:gd name="connsiteX86-40147" fmla="*/ 5282906 w 10693106"/>
              <a:gd name="connsiteY86-40148" fmla="*/ 5173489 h 5292022"/>
              <a:gd name="connsiteX87-40149" fmla="*/ 4959480 w 10693106"/>
              <a:gd name="connsiteY87-40150" fmla="*/ 4988069 h 5292022"/>
              <a:gd name="connsiteX88-40151" fmla="*/ 4686853 w 10693106"/>
              <a:gd name="connsiteY88-40152" fmla="*/ 4788256 h 5292022"/>
              <a:gd name="connsiteX89-40153" fmla="*/ 3977346 w 10693106"/>
              <a:gd name="connsiteY89-40154" fmla="*/ 4470544 h 5292022"/>
              <a:gd name="connsiteX90-40155" fmla="*/ 3741550 w 10693106"/>
              <a:gd name="connsiteY90-40156" fmla="*/ 4154102 h 5292022"/>
              <a:gd name="connsiteX91-40157" fmla="*/ 3562056 w 10693106"/>
              <a:gd name="connsiteY91-40158" fmla="*/ 3406919 h 5292022"/>
              <a:gd name="connsiteX92-40159" fmla="*/ 3242440 w 10693106"/>
              <a:gd name="connsiteY92-40160" fmla="*/ 3099156 h 5292022"/>
              <a:gd name="connsiteX93-40161" fmla="*/ 3123906 w 10693106"/>
              <a:gd name="connsiteY93-40162" fmla="*/ 2997556 h 5292022"/>
              <a:gd name="connsiteX94-40163" fmla="*/ 2988440 w 10693106"/>
              <a:gd name="connsiteY94-40164" fmla="*/ 2802822 h 5292022"/>
              <a:gd name="connsiteX95-40165" fmla="*/ 2971506 w 10693106"/>
              <a:gd name="connsiteY95-40166" fmla="*/ 2743556 h 5292022"/>
              <a:gd name="connsiteX96-40167" fmla="*/ 2996906 w 10693106"/>
              <a:gd name="connsiteY96-40168" fmla="*/ 2531889 h 5292022"/>
              <a:gd name="connsiteX97-40169" fmla="*/ 3013840 w 10693106"/>
              <a:gd name="connsiteY97-40170" fmla="*/ 2430289 h 5292022"/>
              <a:gd name="connsiteX98-40171" fmla="*/ 3005373 w 10693106"/>
              <a:gd name="connsiteY98-40172" fmla="*/ 2311756 h 5292022"/>
              <a:gd name="connsiteX99-40173" fmla="*/ 2988440 w 10693106"/>
              <a:gd name="connsiteY99-40174" fmla="*/ 2260956 h 5292022"/>
              <a:gd name="connsiteX100-40175" fmla="*/ 2802173 w 10693106"/>
              <a:gd name="connsiteY100-40176" fmla="*/ 2006956 h 5292022"/>
              <a:gd name="connsiteX101-40177" fmla="*/ 2641306 w 10693106"/>
              <a:gd name="connsiteY101-40178" fmla="*/ 1863022 h 5292022"/>
              <a:gd name="connsiteX102-40179" fmla="*/ 2590506 w 10693106"/>
              <a:gd name="connsiteY102-40180" fmla="*/ 1837622 h 5292022"/>
              <a:gd name="connsiteX103-40181" fmla="*/ 2531240 w 10693106"/>
              <a:gd name="connsiteY103-40182" fmla="*/ 1829156 h 5292022"/>
              <a:gd name="connsiteX104-40183" fmla="*/ 2446573 w 10693106"/>
              <a:gd name="connsiteY104-40184" fmla="*/ 1812222 h 5292022"/>
              <a:gd name="connsiteX105-40185" fmla="*/ 2251840 w 10693106"/>
              <a:gd name="connsiteY105-40186" fmla="*/ 1837622 h 5292022"/>
              <a:gd name="connsiteX106-40187" fmla="*/ 2167173 w 10693106"/>
              <a:gd name="connsiteY106-40188" fmla="*/ 1879956 h 5292022"/>
              <a:gd name="connsiteX107-40189" fmla="*/ 1980906 w 10693106"/>
              <a:gd name="connsiteY107-40190" fmla="*/ 1939222 h 5292022"/>
              <a:gd name="connsiteX108-40191" fmla="*/ 1904706 w 10693106"/>
              <a:gd name="connsiteY108-40192" fmla="*/ 1973089 h 5292022"/>
              <a:gd name="connsiteX109-40193" fmla="*/ 1828506 w 10693106"/>
              <a:gd name="connsiteY109-40194" fmla="*/ 1990022 h 5292022"/>
              <a:gd name="connsiteX110-40195" fmla="*/ 1726906 w 10693106"/>
              <a:gd name="connsiteY110-40196" fmla="*/ 2040822 h 5292022"/>
              <a:gd name="connsiteX111-40197" fmla="*/ 1659173 w 10693106"/>
              <a:gd name="connsiteY111-40198" fmla="*/ 2074689 h 5292022"/>
              <a:gd name="connsiteX112-40199" fmla="*/ 1498306 w 10693106"/>
              <a:gd name="connsiteY112-40200" fmla="*/ 2100089 h 5292022"/>
              <a:gd name="connsiteX113-40201" fmla="*/ 914106 w 10693106"/>
              <a:gd name="connsiteY113-40202" fmla="*/ 2032356 h 5292022"/>
              <a:gd name="connsiteX114-40203" fmla="*/ 617773 w 10693106"/>
              <a:gd name="connsiteY114-40204" fmla="*/ 1922289 h 5292022"/>
              <a:gd name="connsiteX115-40205" fmla="*/ 516173 w 10693106"/>
              <a:gd name="connsiteY115-40206" fmla="*/ 1837622 h 5292022"/>
              <a:gd name="connsiteX116-40207" fmla="*/ 355306 w 10693106"/>
              <a:gd name="connsiteY116-40208" fmla="*/ 1625956 h 5292022"/>
              <a:gd name="connsiteX117-40209" fmla="*/ 296040 w 10693106"/>
              <a:gd name="connsiteY117-40210" fmla="*/ 1524356 h 5292022"/>
              <a:gd name="connsiteX118-40211" fmla="*/ 253706 w 10693106"/>
              <a:gd name="connsiteY118-40212" fmla="*/ 1346556 h 5292022"/>
              <a:gd name="connsiteX119-40213" fmla="*/ 245240 w 10693106"/>
              <a:gd name="connsiteY119-40214" fmla="*/ 1219556 h 5292022"/>
              <a:gd name="connsiteX120-40215" fmla="*/ 236773 w 10693106"/>
              <a:gd name="connsiteY120-40216" fmla="*/ 1117956 h 5292022"/>
              <a:gd name="connsiteX121-40217" fmla="*/ 245240 w 10693106"/>
              <a:gd name="connsiteY121-40218" fmla="*/ 847022 h 5292022"/>
              <a:gd name="connsiteX122-40219" fmla="*/ 236773 w 10693106"/>
              <a:gd name="connsiteY122-40220" fmla="*/ 703089 h 5292022"/>
              <a:gd name="connsiteX123-40221" fmla="*/ 109773 w 10693106"/>
              <a:gd name="connsiteY123-40222" fmla="*/ 559156 h 5292022"/>
              <a:gd name="connsiteX124-40223" fmla="*/ 58973 w 10693106"/>
              <a:gd name="connsiteY124-40224" fmla="*/ 482956 h 5292022"/>
              <a:gd name="connsiteX125-40225" fmla="*/ 16640 w 10693106"/>
              <a:gd name="connsiteY125-40226" fmla="*/ 432156 h 5292022"/>
              <a:gd name="connsiteX126-40227" fmla="*/ 8173 w 10693106"/>
              <a:gd name="connsiteY126-40228" fmla="*/ 389822 h 5292022"/>
              <a:gd name="connsiteX127-40229" fmla="*/ 16640 w 10693106"/>
              <a:gd name="connsiteY127-40230" fmla="*/ 339022 h 5292022"/>
              <a:gd name="connsiteX0-40231" fmla="*/ 16640 w 10693106"/>
              <a:gd name="connsiteY0-40232" fmla="*/ 339022 h 5292022"/>
              <a:gd name="connsiteX1-40233" fmla="*/ 58973 w 10693106"/>
              <a:gd name="connsiteY1-40234" fmla="*/ 245889 h 5292022"/>
              <a:gd name="connsiteX2-40235" fmla="*/ 109773 w 10693106"/>
              <a:gd name="connsiteY2-40236" fmla="*/ 178156 h 5292022"/>
              <a:gd name="connsiteX3-40237" fmla="*/ 202906 w 10693106"/>
              <a:gd name="connsiteY3-40238" fmla="*/ 93489 h 5292022"/>
              <a:gd name="connsiteX4-40239" fmla="*/ 236773 w 10693106"/>
              <a:gd name="connsiteY4-40240" fmla="*/ 68089 h 5292022"/>
              <a:gd name="connsiteX5-40241" fmla="*/ 335410 w 10693106"/>
              <a:gd name="connsiteY5-40242" fmla="*/ 58352 h 5292022"/>
              <a:gd name="connsiteX6-40243" fmla="*/ 382400 w 10693106"/>
              <a:gd name="connsiteY6-40244" fmla="*/ 51156 h 5292022"/>
              <a:gd name="connsiteX7-40245" fmla="*/ 434912 w 10693106"/>
              <a:gd name="connsiteY7-40246" fmla="*/ 70071 h 5292022"/>
              <a:gd name="connsiteX8-40247" fmla="*/ 492697 w 10693106"/>
              <a:gd name="connsiteY8-40248" fmla="*/ 74247 h 5292022"/>
              <a:gd name="connsiteX9-40249" fmla="*/ 822897 w 10693106"/>
              <a:gd name="connsiteY9-40250" fmla="*/ 82713 h 5292022"/>
              <a:gd name="connsiteX10-40251" fmla="*/ 1091906 w 10693106"/>
              <a:gd name="connsiteY10-40252" fmla="*/ 356 h 5292022"/>
              <a:gd name="connsiteX11-40253" fmla="*/ 1235840 w 10693106"/>
              <a:gd name="connsiteY11-40254" fmla="*/ 59622 h 5292022"/>
              <a:gd name="connsiteX12-40255" fmla="*/ 1337440 w 10693106"/>
              <a:gd name="connsiteY12-40256" fmla="*/ 135822 h 5292022"/>
              <a:gd name="connsiteX13-40257" fmla="*/ 1422106 w 10693106"/>
              <a:gd name="connsiteY13-40258" fmla="*/ 245889 h 5292022"/>
              <a:gd name="connsiteX14-40259" fmla="*/ 1481373 w 10693106"/>
              <a:gd name="connsiteY14-40260" fmla="*/ 313622 h 5292022"/>
              <a:gd name="connsiteX15-40261" fmla="*/ 1532173 w 10693106"/>
              <a:gd name="connsiteY15-40262" fmla="*/ 347489 h 5292022"/>
              <a:gd name="connsiteX16-40263" fmla="*/ 1684573 w 10693106"/>
              <a:gd name="connsiteY16-40264" fmla="*/ 406756 h 5292022"/>
              <a:gd name="connsiteX17-40265" fmla="*/ 1760773 w 10693106"/>
              <a:gd name="connsiteY17-40266" fmla="*/ 423689 h 5292022"/>
              <a:gd name="connsiteX18-40267" fmla="*/ 2404240 w 10693106"/>
              <a:gd name="connsiteY18-40268" fmla="*/ 355956 h 5292022"/>
              <a:gd name="connsiteX19-40269" fmla="*/ 3002294 w 10693106"/>
              <a:gd name="connsiteY19-40270" fmla="*/ 154680 h 5292022"/>
              <a:gd name="connsiteX20-40271" fmla="*/ 3142763 w 10693106"/>
              <a:gd name="connsiteY20-40272" fmla="*/ 110421 h 5292022"/>
              <a:gd name="connsiteX21-40273" fmla="*/ 3398918 w 10693106"/>
              <a:gd name="connsiteY21-40274" fmla="*/ 72322 h 5292022"/>
              <a:gd name="connsiteX22-40275" fmla="*/ 4529373 w 10693106"/>
              <a:gd name="connsiteY22-40276" fmla="*/ 271289 h 5292022"/>
              <a:gd name="connsiteX23-40277" fmla="*/ 5630810 w 10693106"/>
              <a:gd name="connsiteY23-40278" fmla="*/ 1149898 h 5292022"/>
              <a:gd name="connsiteX24-40279" fmla="*/ 6881490 w 10693106"/>
              <a:gd name="connsiteY24-40280" fmla="*/ 1366452 h 5292022"/>
              <a:gd name="connsiteX25-40281" fmla="*/ 7839032 w 10693106"/>
              <a:gd name="connsiteY25-40282" fmla="*/ 1183996 h 5292022"/>
              <a:gd name="connsiteX26-40283" fmla="*/ 8652640 w 10693106"/>
              <a:gd name="connsiteY26-40284" fmla="*/ 677689 h 5292022"/>
              <a:gd name="connsiteX27-40285" fmla="*/ 8982840 w 10693106"/>
              <a:gd name="connsiteY27-40286" fmla="*/ 398289 h 5292022"/>
              <a:gd name="connsiteX28-40287" fmla="*/ 9380773 w 10693106"/>
              <a:gd name="connsiteY28-40288" fmla="*/ 355956 h 5292022"/>
              <a:gd name="connsiteX29-40289" fmla="*/ 9744840 w 10693106"/>
              <a:gd name="connsiteY29-40290" fmla="*/ 466022 h 5292022"/>
              <a:gd name="connsiteX30-40291" fmla="*/ 9888773 w 10693106"/>
              <a:gd name="connsiteY30-40292" fmla="*/ 508356 h 5292022"/>
              <a:gd name="connsiteX31-40293" fmla="*/ 9998840 w 10693106"/>
              <a:gd name="connsiteY31-40294" fmla="*/ 559156 h 5292022"/>
              <a:gd name="connsiteX32-40295" fmla="*/ 10083506 w 10693106"/>
              <a:gd name="connsiteY32-40296" fmla="*/ 618422 h 5292022"/>
              <a:gd name="connsiteX33-40297" fmla="*/ 10286706 w 10693106"/>
              <a:gd name="connsiteY33-40298" fmla="*/ 686156 h 5292022"/>
              <a:gd name="connsiteX34-40299" fmla="*/ 10388306 w 10693106"/>
              <a:gd name="connsiteY34-40300" fmla="*/ 889356 h 5292022"/>
              <a:gd name="connsiteX35-40301" fmla="*/ 10540706 w 10693106"/>
              <a:gd name="connsiteY35-40302" fmla="*/ 1261889 h 5292022"/>
              <a:gd name="connsiteX36-40303" fmla="*/ 10557640 w 10693106"/>
              <a:gd name="connsiteY36-40304" fmla="*/ 1346556 h 5292022"/>
              <a:gd name="connsiteX37-40305" fmla="*/ 10583040 w 10693106"/>
              <a:gd name="connsiteY37-40306" fmla="*/ 1448156 h 5292022"/>
              <a:gd name="connsiteX38-40307" fmla="*/ 10616906 w 10693106"/>
              <a:gd name="connsiteY38-40308" fmla="*/ 1651356 h 5292022"/>
              <a:gd name="connsiteX39-40309" fmla="*/ 10633840 w 10693106"/>
              <a:gd name="connsiteY39-40310" fmla="*/ 1736022 h 5292022"/>
              <a:gd name="connsiteX40-40311" fmla="*/ 10650773 w 10693106"/>
              <a:gd name="connsiteY40-40312" fmla="*/ 1769889 h 5292022"/>
              <a:gd name="connsiteX41-40313" fmla="*/ 10676173 w 10693106"/>
              <a:gd name="connsiteY41-40314" fmla="*/ 1854556 h 5292022"/>
              <a:gd name="connsiteX42-40315" fmla="*/ 10693106 w 10693106"/>
              <a:gd name="connsiteY42-40316" fmla="*/ 2006956 h 5292022"/>
              <a:gd name="connsiteX43-40317" fmla="*/ 10625373 w 10693106"/>
              <a:gd name="connsiteY43-40318" fmla="*/ 2227089 h 5292022"/>
              <a:gd name="connsiteX44-40319" fmla="*/ 10608440 w 10693106"/>
              <a:gd name="connsiteY44-40320" fmla="*/ 2252489 h 5292022"/>
              <a:gd name="connsiteX45-40321" fmla="*/ 10540706 w 10693106"/>
              <a:gd name="connsiteY45-40322" fmla="*/ 2396422 h 5292022"/>
              <a:gd name="connsiteX46-40323" fmla="*/ 10498373 w 10693106"/>
              <a:gd name="connsiteY46-40324" fmla="*/ 2481089 h 5292022"/>
              <a:gd name="connsiteX47-40325" fmla="*/ 10439106 w 10693106"/>
              <a:gd name="connsiteY47-40326" fmla="*/ 2667356 h 5292022"/>
              <a:gd name="connsiteX48-40327" fmla="*/ 10430640 w 10693106"/>
              <a:gd name="connsiteY48-40328" fmla="*/ 2709689 h 5292022"/>
              <a:gd name="connsiteX49-40329" fmla="*/ 10405240 w 10693106"/>
              <a:gd name="connsiteY49-40330" fmla="*/ 2785889 h 5292022"/>
              <a:gd name="connsiteX50-40331" fmla="*/ 10396773 w 10693106"/>
              <a:gd name="connsiteY50-40332" fmla="*/ 2819756 h 5292022"/>
              <a:gd name="connsiteX51-40333" fmla="*/ 10362906 w 10693106"/>
              <a:gd name="connsiteY51-40334" fmla="*/ 2912889 h 5292022"/>
              <a:gd name="connsiteX52-40335" fmla="*/ 10329040 w 10693106"/>
              <a:gd name="connsiteY52-40336" fmla="*/ 2955222 h 5292022"/>
              <a:gd name="connsiteX53-40337" fmla="*/ 10227440 w 10693106"/>
              <a:gd name="connsiteY53-40338" fmla="*/ 3056822 h 5292022"/>
              <a:gd name="connsiteX54-40339" fmla="*/ 10168173 w 10693106"/>
              <a:gd name="connsiteY54-40340" fmla="*/ 3124556 h 5292022"/>
              <a:gd name="connsiteX55-40341" fmla="*/ 10117373 w 10693106"/>
              <a:gd name="connsiteY55-40342" fmla="*/ 3175356 h 5292022"/>
              <a:gd name="connsiteX56-40343" fmla="*/ 10032706 w 10693106"/>
              <a:gd name="connsiteY56-40344" fmla="*/ 3276956 h 5292022"/>
              <a:gd name="connsiteX57-40345" fmla="*/ 9948040 w 10693106"/>
              <a:gd name="connsiteY57-40346" fmla="*/ 3336222 h 5292022"/>
              <a:gd name="connsiteX58-40347" fmla="*/ 9905706 w 10693106"/>
              <a:gd name="connsiteY58-40348" fmla="*/ 3361622 h 5292022"/>
              <a:gd name="connsiteX59-40349" fmla="*/ 9829506 w 10693106"/>
              <a:gd name="connsiteY59-40350" fmla="*/ 3378556 h 5292022"/>
              <a:gd name="connsiteX60-40351" fmla="*/ 9727906 w 10693106"/>
              <a:gd name="connsiteY60-40352" fmla="*/ 3420889 h 5292022"/>
              <a:gd name="connsiteX61-40353" fmla="*/ 9634773 w 10693106"/>
              <a:gd name="connsiteY61-40354" fmla="*/ 3446289 h 5292022"/>
              <a:gd name="connsiteX62-40355" fmla="*/ 9456973 w 10693106"/>
              <a:gd name="connsiteY62-40356" fmla="*/ 3539422 h 5292022"/>
              <a:gd name="connsiteX63-40357" fmla="*/ 9313040 w 10693106"/>
              <a:gd name="connsiteY63-40358" fmla="*/ 3666422 h 5292022"/>
              <a:gd name="connsiteX64-40359" fmla="*/ 9279173 w 10693106"/>
              <a:gd name="connsiteY64-40360" fmla="*/ 3683356 h 5292022"/>
              <a:gd name="connsiteX65-40361" fmla="*/ 9067506 w 10693106"/>
              <a:gd name="connsiteY65-40362" fmla="*/ 3861156 h 5292022"/>
              <a:gd name="connsiteX66-40363" fmla="*/ 8999773 w 10693106"/>
              <a:gd name="connsiteY66-40364" fmla="*/ 3928889 h 5292022"/>
              <a:gd name="connsiteX67-40365" fmla="*/ 8813506 w 10693106"/>
              <a:gd name="connsiteY67-40366" fmla="*/ 4064356 h 5292022"/>
              <a:gd name="connsiteX68-40367" fmla="*/ 8728840 w 10693106"/>
              <a:gd name="connsiteY68-40368" fmla="*/ 4106689 h 5292022"/>
              <a:gd name="connsiteX69-40369" fmla="*/ 8373240 w 10693106"/>
              <a:gd name="connsiteY69-40370" fmla="*/ 4140556 h 5292022"/>
              <a:gd name="connsiteX70-40371" fmla="*/ 7966840 w 10693106"/>
              <a:gd name="connsiteY70-40372" fmla="*/ 4233689 h 5292022"/>
              <a:gd name="connsiteX71-40373" fmla="*/ 7687440 w 10693106"/>
              <a:gd name="connsiteY71-40374" fmla="*/ 4394556 h 5292022"/>
              <a:gd name="connsiteX72-40375" fmla="*/ 7374173 w 10693106"/>
              <a:gd name="connsiteY72-40376" fmla="*/ 4657022 h 5292022"/>
              <a:gd name="connsiteX73-40377" fmla="*/ 7374173 w 10693106"/>
              <a:gd name="connsiteY73-40378" fmla="*/ 4657022 h 5292022"/>
              <a:gd name="connsiteX74-40379" fmla="*/ 7221773 w 10693106"/>
              <a:gd name="connsiteY74-40380" fmla="*/ 4775556 h 5292022"/>
              <a:gd name="connsiteX75-40381" fmla="*/ 7027040 w 10693106"/>
              <a:gd name="connsiteY75-40382" fmla="*/ 4902556 h 5292022"/>
              <a:gd name="connsiteX76-40383" fmla="*/ 6883106 w 10693106"/>
              <a:gd name="connsiteY76-40384" fmla="*/ 4970289 h 5292022"/>
              <a:gd name="connsiteX77-40385" fmla="*/ 6815373 w 10693106"/>
              <a:gd name="connsiteY77-40386" fmla="*/ 5012622 h 5292022"/>
              <a:gd name="connsiteX78-40387" fmla="*/ 6646040 w 10693106"/>
              <a:gd name="connsiteY78-40388" fmla="*/ 5105756 h 5292022"/>
              <a:gd name="connsiteX79-40389" fmla="*/ 6527506 w 10693106"/>
              <a:gd name="connsiteY79-40390" fmla="*/ 5165022 h 5292022"/>
              <a:gd name="connsiteX80-40391" fmla="*/ 6298906 w 10693106"/>
              <a:gd name="connsiteY80-40392" fmla="*/ 5241222 h 5292022"/>
              <a:gd name="connsiteX81-40393" fmla="*/ 6197306 w 10693106"/>
              <a:gd name="connsiteY81-40394" fmla="*/ 5266622 h 5292022"/>
              <a:gd name="connsiteX82-40395" fmla="*/ 6061840 w 10693106"/>
              <a:gd name="connsiteY82-40396" fmla="*/ 5275089 h 5292022"/>
              <a:gd name="connsiteX83-40397" fmla="*/ 5917906 w 10693106"/>
              <a:gd name="connsiteY83-40398" fmla="*/ 5292022 h 5292022"/>
              <a:gd name="connsiteX84-40399" fmla="*/ 5748573 w 10693106"/>
              <a:gd name="connsiteY84-40400" fmla="*/ 5283556 h 5292022"/>
              <a:gd name="connsiteX85-40401" fmla="*/ 5282906 w 10693106"/>
              <a:gd name="connsiteY85-40402" fmla="*/ 5173489 h 5292022"/>
              <a:gd name="connsiteX86-40403" fmla="*/ 4959480 w 10693106"/>
              <a:gd name="connsiteY86-40404" fmla="*/ 4988069 h 5292022"/>
              <a:gd name="connsiteX87-40405" fmla="*/ 4686853 w 10693106"/>
              <a:gd name="connsiteY87-40406" fmla="*/ 4788256 h 5292022"/>
              <a:gd name="connsiteX88-40407" fmla="*/ 3977346 w 10693106"/>
              <a:gd name="connsiteY88-40408" fmla="*/ 4470544 h 5292022"/>
              <a:gd name="connsiteX89-40409" fmla="*/ 3741550 w 10693106"/>
              <a:gd name="connsiteY89-40410" fmla="*/ 4154102 h 5292022"/>
              <a:gd name="connsiteX90-40411" fmla="*/ 3562056 w 10693106"/>
              <a:gd name="connsiteY90-40412" fmla="*/ 3406919 h 5292022"/>
              <a:gd name="connsiteX91-40413" fmla="*/ 3242440 w 10693106"/>
              <a:gd name="connsiteY91-40414" fmla="*/ 3099156 h 5292022"/>
              <a:gd name="connsiteX92-40415" fmla="*/ 3123906 w 10693106"/>
              <a:gd name="connsiteY92-40416" fmla="*/ 2997556 h 5292022"/>
              <a:gd name="connsiteX93-40417" fmla="*/ 2988440 w 10693106"/>
              <a:gd name="connsiteY93-40418" fmla="*/ 2802822 h 5292022"/>
              <a:gd name="connsiteX94-40419" fmla="*/ 2971506 w 10693106"/>
              <a:gd name="connsiteY94-40420" fmla="*/ 2743556 h 5292022"/>
              <a:gd name="connsiteX95-40421" fmla="*/ 2996906 w 10693106"/>
              <a:gd name="connsiteY95-40422" fmla="*/ 2531889 h 5292022"/>
              <a:gd name="connsiteX96-40423" fmla="*/ 3013840 w 10693106"/>
              <a:gd name="connsiteY96-40424" fmla="*/ 2430289 h 5292022"/>
              <a:gd name="connsiteX97-40425" fmla="*/ 3005373 w 10693106"/>
              <a:gd name="connsiteY97-40426" fmla="*/ 2311756 h 5292022"/>
              <a:gd name="connsiteX98-40427" fmla="*/ 2988440 w 10693106"/>
              <a:gd name="connsiteY98-40428" fmla="*/ 2260956 h 5292022"/>
              <a:gd name="connsiteX99-40429" fmla="*/ 2802173 w 10693106"/>
              <a:gd name="connsiteY99-40430" fmla="*/ 2006956 h 5292022"/>
              <a:gd name="connsiteX100-40431" fmla="*/ 2641306 w 10693106"/>
              <a:gd name="connsiteY100-40432" fmla="*/ 1863022 h 5292022"/>
              <a:gd name="connsiteX101-40433" fmla="*/ 2590506 w 10693106"/>
              <a:gd name="connsiteY101-40434" fmla="*/ 1837622 h 5292022"/>
              <a:gd name="connsiteX102-40435" fmla="*/ 2531240 w 10693106"/>
              <a:gd name="connsiteY102-40436" fmla="*/ 1829156 h 5292022"/>
              <a:gd name="connsiteX103-40437" fmla="*/ 2446573 w 10693106"/>
              <a:gd name="connsiteY103-40438" fmla="*/ 1812222 h 5292022"/>
              <a:gd name="connsiteX104-40439" fmla="*/ 2251840 w 10693106"/>
              <a:gd name="connsiteY104-40440" fmla="*/ 1837622 h 5292022"/>
              <a:gd name="connsiteX105-40441" fmla="*/ 2167173 w 10693106"/>
              <a:gd name="connsiteY105-40442" fmla="*/ 1879956 h 5292022"/>
              <a:gd name="connsiteX106-40443" fmla="*/ 1980906 w 10693106"/>
              <a:gd name="connsiteY106-40444" fmla="*/ 1939222 h 5292022"/>
              <a:gd name="connsiteX107-40445" fmla="*/ 1904706 w 10693106"/>
              <a:gd name="connsiteY107-40446" fmla="*/ 1973089 h 5292022"/>
              <a:gd name="connsiteX108-40447" fmla="*/ 1828506 w 10693106"/>
              <a:gd name="connsiteY108-40448" fmla="*/ 1990022 h 5292022"/>
              <a:gd name="connsiteX109-40449" fmla="*/ 1726906 w 10693106"/>
              <a:gd name="connsiteY109-40450" fmla="*/ 2040822 h 5292022"/>
              <a:gd name="connsiteX110-40451" fmla="*/ 1659173 w 10693106"/>
              <a:gd name="connsiteY110-40452" fmla="*/ 2074689 h 5292022"/>
              <a:gd name="connsiteX111-40453" fmla="*/ 1498306 w 10693106"/>
              <a:gd name="connsiteY111-40454" fmla="*/ 2100089 h 5292022"/>
              <a:gd name="connsiteX112-40455" fmla="*/ 914106 w 10693106"/>
              <a:gd name="connsiteY112-40456" fmla="*/ 2032356 h 5292022"/>
              <a:gd name="connsiteX113-40457" fmla="*/ 617773 w 10693106"/>
              <a:gd name="connsiteY113-40458" fmla="*/ 1922289 h 5292022"/>
              <a:gd name="connsiteX114-40459" fmla="*/ 516173 w 10693106"/>
              <a:gd name="connsiteY114-40460" fmla="*/ 1837622 h 5292022"/>
              <a:gd name="connsiteX115-40461" fmla="*/ 355306 w 10693106"/>
              <a:gd name="connsiteY115-40462" fmla="*/ 1625956 h 5292022"/>
              <a:gd name="connsiteX116-40463" fmla="*/ 296040 w 10693106"/>
              <a:gd name="connsiteY116-40464" fmla="*/ 1524356 h 5292022"/>
              <a:gd name="connsiteX117-40465" fmla="*/ 253706 w 10693106"/>
              <a:gd name="connsiteY117-40466" fmla="*/ 1346556 h 5292022"/>
              <a:gd name="connsiteX118-40467" fmla="*/ 245240 w 10693106"/>
              <a:gd name="connsiteY118-40468" fmla="*/ 1219556 h 5292022"/>
              <a:gd name="connsiteX119-40469" fmla="*/ 236773 w 10693106"/>
              <a:gd name="connsiteY119-40470" fmla="*/ 1117956 h 5292022"/>
              <a:gd name="connsiteX120-40471" fmla="*/ 245240 w 10693106"/>
              <a:gd name="connsiteY120-40472" fmla="*/ 847022 h 5292022"/>
              <a:gd name="connsiteX121-40473" fmla="*/ 236773 w 10693106"/>
              <a:gd name="connsiteY121-40474" fmla="*/ 703089 h 5292022"/>
              <a:gd name="connsiteX122-40475" fmla="*/ 109773 w 10693106"/>
              <a:gd name="connsiteY122-40476" fmla="*/ 559156 h 5292022"/>
              <a:gd name="connsiteX123-40477" fmla="*/ 58973 w 10693106"/>
              <a:gd name="connsiteY123-40478" fmla="*/ 482956 h 5292022"/>
              <a:gd name="connsiteX124-40479" fmla="*/ 16640 w 10693106"/>
              <a:gd name="connsiteY124-40480" fmla="*/ 432156 h 5292022"/>
              <a:gd name="connsiteX125-40481" fmla="*/ 8173 w 10693106"/>
              <a:gd name="connsiteY125-40482" fmla="*/ 389822 h 5292022"/>
              <a:gd name="connsiteX126-40483" fmla="*/ 16640 w 10693106"/>
              <a:gd name="connsiteY126-40484" fmla="*/ 339022 h 5292022"/>
              <a:gd name="connsiteX0-40485" fmla="*/ 16640 w 10693106"/>
              <a:gd name="connsiteY0-40486" fmla="*/ 339022 h 5292022"/>
              <a:gd name="connsiteX1-40487" fmla="*/ 58973 w 10693106"/>
              <a:gd name="connsiteY1-40488" fmla="*/ 245889 h 5292022"/>
              <a:gd name="connsiteX2-40489" fmla="*/ 109773 w 10693106"/>
              <a:gd name="connsiteY2-40490" fmla="*/ 178156 h 5292022"/>
              <a:gd name="connsiteX3-40491" fmla="*/ 202906 w 10693106"/>
              <a:gd name="connsiteY3-40492" fmla="*/ 93489 h 5292022"/>
              <a:gd name="connsiteX4-40493" fmla="*/ 236773 w 10693106"/>
              <a:gd name="connsiteY4-40494" fmla="*/ 68089 h 5292022"/>
              <a:gd name="connsiteX5-40495" fmla="*/ 335410 w 10693106"/>
              <a:gd name="connsiteY5-40496" fmla="*/ 58352 h 5292022"/>
              <a:gd name="connsiteX6-40497" fmla="*/ 382400 w 10693106"/>
              <a:gd name="connsiteY6-40498" fmla="*/ 51156 h 5292022"/>
              <a:gd name="connsiteX7-40499" fmla="*/ 434912 w 10693106"/>
              <a:gd name="connsiteY7-40500" fmla="*/ 70071 h 5292022"/>
              <a:gd name="connsiteX8-40501" fmla="*/ 492697 w 10693106"/>
              <a:gd name="connsiteY8-40502" fmla="*/ 74247 h 5292022"/>
              <a:gd name="connsiteX9-40503" fmla="*/ 822897 w 10693106"/>
              <a:gd name="connsiteY9-40504" fmla="*/ 82713 h 5292022"/>
              <a:gd name="connsiteX10-40505" fmla="*/ 1091906 w 10693106"/>
              <a:gd name="connsiteY10-40506" fmla="*/ 356 h 5292022"/>
              <a:gd name="connsiteX11-40507" fmla="*/ 1235840 w 10693106"/>
              <a:gd name="connsiteY11-40508" fmla="*/ 59622 h 5292022"/>
              <a:gd name="connsiteX12-40509" fmla="*/ 1337440 w 10693106"/>
              <a:gd name="connsiteY12-40510" fmla="*/ 135822 h 5292022"/>
              <a:gd name="connsiteX13-40511" fmla="*/ 1422106 w 10693106"/>
              <a:gd name="connsiteY13-40512" fmla="*/ 245889 h 5292022"/>
              <a:gd name="connsiteX14-40513" fmla="*/ 1481373 w 10693106"/>
              <a:gd name="connsiteY14-40514" fmla="*/ 313622 h 5292022"/>
              <a:gd name="connsiteX15-40515" fmla="*/ 1532173 w 10693106"/>
              <a:gd name="connsiteY15-40516" fmla="*/ 347489 h 5292022"/>
              <a:gd name="connsiteX16-40517" fmla="*/ 1684573 w 10693106"/>
              <a:gd name="connsiteY16-40518" fmla="*/ 406756 h 5292022"/>
              <a:gd name="connsiteX17-40519" fmla="*/ 1760773 w 10693106"/>
              <a:gd name="connsiteY17-40520" fmla="*/ 423689 h 5292022"/>
              <a:gd name="connsiteX18-40521" fmla="*/ 2404240 w 10693106"/>
              <a:gd name="connsiteY18-40522" fmla="*/ 355956 h 5292022"/>
              <a:gd name="connsiteX19-40523" fmla="*/ 3002294 w 10693106"/>
              <a:gd name="connsiteY19-40524" fmla="*/ 154680 h 5292022"/>
              <a:gd name="connsiteX20-40525" fmla="*/ 3398918 w 10693106"/>
              <a:gd name="connsiteY20-40526" fmla="*/ 72322 h 5292022"/>
              <a:gd name="connsiteX21-40527" fmla="*/ 4529373 w 10693106"/>
              <a:gd name="connsiteY21-40528" fmla="*/ 271289 h 5292022"/>
              <a:gd name="connsiteX22-40529" fmla="*/ 5630810 w 10693106"/>
              <a:gd name="connsiteY22-40530" fmla="*/ 1149898 h 5292022"/>
              <a:gd name="connsiteX23-40531" fmla="*/ 6881490 w 10693106"/>
              <a:gd name="connsiteY23-40532" fmla="*/ 1366452 h 5292022"/>
              <a:gd name="connsiteX24-40533" fmla="*/ 7839032 w 10693106"/>
              <a:gd name="connsiteY24-40534" fmla="*/ 1183996 h 5292022"/>
              <a:gd name="connsiteX25-40535" fmla="*/ 8652640 w 10693106"/>
              <a:gd name="connsiteY25-40536" fmla="*/ 677689 h 5292022"/>
              <a:gd name="connsiteX26-40537" fmla="*/ 8982840 w 10693106"/>
              <a:gd name="connsiteY26-40538" fmla="*/ 398289 h 5292022"/>
              <a:gd name="connsiteX27-40539" fmla="*/ 9380773 w 10693106"/>
              <a:gd name="connsiteY27-40540" fmla="*/ 355956 h 5292022"/>
              <a:gd name="connsiteX28-40541" fmla="*/ 9744840 w 10693106"/>
              <a:gd name="connsiteY28-40542" fmla="*/ 466022 h 5292022"/>
              <a:gd name="connsiteX29-40543" fmla="*/ 9888773 w 10693106"/>
              <a:gd name="connsiteY29-40544" fmla="*/ 508356 h 5292022"/>
              <a:gd name="connsiteX30-40545" fmla="*/ 9998840 w 10693106"/>
              <a:gd name="connsiteY30-40546" fmla="*/ 559156 h 5292022"/>
              <a:gd name="connsiteX31-40547" fmla="*/ 10083506 w 10693106"/>
              <a:gd name="connsiteY31-40548" fmla="*/ 618422 h 5292022"/>
              <a:gd name="connsiteX32-40549" fmla="*/ 10286706 w 10693106"/>
              <a:gd name="connsiteY32-40550" fmla="*/ 686156 h 5292022"/>
              <a:gd name="connsiteX33-40551" fmla="*/ 10388306 w 10693106"/>
              <a:gd name="connsiteY33-40552" fmla="*/ 889356 h 5292022"/>
              <a:gd name="connsiteX34-40553" fmla="*/ 10540706 w 10693106"/>
              <a:gd name="connsiteY34-40554" fmla="*/ 1261889 h 5292022"/>
              <a:gd name="connsiteX35-40555" fmla="*/ 10557640 w 10693106"/>
              <a:gd name="connsiteY35-40556" fmla="*/ 1346556 h 5292022"/>
              <a:gd name="connsiteX36-40557" fmla="*/ 10583040 w 10693106"/>
              <a:gd name="connsiteY36-40558" fmla="*/ 1448156 h 5292022"/>
              <a:gd name="connsiteX37-40559" fmla="*/ 10616906 w 10693106"/>
              <a:gd name="connsiteY37-40560" fmla="*/ 1651356 h 5292022"/>
              <a:gd name="connsiteX38-40561" fmla="*/ 10633840 w 10693106"/>
              <a:gd name="connsiteY38-40562" fmla="*/ 1736022 h 5292022"/>
              <a:gd name="connsiteX39-40563" fmla="*/ 10650773 w 10693106"/>
              <a:gd name="connsiteY39-40564" fmla="*/ 1769889 h 5292022"/>
              <a:gd name="connsiteX40-40565" fmla="*/ 10676173 w 10693106"/>
              <a:gd name="connsiteY40-40566" fmla="*/ 1854556 h 5292022"/>
              <a:gd name="connsiteX41-40567" fmla="*/ 10693106 w 10693106"/>
              <a:gd name="connsiteY41-40568" fmla="*/ 2006956 h 5292022"/>
              <a:gd name="connsiteX42-40569" fmla="*/ 10625373 w 10693106"/>
              <a:gd name="connsiteY42-40570" fmla="*/ 2227089 h 5292022"/>
              <a:gd name="connsiteX43-40571" fmla="*/ 10608440 w 10693106"/>
              <a:gd name="connsiteY43-40572" fmla="*/ 2252489 h 5292022"/>
              <a:gd name="connsiteX44-40573" fmla="*/ 10540706 w 10693106"/>
              <a:gd name="connsiteY44-40574" fmla="*/ 2396422 h 5292022"/>
              <a:gd name="connsiteX45-40575" fmla="*/ 10498373 w 10693106"/>
              <a:gd name="connsiteY45-40576" fmla="*/ 2481089 h 5292022"/>
              <a:gd name="connsiteX46-40577" fmla="*/ 10439106 w 10693106"/>
              <a:gd name="connsiteY46-40578" fmla="*/ 2667356 h 5292022"/>
              <a:gd name="connsiteX47-40579" fmla="*/ 10430640 w 10693106"/>
              <a:gd name="connsiteY47-40580" fmla="*/ 2709689 h 5292022"/>
              <a:gd name="connsiteX48-40581" fmla="*/ 10405240 w 10693106"/>
              <a:gd name="connsiteY48-40582" fmla="*/ 2785889 h 5292022"/>
              <a:gd name="connsiteX49-40583" fmla="*/ 10396773 w 10693106"/>
              <a:gd name="connsiteY49-40584" fmla="*/ 2819756 h 5292022"/>
              <a:gd name="connsiteX50-40585" fmla="*/ 10362906 w 10693106"/>
              <a:gd name="connsiteY50-40586" fmla="*/ 2912889 h 5292022"/>
              <a:gd name="connsiteX51-40587" fmla="*/ 10329040 w 10693106"/>
              <a:gd name="connsiteY51-40588" fmla="*/ 2955222 h 5292022"/>
              <a:gd name="connsiteX52-40589" fmla="*/ 10227440 w 10693106"/>
              <a:gd name="connsiteY52-40590" fmla="*/ 3056822 h 5292022"/>
              <a:gd name="connsiteX53-40591" fmla="*/ 10168173 w 10693106"/>
              <a:gd name="connsiteY53-40592" fmla="*/ 3124556 h 5292022"/>
              <a:gd name="connsiteX54-40593" fmla="*/ 10117373 w 10693106"/>
              <a:gd name="connsiteY54-40594" fmla="*/ 3175356 h 5292022"/>
              <a:gd name="connsiteX55-40595" fmla="*/ 10032706 w 10693106"/>
              <a:gd name="connsiteY55-40596" fmla="*/ 3276956 h 5292022"/>
              <a:gd name="connsiteX56-40597" fmla="*/ 9948040 w 10693106"/>
              <a:gd name="connsiteY56-40598" fmla="*/ 3336222 h 5292022"/>
              <a:gd name="connsiteX57-40599" fmla="*/ 9905706 w 10693106"/>
              <a:gd name="connsiteY57-40600" fmla="*/ 3361622 h 5292022"/>
              <a:gd name="connsiteX58-40601" fmla="*/ 9829506 w 10693106"/>
              <a:gd name="connsiteY58-40602" fmla="*/ 3378556 h 5292022"/>
              <a:gd name="connsiteX59-40603" fmla="*/ 9727906 w 10693106"/>
              <a:gd name="connsiteY59-40604" fmla="*/ 3420889 h 5292022"/>
              <a:gd name="connsiteX60-40605" fmla="*/ 9634773 w 10693106"/>
              <a:gd name="connsiteY60-40606" fmla="*/ 3446289 h 5292022"/>
              <a:gd name="connsiteX61-40607" fmla="*/ 9456973 w 10693106"/>
              <a:gd name="connsiteY61-40608" fmla="*/ 3539422 h 5292022"/>
              <a:gd name="connsiteX62-40609" fmla="*/ 9313040 w 10693106"/>
              <a:gd name="connsiteY62-40610" fmla="*/ 3666422 h 5292022"/>
              <a:gd name="connsiteX63-40611" fmla="*/ 9279173 w 10693106"/>
              <a:gd name="connsiteY63-40612" fmla="*/ 3683356 h 5292022"/>
              <a:gd name="connsiteX64-40613" fmla="*/ 9067506 w 10693106"/>
              <a:gd name="connsiteY64-40614" fmla="*/ 3861156 h 5292022"/>
              <a:gd name="connsiteX65-40615" fmla="*/ 8999773 w 10693106"/>
              <a:gd name="connsiteY65-40616" fmla="*/ 3928889 h 5292022"/>
              <a:gd name="connsiteX66-40617" fmla="*/ 8813506 w 10693106"/>
              <a:gd name="connsiteY66-40618" fmla="*/ 4064356 h 5292022"/>
              <a:gd name="connsiteX67-40619" fmla="*/ 8728840 w 10693106"/>
              <a:gd name="connsiteY67-40620" fmla="*/ 4106689 h 5292022"/>
              <a:gd name="connsiteX68-40621" fmla="*/ 8373240 w 10693106"/>
              <a:gd name="connsiteY68-40622" fmla="*/ 4140556 h 5292022"/>
              <a:gd name="connsiteX69-40623" fmla="*/ 7966840 w 10693106"/>
              <a:gd name="connsiteY69-40624" fmla="*/ 4233689 h 5292022"/>
              <a:gd name="connsiteX70-40625" fmla="*/ 7687440 w 10693106"/>
              <a:gd name="connsiteY70-40626" fmla="*/ 4394556 h 5292022"/>
              <a:gd name="connsiteX71-40627" fmla="*/ 7374173 w 10693106"/>
              <a:gd name="connsiteY71-40628" fmla="*/ 4657022 h 5292022"/>
              <a:gd name="connsiteX72-40629" fmla="*/ 7374173 w 10693106"/>
              <a:gd name="connsiteY72-40630" fmla="*/ 4657022 h 5292022"/>
              <a:gd name="connsiteX73-40631" fmla="*/ 7221773 w 10693106"/>
              <a:gd name="connsiteY73-40632" fmla="*/ 4775556 h 5292022"/>
              <a:gd name="connsiteX74-40633" fmla="*/ 7027040 w 10693106"/>
              <a:gd name="connsiteY74-40634" fmla="*/ 4902556 h 5292022"/>
              <a:gd name="connsiteX75-40635" fmla="*/ 6883106 w 10693106"/>
              <a:gd name="connsiteY75-40636" fmla="*/ 4970289 h 5292022"/>
              <a:gd name="connsiteX76-40637" fmla="*/ 6815373 w 10693106"/>
              <a:gd name="connsiteY76-40638" fmla="*/ 5012622 h 5292022"/>
              <a:gd name="connsiteX77-40639" fmla="*/ 6646040 w 10693106"/>
              <a:gd name="connsiteY77-40640" fmla="*/ 5105756 h 5292022"/>
              <a:gd name="connsiteX78-40641" fmla="*/ 6527506 w 10693106"/>
              <a:gd name="connsiteY78-40642" fmla="*/ 5165022 h 5292022"/>
              <a:gd name="connsiteX79-40643" fmla="*/ 6298906 w 10693106"/>
              <a:gd name="connsiteY79-40644" fmla="*/ 5241222 h 5292022"/>
              <a:gd name="connsiteX80-40645" fmla="*/ 6197306 w 10693106"/>
              <a:gd name="connsiteY80-40646" fmla="*/ 5266622 h 5292022"/>
              <a:gd name="connsiteX81-40647" fmla="*/ 6061840 w 10693106"/>
              <a:gd name="connsiteY81-40648" fmla="*/ 5275089 h 5292022"/>
              <a:gd name="connsiteX82-40649" fmla="*/ 5917906 w 10693106"/>
              <a:gd name="connsiteY82-40650" fmla="*/ 5292022 h 5292022"/>
              <a:gd name="connsiteX83-40651" fmla="*/ 5748573 w 10693106"/>
              <a:gd name="connsiteY83-40652" fmla="*/ 5283556 h 5292022"/>
              <a:gd name="connsiteX84-40653" fmla="*/ 5282906 w 10693106"/>
              <a:gd name="connsiteY84-40654" fmla="*/ 5173489 h 5292022"/>
              <a:gd name="connsiteX85-40655" fmla="*/ 4959480 w 10693106"/>
              <a:gd name="connsiteY85-40656" fmla="*/ 4988069 h 5292022"/>
              <a:gd name="connsiteX86-40657" fmla="*/ 4686853 w 10693106"/>
              <a:gd name="connsiteY86-40658" fmla="*/ 4788256 h 5292022"/>
              <a:gd name="connsiteX87-40659" fmla="*/ 3977346 w 10693106"/>
              <a:gd name="connsiteY87-40660" fmla="*/ 4470544 h 5292022"/>
              <a:gd name="connsiteX88-40661" fmla="*/ 3741550 w 10693106"/>
              <a:gd name="connsiteY88-40662" fmla="*/ 4154102 h 5292022"/>
              <a:gd name="connsiteX89-40663" fmla="*/ 3562056 w 10693106"/>
              <a:gd name="connsiteY89-40664" fmla="*/ 3406919 h 5292022"/>
              <a:gd name="connsiteX90-40665" fmla="*/ 3242440 w 10693106"/>
              <a:gd name="connsiteY90-40666" fmla="*/ 3099156 h 5292022"/>
              <a:gd name="connsiteX91-40667" fmla="*/ 3123906 w 10693106"/>
              <a:gd name="connsiteY91-40668" fmla="*/ 2997556 h 5292022"/>
              <a:gd name="connsiteX92-40669" fmla="*/ 2988440 w 10693106"/>
              <a:gd name="connsiteY92-40670" fmla="*/ 2802822 h 5292022"/>
              <a:gd name="connsiteX93-40671" fmla="*/ 2971506 w 10693106"/>
              <a:gd name="connsiteY93-40672" fmla="*/ 2743556 h 5292022"/>
              <a:gd name="connsiteX94-40673" fmla="*/ 2996906 w 10693106"/>
              <a:gd name="connsiteY94-40674" fmla="*/ 2531889 h 5292022"/>
              <a:gd name="connsiteX95-40675" fmla="*/ 3013840 w 10693106"/>
              <a:gd name="connsiteY95-40676" fmla="*/ 2430289 h 5292022"/>
              <a:gd name="connsiteX96-40677" fmla="*/ 3005373 w 10693106"/>
              <a:gd name="connsiteY96-40678" fmla="*/ 2311756 h 5292022"/>
              <a:gd name="connsiteX97-40679" fmla="*/ 2988440 w 10693106"/>
              <a:gd name="connsiteY97-40680" fmla="*/ 2260956 h 5292022"/>
              <a:gd name="connsiteX98-40681" fmla="*/ 2802173 w 10693106"/>
              <a:gd name="connsiteY98-40682" fmla="*/ 2006956 h 5292022"/>
              <a:gd name="connsiteX99-40683" fmla="*/ 2641306 w 10693106"/>
              <a:gd name="connsiteY99-40684" fmla="*/ 1863022 h 5292022"/>
              <a:gd name="connsiteX100-40685" fmla="*/ 2590506 w 10693106"/>
              <a:gd name="connsiteY100-40686" fmla="*/ 1837622 h 5292022"/>
              <a:gd name="connsiteX101-40687" fmla="*/ 2531240 w 10693106"/>
              <a:gd name="connsiteY101-40688" fmla="*/ 1829156 h 5292022"/>
              <a:gd name="connsiteX102-40689" fmla="*/ 2446573 w 10693106"/>
              <a:gd name="connsiteY102-40690" fmla="*/ 1812222 h 5292022"/>
              <a:gd name="connsiteX103-40691" fmla="*/ 2251840 w 10693106"/>
              <a:gd name="connsiteY103-40692" fmla="*/ 1837622 h 5292022"/>
              <a:gd name="connsiteX104-40693" fmla="*/ 2167173 w 10693106"/>
              <a:gd name="connsiteY104-40694" fmla="*/ 1879956 h 5292022"/>
              <a:gd name="connsiteX105-40695" fmla="*/ 1980906 w 10693106"/>
              <a:gd name="connsiteY105-40696" fmla="*/ 1939222 h 5292022"/>
              <a:gd name="connsiteX106-40697" fmla="*/ 1904706 w 10693106"/>
              <a:gd name="connsiteY106-40698" fmla="*/ 1973089 h 5292022"/>
              <a:gd name="connsiteX107-40699" fmla="*/ 1828506 w 10693106"/>
              <a:gd name="connsiteY107-40700" fmla="*/ 1990022 h 5292022"/>
              <a:gd name="connsiteX108-40701" fmla="*/ 1726906 w 10693106"/>
              <a:gd name="connsiteY108-40702" fmla="*/ 2040822 h 5292022"/>
              <a:gd name="connsiteX109-40703" fmla="*/ 1659173 w 10693106"/>
              <a:gd name="connsiteY109-40704" fmla="*/ 2074689 h 5292022"/>
              <a:gd name="connsiteX110-40705" fmla="*/ 1498306 w 10693106"/>
              <a:gd name="connsiteY110-40706" fmla="*/ 2100089 h 5292022"/>
              <a:gd name="connsiteX111-40707" fmla="*/ 914106 w 10693106"/>
              <a:gd name="connsiteY111-40708" fmla="*/ 2032356 h 5292022"/>
              <a:gd name="connsiteX112-40709" fmla="*/ 617773 w 10693106"/>
              <a:gd name="connsiteY112-40710" fmla="*/ 1922289 h 5292022"/>
              <a:gd name="connsiteX113-40711" fmla="*/ 516173 w 10693106"/>
              <a:gd name="connsiteY113-40712" fmla="*/ 1837622 h 5292022"/>
              <a:gd name="connsiteX114-40713" fmla="*/ 355306 w 10693106"/>
              <a:gd name="connsiteY114-40714" fmla="*/ 1625956 h 5292022"/>
              <a:gd name="connsiteX115-40715" fmla="*/ 296040 w 10693106"/>
              <a:gd name="connsiteY115-40716" fmla="*/ 1524356 h 5292022"/>
              <a:gd name="connsiteX116-40717" fmla="*/ 253706 w 10693106"/>
              <a:gd name="connsiteY116-40718" fmla="*/ 1346556 h 5292022"/>
              <a:gd name="connsiteX117-40719" fmla="*/ 245240 w 10693106"/>
              <a:gd name="connsiteY117-40720" fmla="*/ 1219556 h 5292022"/>
              <a:gd name="connsiteX118-40721" fmla="*/ 236773 w 10693106"/>
              <a:gd name="connsiteY118-40722" fmla="*/ 1117956 h 5292022"/>
              <a:gd name="connsiteX119-40723" fmla="*/ 245240 w 10693106"/>
              <a:gd name="connsiteY119-40724" fmla="*/ 847022 h 5292022"/>
              <a:gd name="connsiteX120-40725" fmla="*/ 236773 w 10693106"/>
              <a:gd name="connsiteY120-40726" fmla="*/ 703089 h 5292022"/>
              <a:gd name="connsiteX121-40727" fmla="*/ 109773 w 10693106"/>
              <a:gd name="connsiteY121-40728" fmla="*/ 559156 h 5292022"/>
              <a:gd name="connsiteX122-40729" fmla="*/ 58973 w 10693106"/>
              <a:gd name="connsiteY122-40730" fmla="*/ 482956 h 5292022"/>
              <a:gd name="connsiteX123-40731" fmla="*/ 16640 w 10693106"/>
              <a:gd name="connsiteY123-40732" fmla="*/ 432156 h 5292022"/>
              <a:gd name="connsiteX124-40733" fmla="*/ 8173 w 10693106"/>
              <a:gd name="connsiteY124-40734" fmla="*/ 389822 h 5292022"/>
              <a:gd name="connsiteX125-40735" fmla="*/ 16640 w 10693106"/>
              <a:gd name="connsiteY125-40736" fmla="*/ 339022 h 5292022"/>
              <a:gd name="connsiteX0-40737" fmla="*/ 16640 w 10693106"/>
              <a:gd name="connsiteY0-40738" fmla="*/ 339022 h 5292022"/>
              <a:gd name="connsiteX1-40739" fmla="*/ 58973 w 10693106"/>
              <a:gd name="connsiteY1-40740" fmla="*/ 245889 h 5292022"/>
              <a:gd name="connsiteX2-40741" fmla="*/ 109773 w 10693106"/>
              <a:gd name="connsiteY2-40742" fmla="*/ 178156 h 5292022"/>
              <a:gd name="connsiteX3-40743" fmla="*/ 202906 w 10693106"/>
              <a:gd name="connsiteY3-40744" fmla="*/ 93489 h 5292022"/>
              <a:gd name="connsiteX4-40745" fmla="*/ 236773 w 10693106"/>
              <a:gd name="connsiteY4-40746" fmla="*/ 68089 h 5292022"/>
              <a:gd name="connsiteX5-40747" fmla="*/ 335410 w 10693106"/>
              <a:gd name="connsiteY5-40748" fmla="*/ 58352 h 5292022"/>
              <a:gd name="connsiteX6-40749" fmla="*/ 382400 w 10693106"/>
              <a:gd name="connsiteY6-40750" fmla="*/ 51156 h 5292022"/>
              <a:gd name="connsiteX7-40751" fmla="*/ 434912 w 10693106"/>
              <a:gd name="connsiteY7-40752" fmla="*/ 70071 h 5292022"/>
              <a:gd name="connsiteX8-40753" fmla="*/ 492697 w 10693106"/>
              <a:gd name="connsiteY8-40754" fmla="*/ 74247 h 5292022"/>
              <a:gd name="connsiteX9-40755" fmla="*/ 822897 w 10693106"/>
              <a:gd name="connsiteY9-40756" fmla="*/ 82713 h 5292022"/>
              <a:gd name="connsiteX10-40757" fmla="*/ 1091906 w 10693106"/>
              <a:gd name="connsiteY10-40758" fmla="*/ 356 h 5292022"/>
              <a:gd name="connsiteX11-40759" fmla="*/ 1235840 w 10693106"/>
              <a:gd name="connsiteY11-40760" fmla="*/ 59622 h 5292022"/>
              <a:gd name="connsiteX12-40761" fmla="*/ 1337440 w 10693106"/>
              <a:gd name="connsiteY12-40762" fmla="*/ 135822 h 5292022"/>
              <a:gd name="connsiteX13-40763" fmla="*/ 1422106 w 10693106"/>
              <a:gd name="connsiteY13-40764" fmla="*/ 245889 h 5292022"/>
              <a:gd name="connsiteX14-40765" fmla="*/ 1481373 w 10693106"/>
              <a:gd name="connsiteY14-40766" fmla="*/ 313622 h 5292022"/>
              <a:gd name="connsiteX15-40767" fmla="*/ 1532173 w 10693106"/>
              <a:gd name="connsiteY15-40768" fmla="*/ 347489 h 5292022"/>
              <a:gd name="connsiteX16-40769" fmla="*/ 1684573 w 10693106"/>
              <a:gd name="connsiteY16-40770" fmla="*/ 406756 h 5292022"/>
              <a:gd name="connsiteX17-40771" fmla="*/ 1760773 w 10693106"/>
              <a:gd name="connsiteY17-40772" fmla="*/ 423689 h 5292022"/>
              <a:gd name="connsiteX18-40773" fmla="*/ 2404240 w 10693106"/>
              <a:gd name="connsiteY18-40774" fmla="*/ 355956 h 5292022"/>
              <a:gd name="connsiteX19-40775" fmla="*/ 3398918 w 10693106"/>
              <a:gd name="connsiteY19-40776" fmla="*/ 72322 h 5292022"/>
              <a:gd name="connsiteX20-40777" fmla="*/ 4529373 w 10693106"/>
              <a:gd name="connsiteY20-40778" fmla="*/ 271289 h 5292022"/>
              <a:gd name="connsiteX21-40779" fmla="*/ 5630810 w 10693106"/>
              <a:gd name="connsiteY21-40780" fmla="*/ 1149898 h 5292022"/>
              <a:gd name="connsiteX22-40781" fmla="*/ 6881490 w 10693106"/>
              <a:gd name="connsiteY22-40782" fmla="*/ 1366452 h 5292022"/>
              <a:gd name="connsiteX23-40783" fmla="*/ 7839032 w 10693106"/>
              <a:gd name="connsiteY23-40784" fmla="*/ 1183996 h 5292022"/>
              <a:gd name="connsiteX24-40785" fmla="*/ 8652640 w 10693106"/>
              <a:gd name="connsiteY24-40786" fmla="*/ 677689 h 5292022"/>
              <a:gd name="connsiteX25-40787" fmla="*/ 8982840 w 10693106"/>
              <a:gd name="connsiteY25-40788" fmla="*/ 398289 h 5292022"/>
              <a:gd name="connsiteX26-40789" fmla="*/ 9380773 w 10693106"/>
              <a:gd name="connsiteY26-40790" fmla="*/ 355956 h 5292022"/>
              <a:gd name="connsiteX27-40791" fmla="*/ 9744840 w 10693106"/>
              <a:gd name="connsiteY27-40792" fmla="*/ 466022 h 5292022"/>
              <a:gd name="connsiteX28-40793" fmla="*/ 9888773 w 10693106"/>
              <a:gd name="connsiteY28-40794" fmla="*/ 508356 h 5292022"/>
              <a:gd name="connsiteX29-40795" fmla="*/ 9998840 w 10693106"/>
              <a:gd name="connsiteY29-40796" fmla="*/ 559156 h 5292022"/>
              <a:gd name="connsiteX30-40797" fmla="*/ 10083506 w 10693106"/>
              <a:gd name="connsiteY30-40798" fmla="*/ 618422 h 5292022"/>
              <a:gd name="connsiteX31-40799" fmla="*/ 10286706 w 10693106"/>
              <a:gd name="connsiteY31-40800" fmla="*/ 686156 h 5292022"/>
              <a:gd name="connsiteX32-40801" fmla="*/ 10388306 w 10693106"/>
              <a:gd name="connsiteY32-40802" fmla="*/ 889356 h 5292022"/>
              <a:gd name="connsiteX33-40803" fmla="*/ 10540706 w 10693106"/>
              <a:gd name="connsiteY33-40804" fmla="*/ 1261889 h 5292022"/>
              <a:gd name="connsiteX34-40805" fmla="*/ 10557640 w 10693106"/>
              <a:gd name="connsiteY34-40806" fmla="*/ 1346556 h 5292022"/>
              <a:gd name="connsiteX35-40807" fmla="*/ 10583040 w 10693106"/>
              <a:gd name="connsiteY35-40808" fmla="*/ 1448156 h 5292022"/>
              <a:gd name="connsiteX36-40809" fmla="*/ 10616906 w 10693106"/>
              <a:gd name="connsiteY36-40810" fmla="*/ 1651356 h 5292022"/>
              <a:gd name="connsiteX37-40811" fmla="*/ 10633840 w 10693106"/>
              <a:gd name="connsiteY37-40812" fmla="*/ 1736022 h 5292022"/>
              <a:gd name="connsiteX38-40813" fmla="*/ 10650773 w 10693106"/>
              <a:gd name="connsiteY38-40814" fmla="*/ 1769889 h 5292022"/>
              <a:gd name="connsiteX39-40815" fmla="*/ 10676173 w 10693106"/>
              <a:gd name="connsiteY39-40816" fmla="*/ 1854556 h 5292022"/>
              <a:gd name="connsiteX40-40817" fmla="*/ 10693106 w 10693106"/>
              <a:gd name="connsiteY40-40818" fmla="*/ 2006956 h 5292022"/>
              <a:gd name="connsiteX41-40819" fmla="*/ 10625373 w 10693106"/>
              <a:gd name="connsiteY41-40820" fmla="*/ 2227089 h 5292022"/>
              <a:gd name="connsiteX42-40821" fmla="*/ 10608440 w 10693106"/>
              <a:gd name="connsiteY42-40822" fmla="*/ 2252489 h 5292022"/>
              <a:gd name="connsiteX43-40823" fmla="*/ 10540706 w 10693106"/>
              <a:gd name="connsiteY43-40824" fmla="*/ 2396422 h 5292022"/>
              <a:gd name="connsiteX44-40825" fmla="*/ 10498373 w 10693106"/>
              <a:gd name="connsiteY44-40826" fmla="*/ 2481089 h 5292022"/>
              <a:gd name="connsiteX45-40827" fmla="*/ 10439106 w 10693106"/>
              <a:gd name="connsiteY45-40828" fmla="*/ 2667356 h 5292022"/>
              <a:gd name="connsiteX46-40829" fmla="*/ 10430640 w 10693106"/>
              <a:gd name="connsiteY46-40830" fmla="*/ 2709689 h 5292022"/>
              <a:gd name="connsiteX47-40831" fmla="*/ 10405240 w 10693106"/>
              <a:gd name="connsiteY47-40832" fmla="*/ 2785889 h 5292022"/>
              <a:gd name="connsiteX48-40833" fmla="*/ 10396773 w 10693106"/>
              <a:gd name="connsiteY48-40834" fmla="*/ 2819756 h 5292022"/>
              <a:gd name="connsiteX49-40835" fmla="*/ 10362906 w 10693106"/>
              <a:gd name="connsiteY49-40836" fmla="*/ 2912889 h 5292022"/>
              <a:gd name="connsiteX50-40837" fmla="*/ 10329040 w 10693106"/>
              <a:gd name="connsiteY50-40838" fmla="*/ 2955222 h 5292022"/>
              <a:gd name="connsiteX51-40839" fmla="*/ 10227440 w 10693106"/>
              <a:gd name="connsiteY51-40840" fmla="*/ 3056822 h 5292022"/>
              <a:gd name="connsiteX52-40841" fmla="*/ 10168173 w 10693106"/>
              <a:gd name="connsiteY52-40842" fmla="*/ 3124556 h 5292022"/>
              <a:gd name="connsiteX53-40843" fmla="*/ 10117373 w 10693106"/>
              <a:gd name="connsiteY53-40844" fmla="*/ 3175356 h 5292022"/>
              <a:gd name="connsiteX54-40845" fmla="*/ 10032706 w 10693106"/>
              <a:gd name="connsiteY54-40846" fmla="*/ 3276956 h 5292022"/>
              <a:gd name="connsiteX55-40847" fmla="*/ 9948040 w 10693106"/>
              <a:gd name="connsiteY55-40848" fmla="*/ 3336222 h 5292022"/>
              <a:gd name="connsiteX56-40849" fmla="*/ 9905706 w 10693106"/>
              <a:gd name="connsiteY56-40850" fmla="*/ 3361622 h 5292022"/>
              <a:gd name="connsiteX57-40851" fmla="*/ 9829506 w 10693106"/>
              <a:gd name="connsiteY57-40852" fmla="*/ 3378556 h 5292022"/>
              <a:gd name="connsiteX58-40853" fmla="*/ 9727906 w 10693106"/>
              <a:gd name="connsiteY58-40854" fmla="*/ 3420889 h 5292022"/>
              <a:gd name="connsiteX59-40855" fmla="*/ 9634773 w 10693106"/>
              <a:gd name="connsiteY59-40856" fmla="*/ 3446289 h 5292022"/>
              <a:gd name="connsiteX60-40857" fmla="*/ 9456973 w 10693106"/>
              <a:gd name="connsiteY60-40858" fmla="*/ 3539422 h 5292022"/>
              <a:gd name="connsiteX61-40859" fmla="*/ 9313040 w 10693106"/>
              <a:gd name="connsiteY61-40860" fmla="*/ 3666422 h 5292022"/>
              <a:gd name="connsiteX62-40861" fmla="*/ 9279173 w 10693106"/>
              <a:gd name="connsiteY62-40862" fmla="*/ 3683356 h 5292022"/>
              <a:gd name="connsiteX63-40863" fmla="*/ 9067506 w 10693106"/>
              <a:gd name="connsiteY63-40864" fmla="*/ 3861156 h 5292022"/>
              <a:gd name="connsiteX64-40865" fmla="*/ 8999773 w 10693106"/>
              <a:gd name="connsiteY64-40866" fmla="*/ 3928889 h 5292022"/>
              <a:gd name="connsiteX65-40867" fmla="*/ 8813506 w 10693106"/>
              <a:gd name="connsiteY65-40868" fmla="*/ 4064356 h 5292022"/>
              <a:gd name="connsiteX66-40869" fmla="*/ 8728840 w 10693106"/>
              <a:gd name="connsiteY66-40870" fmla="*/ 4106689 h 5292022"/>
              <a:gd name="connsiteX67-40871" fmla="*/ 8373240 w 10693106"/>
              <a:gd name="connsiteY67-40872" fmla="*/ 4140556 h 5292022"/>
              <a:gd name="connsiteX68-40873" fmla="*/ 7966840 w 10693106"/>
              <a:gd name="connsiteY68-40874" fmla="*/ 4233689 h 5292022"/>
              <a:gd name="connsiteX69-40875" fmla="*/ 7687440 w 10693106"/>
              <a:gd name="connsiteY69-40876" fmla="*/ 4394556 h 5292022"/>
              <a:gd name="connsiteX70-40877" fmla="*/ 7374173 w 10693106"/>
              <a:gd name="connsiteY70-40878" fmla="*/ 4657022 h 5292022"/>
              <a:gd name="connsiteX71-40879" fmla="*/ 7374173 w 10693106"/>
              <a:gd name="connsiteY71-40880" fmla="*/ 4657022 h 5292022"/>
              <a:gd name="connsiteX72-40881" fmla="*/ 7221773 w 10693106"/>
              <a:gd name="connsiteY72-40882" fmla="*/ 4775556 h 5292022"/>
              <a:gd name="connsiteX73-40883" fmla="*/ 7027040 w 10693106"/>
              <a:gd name="connsiteY73-40884" fmla="*/ 4902556 h 5292022"/>
              <a:gd name="connsiteX74-40885" fmla="*/ 6883106 w 10693106"/>
              <a:gd name="connsiteY74-40886" fmla="*/ 4970289 h 5292022"/>
              <a:gd name="connsiteX75-40887" fmla="*/ 6815373 w 10693106"/>
              <a:gd name="connsiteY75-40888" fmla="*/ 5012622 h 5292022"/>
              <a:gd name="connsiteX76-40889" fmla="*/ 6646040 w 10693106"/>
              <a:gd name="connsiteY76-40890" fmla="*/ 5105756 h 5292022"/>
              <a:gd name="connsiteX77-40891" fmla="*/ 6527506 w 10693106"/>
              <a:gd name="connsiteY77-40892" fmla="*/ 5165022 h 5292022"/>
              <a:gd name="connsiteX78-40893" fmla="*/ 6298906 w 10693106"/>
              <a:gd name="connsiteY78-40894" fmla="*/ 5241222 h 5292022"/>
              <a:gd name="connsiteX79-40895" fmla="*/ 6197306 w 10693106"/>
              <a:gd name="connsiteY79-40896" fmla="*/ 5266622 h 5292022"/>
              <a:gd name="connsiteX80-40897" fmla="*/ 6061840 w 10693106"/>
              <a:gd name="connsiteY80-40898" fmla="*/ 5275089 h 5292022"/>
              <a:gd name="connsiteX81-40899" fmla="*/ 5917906 w 10693106"/>
              <a:gd name="connsiteY81-40900" fmla="*/ 5292022 h 5292022"/>
              <a:gd name="connsiteX82-40901" fmla="*/ 5748573 w 10693106"/>
              <a:gd name="connsiteY82-40902" fmla="*/ 5283556 h 5292022"/>
              <a:gd name="connsiteX83-40903" fmla="*/ 5282906 w 10693106"/>
              <a:gd name="connsiteY83-40904" fmla="*/ 5173489 h 5292022"/>
              <a:gd name="connsiteX84-40905" fmla="*/ 4959480 w 10693106"/>
              <a:gd name="connsiteY84-40906" fmla="*/ 4988069 h 5292022"/>
              <a:gd name="connsiteX85-40907" fmla="*/ 4686853 w 10693106"/>
              <a:gd name="connsiteY85-40908" fmla="*/ 4788256 h 5292022"/>
              <a:gd name="connsiteX86-40909" fmla="*/ 3977346 w 10693106"/>
              <a:gd name="connsiteY86-40910" fmla="*/ 4470544 h 5292022"/>
              <a:gd name="connsiteX87-40911" fmla="*/ 3741550 w 10693106"/>
              <a:gd name="connsiteY87-40912" fmla="*/ 4154102 h 5292022"/>
              <a:gd name="connsiteX88-40913" fmla="*/ 3562056 w 10693106"/>
              <a:gd name="connsiteY88-40914" fmla="*/ 3406919 h 5292022"/>
              <a:gd name="connsiteX89-40915" fmla="*/ 3242440 w 10693106"/>
              <a:gd name="connsiteY89-40916" fmla="*/ 3099156 h 5292022"/>
              <a:gd name="connsiteX90-40917" fmla="*/ 3123906 w 10693106"/>
              <a:gd name="connsiteY90-40918" fmla="*/ 2997556 h 5292022"/>
              <a:gd name="connsiteX91-40919" fmla="*/ 2988440 w 10693106"/>
              <a:gd name="connsiteY91-40920" fmla="*/ 2802822 h 5292022"/>
              <a:gd name="connsiteX92-40921" fmla="*/ 2971506 w 10693106"/>
              <a:gd name="connsiteY92-40922" fmla="*/ 2743556 h 5292022"/>
              <a:gd name="connsiteX93-40923" fmla="*/ 2996906 w 10693106"/>
              <a:gd name="connsiteY93-40924" fmla="*/ 2531889 h 5292022"/>
              <a:gd name="connsiteX94-40925" fmla="*/ 3013840 w 10693106"/>
              <a:gd name="connsiteY94-40926" fmla="*/ 2430289 h 5292022"/>
              <a:gd name="connsiteX95-40927" fmla="*/ 3005373 w 10693106"/>
              <a:gd name="connsiteY95-40928" fmla="*/ 2311756 h 5292022"/>
              <a:gd name="connsiteX96-40929" fmla="*/ 2988440 w 10693106"/>
              <a:gd name="connsiteY96-40930" fmla="*/ 2260956 h 5292022"/>
              <a:gd name="connsiteX97-40931" fmla="*/ 2802173 w 10693106"/>
              <a:gd name="connsiteY97-40932" fmla="*/ 2006956 h 5292022"/>
              <a:gd name="connsiteX98-40933" fmla="*/ 2641306 w 10693106"/>
              <a:gd name="connsiteY98-40934" fmla="*/ 1863022 h 5292022"/>
              <a:gd name="connsiteX99-40935" fmla="*/ 2590506 w 10693106"/>
              <a:gd name="connsiteY99-40936" fmla="*/ 1837622 h 5292022"/>
              <a:gd name="connsiteX100-40937" fmla="*/ 2531240 w 10693106"/>
              <a:gd name="connsiteY100-40938" fmla="*/ 1829156 h 5292022"/>
              <a:gd name="connsiteX101-40939" fmla="*/ 2446573 w 10693106"/>
              <a:gd name="connsiteY101-40940" fmla="*/ 1812222 h 5292022"/>
              <a:gd name="connsiteX102-40941" fmla="*/ 2251840 w 10693106"/>
              <a:gd name="connsiteY102-40942" fmla="*/ 1837622 h 5292022"/>
              <a:gd name="connsiteX103-40943" fmla="*/ 2167173 w 10693106"/>
              <a:gd name="connsiteY103-40944" fmla="*/ 1879956 h 5292022"/>
              <a:gd name="connsiteX104-40945" fmla="*/ 1980906 w 10693106"/>
              <a:gd name="connsiteY104-40946" fmla="*/ 1939222 h 5292022"/>
              <a:gd name="connsiteX105-40947" fmla="*/ 1904706 w 10693106"/>
              <a:gd name="connsiteY105-40948" fmla="*/ 1973089 h 5292022"/>
              <a:gd name="connsiteX106-40949" fmla="*/ 1828506 w 10693106"/>
              <a:gd name="connsiteY106-40950" fmla="*/ 1990022 h 5292022"/>
              <a:gd name="connsiteX107-40951" fmla="*/ 1726906 w 10693106"/>
              <a:gd name="connsiteY107-40952" fmla="*/ 2040822 h 5292022"/>
              <a:gd name="connsiteX108-40953" fmla="*/ 1659173 w 10693106"/>
              <a:gd name="connsiteY108-40954" fmla="*/ 2074689 h 5292022"/>
              <a:gd name="connsiteX109-40955" fmla="*/ 1498306 w 10693106"/>
              <a:gd name="connsiteY109-40956" fmla="*/ 2100089 h 5292022"/>
              <a:gd name="connsiteX110-40957" fmla="*/ 914106 w 10693106"/>
              <a:gd name="connsiteY110-40958" fmla="*/ 2032356 h 5292022"/>
              <a:gd name="connsiteX111-40959" fmla="*/ 617773 w 10693106"/>
              <a:gd name="connsiteY111-40960" fmla="*/ 1922289 h 5292022"/>
              <a:gd name="connsiteX112-40961" fmla="*/ 516173 w 10693106"/>
              <a:gd name="connsiteY112-40962" fmla="*/ 1837622 h 5292022"/>
              <a:gd name="connsiteX113-40963" fmla="*/ 355306 w 10693106"/>
              <a:gd name="connsiteY113-40964" fmla="*/ 1625956 h 5292022"/>
              <a:gd name="connsiteX114-40965" fmla="*/ 296040 w 10693106"/>
              <a:gd name="connsiteY114-40966" fmla="*/ 1524356 h 5292022"/>
              <a:gd name="connsiteX115-40967" fmla="*/ 253706 w 10693106"/>
              <a:gd name="connsiteY115-40968" fmla="*/ 1346556 h 5292022"/>
              <a:gd name="connsiteX116-40969" fmla="*/ 245240 w 10693106"/>
              <a:gd name="connsiteY116-40970" fmla="*/ 1219556 h 5292022"/>
              <a:gd name="connsiteX117-40971" fmla="*/ 236773 w 10693106"/>
              <a:gd name="connsiteY117-40972" fmla="*/ 1117956 h 5292022"/>
              <a:gd name="connsiteX118-40973" fmla="*/ 245240 w 10693106"/>
              <a:gd name="connsiteY118-40974" fmla="*/ 847022 h 5292022"/>
              <a:gd name="connsiteX119-40975" fmla="*/ 236773 w 10693106"/>
              <a:gd name="connsiteY119-40976" fmla="*/ 703089 h 5292022"/>
              <a:gd name="connsiteX120-40977" fmla="*/ 109773 w 10693106"/>
              <a:gd name="connsiteY120-40978" fmla="*/ 559156 h 5292022"/>
              <a:gd name="connsiteX121-40979" fmla="*/ 58973 w 10693106"/>
              <a:gd name="connsiteY121-40980" fmla="*/ 482956 h 5292022"/>
              <a:gd name="connsiteX122-40981" fmla="*/ 16640 w 10693106"/>
              <a:gd name="connsiteY122-40982" fmla="*/ 432156 h 5292022"/>
              <a:gd name="connsiteX123-40983" fmla="*/ 8173 w 10693106"/>
              <a:gd name="connsiteY123-40984" fmla="*/ 389822 h 5292022"/>
              <a:gd name="connsiteX124-40985" fmla="*/ 16640 w 10693106"/>
              <a:gd name="connsiteY124-40986" fmla="*/ 339022 h 5292022"/>
              <a:gd name="connsiteX0-40987" fmla="*/ 16640 w 10693106"/>
              <a:gd name="connsiteY0-40988" fmla="*/ 339022 h 5292022"/>
              <a:gd name="connsiteX1-40989" fmla="*/ 58973 w 10693106"/>
              <a:gd name="connsiteY1-40990" fmla="*/ 245889 h 5292022"/>
              <a:gd name="connsiteX2-40991" fmla="*/ 109773 w 10693106"/>
              <a:gd name="connsiteY2-40992" fmla="*/ 178156 h 5292022"/>
              <a:gd name="connsiteX3-40993" fmla="*/ 202906 w 10693106"/>
              <a:gd name="connsiteY3-40994" fmla="*/ 93489 h 5292022"/>
              <a:gd name="connsiteX4-40995" fmla="*/ 236773 w 10693106"/>
              <a:gd name="connsiteY4-40996" fmla="*/ 68089 h 5292022"/>
              <a:gd name="connsiteX5-40997" fmla="*/ 335410 w 10693106"/>
              <a:gd name="connsiteY5-40998" fmla="*/ 58352 h 5292022"/>
              <a:gd name="connsiteX6-40999" fmla="*/ 382400 w 10693106"/>
              <a:gd name="connsiteY6-41000" fmla="*/ 51156 h 5292022"/>
              <a:gd name="connsiteX7-41001" fmla="*/ 434912 w 10693106"/>
              <a:gd name="connsiteY7-41002" fmla="*/ 70071 h 5292022"/>
              <a:gd name="connsiteX8-41003" fmla="*/ 492697 w 10693106"/>
              <a:gd name="connsiteY8-41004" fmla="*/ 74247 h 5292022"/>
              <a:gd name="connsiteX9-41005" fmla="*/ 822897 w 10693106"/>
              <a:gd name="connsiteY9-41006" fmla="*/ 82713 h 5292022"/>
              <a:gd name="connsiteX10-41007" fmla="*/ 1091906 w 10693106"/>
              <a:gd name="connsiteY10-41008" fmla="*/ 356 h 5292022"/>
              <a:gd name="connsiteX11-41009" fmla="*/ 1235840 w 10693106"/>
              <a:gd name="connsiteY11-41010" fmla="*/ 59622 h 5292022"/>
              <a:gd name="connsiteX12-41011" fmla="*/ 1337440 w 10693106"/>
              <a:gd name="connsiteY12-41012" fmla="*/ 135822 h 5292022"/>
              <a:gd name="connsiteX13-41013" fmla="*/ 1422106 w 10693106"/>
              <a:gd name="connsiteY13-41014" fmla="*/ 245889 h 5292022"/>
              <a:gd name="connsiteX14-41015" fmla="*/ 1481373 w 10693106"/>
              <a:gd name="connsiteY14-41016" fmla="*/ 313622 h 5292022"/>
              <a:gd name="connsiteX15-41017" fmla="*/ 1532173 w 10693106"/>
              <a:gd name="connsiteY15-41018" fmla="*/ 347489 h 5292022"/>
              <a:gd name="connsiteX16-41019" fmla="*/ 1684573 w 10693106"/>
              <a:gd name="connsiteY16-41020" fmla="*/ 406756 h 5292022"/>
              <a:gd name="connsiteX17-41021" fmla="*/ 1760773 w 10693106"/>
              <a:gd name="connsiteY17-41022" fmla="*/ 423689 h 5292022"/>
              <a:gd name="connsiteX18-41023" fmla="*/ 2404240 w 10693106"/>
              <a:gd name="connsiteY18-41024" fmla="*/ 355956 h 5292022"/>
              <a:gd name="connsiteX19-41025" fmla="*/ 3398918 w 10693106"/>
              <a:gd name="connsiteY19-41026" fmla="*/ 72322 h 5292022"/>
              <a:gd name="connsiteX20-41027" fmla="*/ 4529373 w 10693106"/>
              <a:gd name="connsiteY20-41028" fmla="*/ 271289 h 5292022"/>
              <a:gd name="connsiteX21-41029" fmla="*/ 5630810 w 10693106"/>
              <a:gd name="connsiteY21-41030" fmla="*/ 1149898 h 5292022"/>
              <a:gd name="connsiteX22-41031" fmla="*/ 6881490 w 10693106"/>
              <a:gd name="connsiteY22-41032" fmla="*/ 1366452 h 5292022"/>
              <a:gd name="connsiteX23-41033" fmla="*/ 7839032 w 10693106"/>
              <a:gd name="connsiteY23-41034" fmla="*/ 1183996 h 5292022"/>
              <a:gd name="connsiteX24-41035" fmla="*/ 8652640 w 10693106"/>
              <a:gd name="connsiteY24-41036" fmla="*/ 677689 h 5292022"/>
              <a:gd name="connsiteX25-41037" fmla="*/ 8982840 w 10693106"/>
              <a:gd name="connsiteY25-41038" fmla="*/ 398289 h 5292022"/>
              <a:gd name="connsiteX26-41039" fmla="*/ 9380773 w 10693106"/>
              <a:gd name="connsiteY26-41040" fmla="*/ 355956 h 5292022"/>
              <a:gd name="connsiteX27-41041" fmla="*/ 9744840 w 10693106"/>
              <a:gd name="connsiteY27-41042" fmla="*/ 466022 h 5292022"/>
              <a:gd name="connsiteX28-41043" fmla="*/ 9888773 w 10693106"/>
              <a:gd name="connsiteY28-41044" fmla="*/ 508356 h 5292022"/>
              <a:gd name="connsiteX29-41045" fmla="*/ 9998840 w 10693106"/>
              <a:gd name="connsiteY29-41046" fmla="*/ 559156 h 5292022"/>
              <a:gd name="connsiteX30-41047" fmla="*/ 10083506 w 10693106"/>
              <a:gd name="connsiteY30-41048" fmla="*/ 618422 h 5292022"/>
              <a:gd name="connsiteX31-41049" fmla="*/ 10286706 w 10693106"/>
              <a:gd name="connsiteY31-41050" fmla="*/ 686156 h 5292022"/>
              <a:gd name="connsiteX32-41051" fmla="*/ 10388306 w 10693106"/>
              <a:gd name="connsiteY32-41052" fmla="*/ 889356 h 5292022"/>
              <a:gd name="connsiteX33-41053" fmla="*/ 10540706 w 10693106"/>
              <a:gd name="connsiteY33-41054" fmla="*/ 1261889 h 5292022"/>
              <a:gd name="connsiteX34-41055" fmla="*/ 10557640 w 10693106"/>
              <a:gd name="connsiteY34-41056" fmla="*/ 1346556 h 5292022"/>
              <a:gd name="connsiteX35-41057" fmla="*/ 10583040 w 10693106"/>
              <a:gd name="connsiteY35-41058" fmla="*/ 1448156 h 5292022"/>
              <a:gd name="connsiteX36-41059" fmla="*/ 10616906 w 10693106"/>
              <a:gd name="connsiteY36-41060" fmla="*/ 1651356 h 5292022"/>
              <a:gd name="connsiteX37-41061" fmla="*/ 10633840 w 10693106"/>
              <a:gd name="connsiteY37-41062" fmla="*/ 1736022 h 5292022"/>
              <a:gd name="connsiteX38-41063" fmla="*/ 10650773 w 10693106"/>
              <a:gd name="connsiteY38-41064" fmla="*/ 1769889 h 5292022"/>
              <a:gd name="connsiteX39-41065" fmla="*/ 10676173 w 10693106"/>
              <a:gd name="connsiteY39-41066" fmla="*/ 1854556 h 5292022"/>
              <a:gd name="connsiteX40-41067" fmla="*/ 10693106 w 10693106"/>
              <a:gd name="connsiteY40-41068" fmla="*/ 2006956 h 5292022"/>
              <a:gd name="connsiteX41-41069" fmla="*/ 10625373 w 10693106"/>
              <a:gd name="connsiteY41-41070" fmla="*/ 2227089 h 5292022"/>
              <a:gd name="connsiteX42-41071" fmla="*/ 10608440 w 10693106"/>
              <a:gd name="connsiteY42-41072" fmla="*/ 2252489 h 5292022"/>
              <a:gd name="connsiteX43-41073" fmla="*/ 10540706 w 10693106"/>
              <a:gd name="connsiteY43-41074" fmla="*/ 2396422 h 5292022"/>
              <a:gd name="connsiteX44-41075" fmla="*/ 10498373 w 10693106"/>
              <a:gd name="connsiteY44-41076" fmla="*/ 2481089 h 5292022"/>
              <a:gd name="connsiteX45-41077" fmla="*/ 10439106 w 10693106"/>
              <a:gd name="connsiteY45-41078" fmla="*/ 2667356 h 5292022"/>
              <a:gd name="connsiteX46-41079" fmla="*/ 10430640 w 10693106"/>
              <a:gd name="connsiteY46-41080" fmla="*/ 2709689 h 5292022"/>
              <a:gd name="connsiteX47-41081" fmla="*/ 10405240 w 10693106"/>
              <a:gd name="connsiteY47-41082" fmla="*/ 2785889 h 5292022"/>
              <a:gd name="connsiteX48-41083" fmla="*/ 10396773 w 10693106"/>
              <a:gd name="connsiteY48-41084" fmla="*/ 2819756 h 5292022"/>
              <a:gd name="connsiteX49-41085" fmla="*/ 10362906 w 10693106"/>
              <a:gd name="connsiteY49-41086" fmla="*/ 2912889 h 5292022"/>
              <a:gd name="connsiteX50-41087" fmla="*/ 10329040 w 10693106"/>
              <a:gd name="connsiteY50-41088" fmla="*/ 2955222 h 5292022"/>
              <a:gd name="connsiteX51-41089" fmla="*/ 10227440 w 10693106"/>
              <a:gd name="connsiteY51-41090" fmla="*/ 3056822 h 5292022"/>
              <a:gd name="connsiteX52-41091" fmla="*/ 10168173 w 10693106"/>
              <a:gd name="connsiteY52-41092" fmla="*/ 3124556 h 5292022"/>
              <a:gd name="connsiteX53-41093" fmla="*/ 10117373 w 10693106"/>
              <a:gd name="connsiteY53-41094" fmla="*/ 3175356 h 5292022"/>
              <a:gd name="connsiteX54-41095" fmla="*/ 10032706 w 10693106"/>
              <a:gd name="connsiteY54-41096" fmla="*/ 3276956 h 5292022"/>
              <a:gd name="connsiteX55-41097" fmla="*/ 9948040 w 10693106"/>
              <a:gd name="connsiteY55-41098" fmla="*/ 3336222 h 5292022"/>
              <a:gd name="connsiteX56-41099" fmla="*/ 9905706 w 10693106"/>
              <a:gd name="connsiteY56-41100" fmla="*/ 3361622 h 5292022"/>
              <a:gd name="connsiteX57-41101" fmla="*/ 9829506 w 10693106"/>
              <a:gd name="connsiteY57-41102" fmla="*/ 3378556 h 5292022"/>
              <a:gd name="connsiteX58-41103" fmla="*/ 9727906 w 10693106"/>
              <a:gd name="connsiteY58-41104" fmla="*/ 3420889 h 5292022"/>
              <a:gd name="connsiteX59-41105" fmla="*/ 9634773 w 10693106"/>
              <a:gd name="connsiteY59-41106" fmla="*/ 3446289 h 5292022"/>
              <a:gd name="connsiteX60-41107" fmla="*/ 9456973 w 10693106"/>
              <a:gd name="connsiteY60-41108" fmla="*/ 3539422 h 5292022"/>
              <a:gd name="connsiteX61-41109" fmla="*/ 9313040 w 10693106"/>
              <a:gd name="connsiteY61-41110" fmla="*/ 3666422 h 5292022"/>
              <a:gd name="connsiteX62-41111" fmla="*/ 9067506 w 10693106"/>
              <a:gd name="connsiteY62-41112" fmla="*/ 3861156 h 5292022"/>
              <a:gd name="connsiteX63-41113" fmla="*/ 8999773 w 10693106"/>
              <a:gd name="connsiteY63-41114" fmla="*/ 3928889 h 5292022"/>
              <a:gd name="connsiteX64-41115" fmla="*/ 8813506 w 10693106"/>
              <a:gd name="connsiteY64-41116" fmla="*/ 4064356 h 5292022"/>
              <a:gd name="connsiteX65-41117" fmla="*/ 8728840 w 10693106"/>
              <a:gd name="connsiteY65-41118" fmla="*/ 4106689 h 5292022"/>
              <a:gd name="connsiteX66-41119" fmla="*/ 8373240 w 10693106"/>
              <a:gd name="connsiteY66-41120" fmla="*/ 4140556 h 5292022"/>
              <a:gd name="connsiteX67-41121" fmla="*/ 7966840 w 10693106"/>
              <a:gd name="connsiteY67-41122" fmla="*/ 4233689 h 5292022"/>
              <a:gd name="connsiteX68-41123" fmla="*/ 7687440 w 10693106"/>
              <a:gd name="connsiteY68-41124" fmla="*/ 4394556 h 5292022"/>
              <a:gd name="connsiteX69-41125" fmla="*/ 7374173 w 10693106"/>
              <a:gd name="connsiteY69-41126" fmla="*/ 4657022 h 5292022"/>
              <a:gd name="connsiteX70-41127" fmla="*/ 7374173 w 10693106"/>
              <a:gd name="connsiteY70-41128" fmla="*/ 4657022 h 5292022"/>
              <a:gd name="connsiteX71-41129" fmla="*/ 7221773 w 10693106"/>
              <a:gd name="connsiteY71-41130" fmla="*/ 4775556 h 5292022"/>
              <a:gd name="connsiteX72-41131" fmla="*/ 7027040 w 10693106"/>
              <a:gd name="connsiteY72-41132" fmla="*/ 4902556 h 5292022"/>
              <a:gd name="connsiteX73-41133" fmla="*/ 6883106 w 10693106"/>
              <a:gd name="connsiteY73-41134" fmla="*/ 4970289 h 5292022"/>
              <a:gd name="connsiteX74-41135" fmla="*/ 6815373 w 10693106"/>
              <a:gd name="connsiteY74-41136" fmla="*/ 5012622 h 5292022"/>
              <a:gd name="connsiteX75-41137" fmla="*/ 6646040 w 10693106"/>
              <a:gd name="connsiteY75-41138" fmla="*/ 5105756 h 5292022"/>
              <a:gd name="connsiteX76-41139" fmla="*/ 6527506 w 10693106"/>
              <a:gd name="connsiteY76-41140" fmla="*/ 5165022 h 5292022"/>
              <a:gd name="connsiteX77-41141" fmla="*/ 6298906 w 10693106"/>
              <a:gd name="connsiteY77-41142" fmla="*/ 5241222 h 5292022"/>
              <a:gd name="connsiteX78-41143" fmla="*/ 6197306 w 10693106"/>
              <a:gd name="connsiteY78-41144" fmla="*/ 5266622 h 5292022"/>
              <a:gd name="connsiteX79-41145" fmla="*/ 6061840 w 10693106"/>
              <a:gd name="connsiteY79-41146" fmla="*/ 5275089 h 5292022"/>
              <a:gd name="connsiteX80-41147" fmla="*/ 5917906 w 10693106"/>
              <a:gd name="connsiteY80-41148" fmla="*/ 5292022 h 5292022"/>
              <a:gd name="connsiteX81-41149" fmla="*/ 5748573 w 10693106"/>
              <a:gd name="connsiteY81-41150" fmla="*/ 5283556 h 5292022"/>
              <a:gd name="connsiteX82-41151" fmla="*/ 5282906 w 10693106"/>
              <a:gd name="connsiteY82-41152" fmla="*/ 5173489 h 5292022"/>
              <a:gd name="connsiteX83-41153" fmla="*/ 4959480 w 10693106"/>
              <a:gd name="connsiteY83-41154" fmla="*/ 4988069 h 5292022"/>
              <a:gd name="connsiteX84-41155" fmla="*/ 4686853 w 10693106"/>
              <a:gd name="connsiteY84-41156" fmla="*/ 4788256 h 5292022"/>
              <a:gd name="connsiteX85-41157" fmla="*/ 3977346 w 10693106"/>
              <a:gd name="connsiteY85-41158" fmla="*/ 4470544 h 5292022"/>
              <a:gd name="connsiteX86-41159" fmla="*/ 3741550 w 10693106"/>
              <a:gd name="connsiteY86-41160" fmla="*/ 4154102 h 5292022"/>
              <a:gd name="connsiteX87-41161" fmla="*/ 3562056 w 10693106"/>
              <a:gd name="connsiteY87-41162" fmla="*/ 3406919 h 5292022"/>
              <a:gd name="connsiteX88-41163" fmla="*/ 3242440 w 10693106"/>
              <a:gd name="connsiteY88-41164" fmla="*/ 3099156 h 5292022"/>
              <a:gd name="connsiteX89-41165" fmla="*/ 3123906 w 10693106"/>
              <a:gd name="connsiteY89-41166" fmla="*/ 2997556 h 5292022"/>
              <a:gd name="connsiteX90-41167" fmla="*/ 2988440 w 10693106"/>
              <a:gd name="connsiteY90-41168" fmla="*/ 2802822 h 5292022"/>
              <a:gd name="connsiteX91-41169" fmla="*/ 2971506 w 10693106"/>
              <a:gd name="connsiteY91-41170" fmla="*/ 2743556 h 5292022"/>
              <a:gd name="connsiteX92-41171" fmla="*/ 2996906 w 10693106"/>
              <a:gd name="connsiteY92-41172" fmla="*/ 2531889 h 5292022"/>
              <a:gd name="connsiteX93-41173" fmla="*/ 3013840 w 10693106"/>
              <a:gd name="connsiteY93-41174" fmla="*/ 2430289 h 5292022"/>
              <a:gd name="connsiteX94-41175" fmla="*/ 3005373 w 10693106"/>
              <a:gd name="connsiteY94-41176" fmla="*/ 2311756 h 5292022"/>
              <a:gd name="connsiteX95-41177" fmla="*/ 2988440 w 10693106"/>
              <a:gd name="connsiteY95-41178" fmla="*/ 2260956 h 5292022"/>
              <a:gd name="connsiteX96-41179" fmla="*/ 2802173 w 10693106"/>
              <a:gd name="connsiteY96-41180" fmla="*/ 2006956 h 5292022"/>
              <a:gd name="connsiteX97-41181" fmla="*/ 2641306 w 10693106"/>
              <a:gd name="connsiteY97-41182" fmla="*/ 1863022 h 5292022"/>
              <a:gd name="connsiteX98-41183" fmla="*/ 2590506 w 10693106"/>
              <a:gd name="connsiteY98-41184" fmla="*/ 1837622 h 5292022"/>
              <a:gd name="connsiteX99-41185" fmla="*/ 2531240 w 10693106"/>
              <a:gd name="connsiteY99-41186" fmla="*/ 1829156 h 5292022"/>
              <a:gd name="connsiteX100-41187" fmla="*/ 2446573 w 10693106"/>
              <a:gd name="connsiteY100-41188" fmla="*/ 1812222 h 5292022"/>
              <a:gd name="connsiteX101-41189" fmla="*/ 2251840 w 10693106"/>
              <a:gd name="connsiteY101-41190" fmla="*/ 1837622 h 5292022"/>
              <a:gd name="connsiteX102-41191" fmla="*/ 2167173 w 10693106"/>
              <a:gd name="connsiteY102-41192" fmla="*/ 1879956 h 5292022"/>
              <a:gd name="connsiteX103-41193" fmla="*/ 1980906 w 10693106"/>
              <a:gd name="connsiteY103-41194" fmla="*/ 1939222 h 5292022"/>
              <a:gd name="connsiteX104-41195" fmla="*/ 1904706 w 10693106"/>
              <a:gd name="connsiteY104-41196" fmla="*/ 1973089 h 5292022"/>
              <a:gd name="connsiteX105-41197" fmla="*/ 1828506 w 10693106"/>
              <a:gd name="connsiteY105-41198" fmla="*/ 1990022 h 5292022"/>
              <a:gd name="connsiteX106-41199" fmla="*/ 1726906 w 10693106"/>
              <a:gd name="connsiteY106-41200" fmla="*/ 2040822 h 5292022"/>
              <a:gd name="connsiteX107-41201" fmla="*/ 1659173 w 10693106"/>
              <a:gd name="connsiteY107-41202" fmla="*/ 2074689 h 5292022"/>
              <a:gd name="connsiteX108-41203" fmla="*/ 1498306 w 10693106"/>
              <a:gd name="connsiteY108-41204" fmla="*/ 2100089 h 5292022"/>
              <a:gd name="connsiteX109-41205" fmla="*/ 914106 w 10693106"/>
              <a:gd name="connsiteY109-41206" fmla="*/ 2032356 h 5292022"/>
              <a:gd name="connsiteX110-41207" fmla="*/ 617773 w 10693106"/>
              <a:gd name="connsiteY110-41208" fmla="*/ 1922289 h 5292022"/>
              <a:gd name="connsiteX111-41209" fmla="*/ 516173 w 10693106"/>
              <a:gd name="connsiteY111-41210" fmla="*/ 1837622 h 5292022"/>
              <a:gd name="connsiteX112-41211" fmla="*/ 355306 w 10693106"/>
              <a:gd name="connsiteY112-41212" fmla="*/ 1625956 h 5292022"/>
              <a:gd name="connsiteX113-41213" fmla="*/ 296040 w 10693106"/>
              <a:gd name="connsiteY113-41214" fmla="*/ 1524356 h 5292022"/>
              <a:gd name="connsiteX114-41215" fmla="*/ 253706 w 10693106"/>
              <a:gd name="connsiteY114-41216" fmla="*/ 1346556 h 5292022"/>
              <a:gd name="connsiteX115-41217" fmla="*/ 245240 w 10693106"/>
              <a:gd name="connsiteY115-41218" fmla="*/ 1219556 h 5292022"/>
              <a:gd name="connsiteX116-41219" fmla="*/ 236773 w 10693106"/>
              <a:gd name="connsiteY116-41220" fmla="*/ 1117956 h 5292022"/>
              <a:gd name="connsiteX117-41221" fmla="*/ 245240 w 10693106"/>
              <a:gd name="connsiteY117-41222" fmla="*/ 847022 h 5292022"/>
              <a:gd name="connsiteX118-41223" fmla="*/ 236773 w 10693106"/>
              <a:gd name="connsiteY118-41224" fmla="*/ 703089 h 5292022"/>
              <a:gd name="connsiteX119-41225" fmla="*/ 109773 w 10693106"/>
              <a:gd name="connsiteY119-41226" fmla="*/ 559156 h 5292022"/>
              <a:gd name="connsiteX120-41227" fmla="*/ 58973 w 10693106"/>
              <a:gd name="connsiteY120-41228" fmla="*/ 482956 h 5292022"/>
              <a:gd name="connsiteX121-41229" fmla="*/ 16640 w 10693106"/>
              <a:gd name="connsiteY121-41230" fmla="*/ 432156 h 5292022"/>
              <a:gd name="connsiteX122-41231" fmla="*/ 8173 w 10693106"/>
              <a:gd name="connsiteY122-41232" fmla="*/ 389822 h 5292022"/>
              <a:gd name="connsiteX123-41233" fmla="*/ 16640 w 10693106"/>
              <a:gd name="connsiteY123-41234" fmla="*/ 339022 h 5292022"/>
              <a:gd name="connsiteX0-41235" fmla="*/ 16640 w 10693106"/>
              <a:gd name="connsiteY0-41236" fmla="*/ 339022 h 5292022"/>
              <a:gd name="connsiteX1-41237" fmla="*/ 58973 w 10693106"/>
              <a:gd name="connsiteY1-41238" fmla="*/ 245889 h 5292022"/>
              <a:gd name="connsiteX2-41239" fmla="*/ 109773 w 10693106"/>
              <a:gd name="connsiteY2-41240" fmla="*/ 178156 h 5292022"/>
              <a:gd name="connsiteX3-41241" fmla="*/ 202906 w 10693106"/>
              <a:gd name="connsiteY3-41242" fmla="*/ 93489 h 5292022"/>
              <a:gd name="connsiteX4-41243" fmla="*/ 236773 w 10693106"/>
              <a:gd name="connsiteY4-41244" fmla="*/ 68089 h 5292022"/>
              <a:gd name="connsiteX5-41245" fmla="*/ 335410 w 10693106"/>
              <a:gd name="connsiteY5-41246" fmla="*/ 58352 h 5292022"/>
              <a:gd name="connsiteX6-41247" fmla="*/ 382400 w 10693106"/>
              <a:gd name="connsiteY6-41248" fmla="*/ 51156 h 5292022"/>
              <a:gd name="connsiteX7-41249" fmla="*/ 434912 w 10693106"/>
              <a:gd name="connsiteY7-41250" fmla="*/ 70071 h 5292022"/>
              <a:gd name="connsiteX8-41251" fmla="*/ 492697 w 10693106"/>
              <a:gd name="connsiteY8-41252" fmla="*/ 74247 h 5292022"/>
              <a:gd name="connsiteX9-41253" fmla="*/ 822897 w 10693106"/>
              <a:gd name="connsiteY9-41254" fmla="*/ 82713 h 5292022"/>
              <a:gd name="connsiteX10-41255" fmla="*/ 1091906 w 10693106"/>
              <a:gd name="connsiteY10-41256" fmla="*/ 356 h 5292022"/>
              <a:gd name="connsiteX11-41257" fmla="*/ 1235840 w 10693106"/>
              <a:gd name="connsiteY11-41258" fmla="*/ 59622 h 5292022"/>
              <a:gd name="connsiteX12-41259" fmla="*/ 1337440 w 10693106"/>
              <a:gd name="connsiteY12-41260" fmla="*/ 135822 h 5292022"/>
              <a:gd name="connsiteX13-41261" fmla="*/ 1422106 w 10693106"/>
              <a:gd name="connsiteY13-41262" fmla="*/ 245889 h 5292022"/>
              <a:gd name="connsiteX14-41263" fmla="*/ 1481373 w 10693106"/>
              <a:gd name="connsiteY14-41264" fmla="*/ 313622 h 5292022"/>
              <a:gd name="connsiteX15-41265" fmla="*/ 1532173 w 10693106"/>
              <a:gd name="connsiteY15-41266" fmla="*/ 347489 h 5292022"/>
              <a:gd name="connsiteX16-41267" fmla="*/ 1684573 w 10693106"/>
              <a:gd name="connsiteY16-41268" fmla="*/ 406756 h 5292022"/>
              <a:gd name="connsiteX17-41269" fmla="*/ 1760773 w 10693106"/>
              <a:gd name="connsiteY17-41270" fmla="*/ 423689 h 5292022"/>
              <a:gd name="connsiteX18-41271" fmla="*/ 2404240 w 10693106"/>
              <a:gd name="connsiteY18-41272" fmla="*/ 355956 h 5292022"/>
              <a:gd name="connsiteX19-41273" fmla="*/ 3398918 w 10693106"/>
              <a:gd name="connsiteY19-41274" fmla="*/ 72322 h 5292022"/>
              <a:gd name="connsiteX20-41275" fmla="*/ 4529373 w 10693106"/>
              <a:gd name="connsiteY20-41276" fmla="*/ 271289 h 5292022"/>
              <a:gd name="connsiteX21-41277" fmla="*/ 5630810 w 10693106"/>
              <a:gd name="connsiteY21-41278" fmla="*/ 1149898 h 5292022"/>
              <a:gd name="connsiteX22-41279" fmla="*/ 6881490 w 10693106"/>
              <a:gd name="connsiteY22-41280" fmla="*/ 1366452 h 5292022"/>
              <a:gd name="connsiteX23-41281" fmla="*/ 7839032 w 10693106"/>
              <a:gd name="connsiteY23-41282" fmla="*/ 1183996 h 5292022"/>
              <a:gd name="connsiteX24-41283" fmla="*/ 8652640 w 10693106"/>
              <a:gd name="connsiteY24-41284" fmla="*/ 677689 h 5292022"/>
              <a:gd name="connsiteX25-41285" fmla="*/ 8982840 w 10693106"/>
              <a:gd name="connsiteY25-41286" fmla="*/ 398289 h 5292022"/>
              <a:gd name="connsiteX26-41287" fmla="*/ 9380773 w 10693106"/>
              <a:gd name="connsiteY26-41288" fmla="*/ 355956 h 5292022"/>
              <a:gd name="connsiteX27-41289" fmla="*/ 9744840 w 10693106"/>
              <a:gd name="connsiteY27-41290" fmla="*/ 466022 h 5292022"/>
              <a:gd name="connsiteX28-41291" fmla="*/ 9888773 w 10693106"/>
              <a:gd name="connsiteY28-41292" fmla="*/ 508356 h 5292022"/>
              <a:gd name="connsiteX29-41293" fmla="*/ 9998840 w 10693106"/>
              <a:gd name="connsiteY29-41294" fmla="*/ 559156 h 5292022"/>
              <a:gd name="connsiteX30-41295" fmla="*/ 10083506 w 10693106"/>
              <a:gd name="connsiteY30-41296" fmla="*/ 618422 h 5292022"/>
              <a:gd name="connsiteX31-41297" fmla="*/ 10286706 w 10693106"/>
              <a:gd name="connsiteY31-41298" fmla="*/ 686156 h 5292022"/>
              <a:gd name="connsiteX32-41299" fmla="*/ 10388306 w 10693106"/>
              <a:gd name="connsiteY32-41300" fmla="*/ 889356 h 5292022"/>
              <a:gd name="connsiteX33-41301" fmla="*/ 10540706 w 10693106"/>
              <a:gd name="connsiteY33-41302" fmla="*/ 1261889 h 5292022"/>
              <a:gd name="connsiteX34-41303" fmla="*/ 10557640 w 10693106"/>
              <a:gd name="connsiteY34-41304" fmla="*/ 1346556 h 5292022"/>
              <a:gd name="connsiteX35-41305" fmla="*/ 10583040 w 10693106"/>
              <a:gd name="connsiteY35-41306" fmla="*/ 1448156 h 5292022"/>
              <a:gd name="connsiteX36-41307" fmla="*/ 10616906 w 10693106"/>
              <a:gd name="connsiteY36-41308" fmla="*/ 1651356 h 5292022"/>
              <a:gd name="connsiteX37-41309" fmla="*/ 10633840 w 10693106"/>
              <a:gd name="connsiteY37-41310" fmla="*/ 1736022 h 5292022"/>
              <a:gd name="connsiteX38-41311" fmla="*/ 10650773 w 10693106"/>
              <a:gd name="connsiteY38-41312" fmla="*/ 1769889 h 5292022"/>
              <a:gd name="connsiteX39-41313" fmla="*/ 10676173 w 10693106"/>
              <a:gd name="connsiteY39-41314" fmla="*/ 1854556 h 5292022"/>
              <a:gd name="connsiteX40-41315" fmla="*/ 10693106 w 10693106"/>
              <a:gd name="connsiteY40-41316" fmla="*/ 2006956 h 5292022"/>
              <a:gd name="connsiteX41-41317" fmla="*/ 10625373 w 10693106"/>
              <a:gd name="connsiteY41-41318" fmla="*/ 2227089 h 5292022"/>
              <a:gd name="connsiteX42-41319" fmla="*/ 10608440 w 10693106"/>
              <a:gd name="connsiteY42-41320" fmla="*/ 2252489 h 5292022"/>
              <a:gd name="connsiteX43-41321" fmla="*/ 10540706 w 10693106"/>
              <a:gd name="connsiteY43-41322" fmla="*/ 2396422 h 5292022"/>
              <a:gd name="connsiteX44-41323" fmla="*/ 10498373 w 10693106"/>
              <a:gd name="connsiteY44-41324" fmla="*/ 2481089 h 5292022"/>
              <a:gd name="connsiteX45-41325" fmla="*/ 10439106 w 10693106"/>
              <a:gd name="connsiteY45-41326" fmla="*/ 2667356 h 5292022"/>
              <a:gd name="connsiteX46-41327" fmla="*/ 10430640 w 10693106"/>
              <a:gd name="connsiteY46-41328" fmla="*/ 2709689 h 5292022"/>
              <a:gd name="connsiteX47-41329" fmla="*/ 10405240 w 10693106"/>
              <a:gd name="connsiteY47-41330" fmla="*/ 2785889 h 5292022"/>
              <a:gd name="connsiteX48-41331" fmla="*/ 10396773 w 10693106"/>
              <a:gd name="connsiteY48-41332" fmla="*/ 2819756 h 5292022"/>
              <a:gd name="connsiteX49-41333" fmla="*/ 10362906 w 10693106"/>
              <a:gd name="connsiteY49-41334" fmla="*/ 2912889 h 5292022"/>
              <a:gd name="connsiteX50-41335" fmla="*/ 10329040 w 10693106"/>
              <a:gd name="connsiteY50-41336" fmla="*/ 2955222 h 5292022"/>
              <a:gd name="connsiteX51-41337" fmla="*/ 10227440 w 10693106"/>
              <a:gd name="connsiteY51-41338" fmla="*/ 3056822 h 5292022"/>
              <a:gd name="connsiteX52-41339" fmla="*/ 10168173 w 10693106"/>
              <a:gd name="connsiteY52-41340" fmla="*/ 3124556 h 5292022"/>
              <a:gd name="connsiteX53-41341" fmla="*/ 10117373 w 10693106"/>
              <a:gd name="connsiteY53-41342" fmla="*/ 3175356 h 5292022"/>
              <a:gd name="connsiteX54-41343" fmla="*/ 10032706 w 10693106"/>
              <a:gd name="connsiteY54-41344" fmla="*/ 3276956 h 5292022"/>
              <a:gd name="connsiteX55-41345" fmla="*/ 9948040 w 10693106"/>
              <a:gd name="connsiteY55-41346" fmla="*/ 3336222 h 5292022"/>
              <a:gd name="connsiteX56-41347" fmla="*/ 9905706 w 10693106"/>
              <a:gd name="connsiteY56-41348" fmla="*/ 3361622 h 5292022"/>
              <a:gd name="connsiteX57-41349" fmla="*/ 9829506 w 10693106"/>
              <a:gd name="connsiteY57-41350" fmla="*/ 3378556 h 5292022"/>
              <a:gd name="connsiteX58-41351" fmla="*/ 9727906 w 10693106"/>
              <a:gd name="connsiteY58-41352" fmla="*/ 3420889 h 5292022"/>
              <a:gd name="connsiteX59-41353" fmla="*/ 9634773 w 10693106"/>
              <a:gd name="connsiteY59-41354" fmla="*/ 3446289 h 5292022"/>
              <a:gd name="connsiteX60-41355" fmla="*/ 9456973 w 10693106"/>
              <a:gd name="connsiteY60-41356" fmla="*/ 3539422 h 5292022"/>
              <a:gd name="connsiteX61-41357" fmla="*/ 9067506 w 10693106"/>
              <a:gd name="connsiteY61-41358" fmla="*/ 3861156 h 5292022"/>
              <a:gd name="connsiteX62-41359" fmla="*/ 8999773 w 10693106"/>
              <a:gd name="connsiteY62-41360" fmla="*/ 3928889 h 5292022"/>
              <a:gd name="connsiteX63-41361" fmla="*/ 8813506 w 10693106"/>
              <a:gd name="connsiteY63-41362" fmla="*/ 4064356 h 5292022"/>
              <a:gd name="connsiteX64-41363" fmla="*/ 8728840 w 10693106"/>
              <a:gd name="connsiteY64-41364" fmla="*/ 4106689 h 5292022"/>
              <a:gd name="connsiteX65-41365" fmla="*/ 8373240 w 10693106"/>
              <a:gd name="connsiteY65-41366" fmla="*/ 4140556 h 5292022"/>
              <a:gd name="connsiteX66-41367" fmla="*/ 7966840 w 10693106"/>
              <a:gd name="connsiteY66-41368" fmla="*/ 4233689 h 5292022"/>
              <a:gd name="connsiteX67-41369" fmla="*/ 7687440 w 10693106"/>
              <a:gd name="connsiteY67-41370" fmla="*/ 4394556 h 5292022"/>
              <a:gd name="connsiteX68-41371" fmla="*/ 7374173 w 10693106"/>
              <a:gd name="connsiteY68-41372" fmla="*/ 4657022 h 5292022"/>
              <a:gd name="connsiteX69-41373" fmla="*/ 7374173 w 10693106"/>
              <a:gd name="connsiteY69-41374" fmla="*/ 4657022 h 5292022"/>
              <a:gd name="connsiteX70-41375" fmla="*/ 7221773 w 10693106"/>
              <a:gd name="connsiteY70-41376" fmla="*/ 4775556 h 5292022"/>
              <a:gd name="connsiteX71-41377" fmla="*/ 7027040 w 10693106"/>
              <a:gd name="connsiteY71-41378" fmla="*/ 4902556 h 5292022"/>
              <a:gd name="connsiteX72-41379" fmla="*/ 6883106 w 10693106"/>
              <a:gd name="connsiteY72-41380" fmla="*/ 4970289 h 5292022"/>
              <a:gd name="connsiteX73-41381" fmla="*/ 6815373 w 10693106"/>
              <a:gd name="connsiteY73-41382" fmla="*/ 5012622 h 5292022"/>
              <a:gd name="connsiteX74-41383" fmla="*/ 6646040 w 10693106"/>
              <a:gd name="connsiteY74-41384" fmla="*/ 5105756 h 5292022"/>
              <a:gd name="connsiteX75-41385" fmla="*/ 6527506 w 10693106"/>
              <a:gd name="connsiteY75-41386" fmla="*/ 5165022 h 5292022"/>
              <a:gd name="connsiteX76-41387" fmla="*/ 6298906 w 10693106"/>
              <a:gd name="connsiteY76-41388" fmla="*/ 5241222 h 5292022"/>
              <a:gd name="connsiteX77-41389" fmla="*/ 6197306 w 10693106"/>
              <a:gd name="connsiteY77-41390" fmla="*/ 5266622 h 5292022"/>
              <a:gd name="connsiteX78-41391" fmla="*/ 6061840 w 10693106"/>
              <a:gd name="connsiteY78-41392" fmla="*/ 5275089 h 5292022"/>
              <a:gd name="connsiteX79-41393" fmla="*/ 5917906 w 10693106"/>
              <a:gd name="connsiteY79-41394" fmla="*/ 5292022 h 5292022"/>
              <a:gd name="connsiteX80-41395" fmla="*/ 5748573 w 10693106"/>
              <a:gd name="connsiteY80-41396" fmla="*/ 5283556 h 5292022"/>
              <a:gd name="connsiteX81-41397" fmla="*/ 5282906 w 10693106"/>
              <a:gd name="connsiteY81-41398" fmla="*/ 5173489 h 5292022"/>
              <a:gd name="connsiteX82-41399" fmla="*/ 4959480 w 10693106"/>
              <a:gd name="connsiteY82-41400" fmla="*/ 4988069 h 5292022"/>
              <a:gd name="connsiteX83-41401" fmla="*/ 4686853 w 10693106"/>
              <a:gd name="connsiteY83-41402" fmla="*/ 4788256 h 5292022"/>
              <a:gd name="connsiteX84-41403" fmla="*/ 3977346 w 10693106"/>
              <a:gd name="connsiteY84-41404" fmla="*/ 4470544 h 5292022"/>
              <a:gd name="connsiteX85-41405" fmla="*/ 3741550 w 10693106"/>
              <a:gd name="connsiteY85-41406" fmla="*/ 4154102 h 5292022"/>
              <a:gd name="connsiteX86-41407" fmla="*/ 3562056 w 10693106"/>
              <a:gd name="connsiteY86-41408" fmla="*/ 3406919 h 5292022"/>
              <a:gd name="connsiteX87-41409" fmla="*/ 3242440 w 10693106"/>
              <a:gd name="connsiteY87-41410" fmla="*/ 3099156 h 5292022"/>
              <a:gd name="connsiteX88-41411" fmla="*/ 3123906 w 10693106"/>
              <a:gd name="connsiteY88-41412" fmla="*/ 2997556 h 5292022"/>
              <a:gd name="connsiteX89-41413" fmla="*/ 2988440 w 10693106"/>
              <a:gd name="connsiteY89-41414" fmla="*/ 2802822 h 5292022"/>
              <a:gd name="connsiteX90-41415" fmla="*/ 2971506 w 10693106"/>
              <a:gd name="connsiteY90-41416" fmla="*/ 2743556 h 5292022"/>
              <a:gd name="connsiteX91-41417" fmla="*/ 2996906 w 10693106"/>
              <a:gd name="connsiteY91-41418" fmla="*/ 2531889 h 5292022"/>
              <a:gd name="connsiteX92-41419" fmla="*/ 3013840 w 10693106"/>
              <a:gd name="connsiteY92-41420" fmla="*/ 2430289 h 5292022"/>
              <a:gd name="connsiteX93-41421" fmla="*/ 3005373 w 10693106"/>
              <a:gd name="connsiteY93-41422" fmla="*/ 2311756 h 5292022"/>
              <a:gd name="connsiteX94-41423" fmla="*/ 2988440 w 10693106"/>
              <a:gd name="connsiteY94-41424" fmla="*/ 2260956 h 5292022"/>
              <a:gd name="connsiteX95-41425" fmla="*/ 2802173 w 10693106"/>
              <a:gd name="connsiteY95-41426" fmla="*/ 2006956 h 5292022"/>
              <a:gd name="connsiteX96-41427" fmla="*/ 2641306 w 10693106"/>
              <a:gd name="connsiteY96-41428" fmla="*/ 1863022 h 5292022"/>
              <a:gd name="connsiteX97-41429" fmla="*/ 2590506 w 10693106"/>
              <a:gd name="connsiteY97-41430" fmla="*/ 1837622 h 5292022"/>
              <a:gd name="connsiteX98-41431" fmla="*/ 2531240 w 10693106"/>
              <a:gd name="connsiteY98-41432" fmla="*/ 1829156 h 5292022"/>
              <a:gd name="connsiteX99-41433" fmla="*/ 2446573 w 10693106"/>
              <a:gd name="connsiteY99-41434" fmla="*/ 1812222 h 5292022"/>
              <a:gd name="connsiteX100-41435" fmla="*/ 2251840 w 10693106"/>
              <a:gd name="connsiteY100-41436" fmla="*/ 1837622 h 5292022"/>
              <a:gd name="connsiteX101-41437" fmla="*/ 2167173 w 10693106"/>
              <a:gd name="connsiteY101-41438" fmla="*/ 1879956 h 5292022"/>
              <a:gd name="connsiteX102-41439" fmla="*/ 1980906 w 10693106"/>
              <a:gd name="connsiteY102-41440" fmla="*/ 1939222 h 5292022"/>
              <a:gd name="connsiteX103-41441" fmla="*/ 1904706 w 10693106"/>
              <a:gd name="connsiteY103-41442" fmla="*/ 1973089 h 5292022"/>
              <a:gd name="connsiteX104-41443" fmla="*/ 1828506 w 10693106"/>
              <a:gd name="connsiteY104-41444" fmla="*/ 1990022 h 5292022"/>
              <a:gd name="connsiteX105-41445" fmla="*/ 1726906 w 10693106"/>
              <a:gd name="connsiteY105-41446" fmla="*/ 2040822 h 5292022"/>
              <a:gd name="connsiteX106-41447" fmla="*/ 1659173 w 10693106"/>
              <a:gd name="connsiteY106-41448" fmla="*/ 2074689 h 5292022"/>
              <a:gd name="connsiteX107-41449" fmla="*/ 1498306 w 10693106"/>
              <a:gd name="connsiteY107-41450" fmla="*/ 2100089 h 5292022"/>
              <a:gd name="connsiteX108-41451" fmla="*/ 914106 w 10693106"/>
              <a:gd name="connsiteY108-41452" fmla="*/ 2032356 h 5292022"/>
              <a:gd name="connsiteX109-41453" fmla="*/ 617773 w 10693106"/>
              <a:gd name="connsiteY109-41454" fmla="*/ 1922289 h 5292022"/>
              <a:gd name="connsiteX110-41455" fmla="*/ 516173 w 10693106"/>
              <a:gd name="connsiteY110-41456" fmla="*/ 1837622 h 5292022"/>
              <a:gd name="connsiteX111-41457" fmla="*/ 355306 w 10693106"/>
              <a:gd name="connsiteY111-41458" fmla="*/ 1625956 h 5292022"/>
              <a:gd name="connsiteX112-41459" fmla="*/ 296040 w 10693106"/>
              <a:gd name="connsiteY112-41460" fmla="*/ 1524356 h 5292022"/>
              <a:gd name="connsiteX113-41461" fmla="*/ 253706 w 10693106"/>
              <a:gd name="connsiteY113-41462" fmla="*/ 1346556 h 5292022"/>
              <a:gd name="connsiteX114-41463" fmla="*/ 245240 w 10693106"/>
              <a:gd name="connsiteY114-41464" fmla="*/ 1219556 h 5292022"/>
              <a:gd name="connsiteX115-41465" fmla="*/ 236773 w 10693106"/>
              <a:gd name="connsiteY115-41466" fmla="*/ 1117956 h 5292022"/>
              <a:gd name="connsiteX116-41467" fmla="*/ 245240 w 10693106"/>
              <a:gd name="connsiteY116-41468" fmla="*/ 847022 h 5292022"/>
              <a:gd name="connsiteX117-41469" fmla="*/ 236773 w 10693106"/>
              <a:gd name="connsiteY117-41470" fmla="*/ 703089 h 5292022"/>
              <a:gd name="connsiteX118-41471" fmla="*/ 109773 w 10693106"/>
              <a:gd name="connsiteY118-41472" fmla="*/ 559156 h 5292022"/>
              <a:gd name="connsiteX119-41473" fmla="*/ 58973 w 10693106"/>
              <a:gd name="connsiteY119-41474" fmla="*/ 482956 h 5292022"/>
              <a:gd name="connsiteX120-41475" fmla="*/ 16640 w 10693106"/>
              <a:gd name="connsiteY120-41476" fmla="*/ 432156 h 5292022"/>
              <a:gd name="connsiteX121-41477" fmla="*/ 8173 w 10693106"/>
              <a:gd name="connsiteY121-41478" fmla="*/ 389822 h 5292022"/>
              <a:gd name="connsiteX122-41479" fmla="*/ 16640 w 10693106"/>
              <a:gd name="connsiteY122-41480" fmla="*/ 339022 h 5292022"/>
              <a:gd name="connsiteX0-41481" fmla="*/ 16640 w 10693106"/>
              <a:gd name="connsiteY0-41482" fmla="*/ 339022 h 5292022"/>
              <a:gd name="connsiteX1-41483" fmla="*/ 58973 w 10693106"/>
              <a:gd name="connsiteY1-41484" fmla="*/ 245889 h 5292022"/>
              <a:gd name="connsiteX2-41485" fmla="*/ 109773 w 10693106"/>
              <a:gd name="connsiteY2-41486" fmla="*/ 178156 h 5292022"/>
              <a:gd name="connsiteX3-41487" fmla="*/ 202906 w 10693106"/>
              <a:gd name="connsiteY3-41488" fmla="*/ 93489 h 5292022"/>
              <a:gd name="connsiteX4-41489" fmla="*/ 236773 w 10693106"/>
              <a:gd name="connsiteY4-41490" fmla="*/ 68089 h 5292022"/>
              <a:gd name="connsiteX5-41491" fmla="*/ 335410 w 10693106"/>
              <a:gd name="connsiteY5-41492" fmla="*/ 58352 h 5292022"/>
              <a:gd name="connsiteX6-41493" fmla="*/ 382400 w 10693106"/>
              <a:gd name="connsiteY6-41494" fmla="*/ 51156 h 5292022"/>
              <a:gd name="connsiteX7-41495" fmla="*/ 434912 w 10693106"/>
              <a:gd name="connsiteY7-41496" fmla="*/ 70071 h 5292022"/>
              <a:gd name="connsiteX8-41497" fmla="*/ 492697 w 10693106"/>
              <a:gd name="connsiteY8-41498" fmla="*/ 74247 h 5292022"/>
              <a:gd name="connsiteX9-41499" fmla="*/ 822897 w 10693106"/>
              <a:gd name="connsiteY9-41500" fmla="*/ 82713 h 5292022"/>
              <a:gd name="connsiteX10-41501" fmla="*/ 1091906 w 10693106"/>
              <a:gd name="connsiteY10-41502" fmla="*/ 356 h 5292022"/>
              <a:gd name="connsiteX11-41503" fmla="*/ 1235840 w 10693106"/>
              <a:gd name="connsiteY11-41504" fmla="*/ 59622 h 5292022"/>
              <a:gd name="connsiteX12-41505" fmla="*/ 1337440 w 10693106"/>
              <a:gd name="connsiteY12-41506" fmla="*/ 135822 h 5292022"/>
              <a:gd name="connsiteX13-41507" fmla="*/ 1422106 w 10693106"/>
              <a:gd name="connsiteY13-41508" fmla="*/ 245889 h 5292022"/>
              <a:gd name="connsiteX14-41509" fmla="*/ 1481373 w 10693106"/>
              <a:gd name="connsiteY14-41510" fmla="*/ 313622 h 5292022"/>
              <a:gd name="connsiteX15-41511" fmla="*/ 1532173 w 10693106"/>
              <a:gd name="connsiteY15-41512" fmla="*/ 347489 h 5292022"/>
              <a:gd name="connsiteX16-41513" fmla="*/ 1684573 w 10693106"/>
              <a:gd name="connsiteY16-41514" fmla="*/ 406756 h 5292022"/>
              <a:gd name="connsiteX17-41515" fmla="*/ 1760773 w 10693106"/>
              <a:gd name="connsiteY17-41516" fmla="*/ 423689 h 5292022"/>
              <a:gd name="connsiteX18-41517" fmla="*/ 2404240 w 10693106"/>
              <a:gd name="connsiteY18-41518" fmla="*/ 355956 h 5292022"/>
              <a:gd name="connsiteX19-41519" fmla="*/ 3398918 w 10693106"/>
              <a:gd name="connsiteY19-41520" fmla="*/ 72322 h 5292022"/>
              <a:gd name="connsiteX20-41521" fmla="*/ 4529373 w 10693106"/>
              <a:gd name="connsiteY20-41522" fmla="*/ 271289 h 5292022"/>
              <a:gd name="connsiteX21-41523" fmla="*/ 5630810 w 10693106"/>
              <a:gd name="connsiteY21-41524" fmla="*/ 1149898 h 5292022"/>
              <a:gd name="connsiteX22-41525" fmla="*/ 6881490 w 10693106"/>
              <a:gd name="connsiteY22-41526" fmla="*/ 1366452 h 5292022"/>
              <a:gd name="connsiteX23-41527" fmla="*/ 7839032 w 10693106"/>
              <a:gd name="connsiteY23-41528" fmla="*/ 1183996 h 5292022"/>
              <a:gd name="connsiteX24-41529" fmla="*/ 8652640 w 10693106"/>
              <a:gd name="connsiteY24-41530" fmla="*/ 677689 h 5292022"/>
              <a:gd name="connsiteX25-41531" fmla="*/ 8982840 w 10693106"/>
              <a:gd name="connsiteY25-41532" fmla="*/ 398289 h 5292022"/>
              <a:gd name="connsiteX26-41533" fmla="*/ 9380773 w 10693106"/>
              <a:gd name="connsiteY26-41534" fmla="*/ 355956 h 5292022"/>
              <a:gd name="connsiteX27-41535" fmla="*/ 9744840 w 10693106"/>
              <a:gd name="connsiteY27-41536" fmla="*/ 466022 h 5292022"/>
              <a:gd name="connsiteX28-41537" fmla="*/ 9888773 w 10693106"/>
              <a:gd name="connsiteY28-41538" fmla="*/ 508356 h 5292022"/>
              <a:gd name="connsiteX29-41539" fmla="*/ 9998840 w 10693106"/>
              <a:gd name="connsiteY29-41540" fmla="*/ 559156 h 5292022"/>
              <a:gd name="connsiteX30-41541" fmla="*/ 10083506 w 10693106"/>
              <a:gd name="connsiteY30-41542" fmla="*/ 618422 h 5292022"/>
              <a:gd name="connsiteX31-41543" fmla="*/ 10286706 w 10693106"/>
              <a:gd name="connsiteY31-41544" fmla="*/ 686156 h 5292022"/>
              <a:gd name="connsiteX32-41545" fmla="*/ 10388306 w 10693106"/>
              <a:gd name="connsiteY32-41546" fmla="*/ 889356 h 5292022"/>
              <a:gd name="connsiteX33-41547" fmla="*/ 10540706 w 10693106"/>
              <a:gd name="connsiteY33-41548" fmla="*/ 1261889 h 5292022"/>
              <a:gd name="connsiteX34-41549" fmla="*/ 10557640 w 10693106"/>
              <a:gd name="connsiteY34-41550" fmla="*/ 1346556 h 5292022"/>
              <a:gd name="connsiteX35-41551" fmla="*/ 10583040 w 10693106"/>
              <a:gd name="connsiteY35-41552" fmla="*/ 1448156 h 5292022"/>
              <a:gd name="connsiteX36-41553" fmla="*/ 10616906 w 10693106"/>
              <a:gd name="connsiteY36-41554" fmla="*/ 1651356 h 5292022"/>
              <a:gd name="connsiteX37-41555" fmla="*/ 10633840 w 10693106"/>
              <a:gd name="connsiteY37-41556" fmla="*/ 1736022 h 5292022"/>
              <a:gd name="connsiteX38-41557" fmla="*/ 10650773 w 10693106"/>
              <a:gd name="connsiteY38-41558" fmla="*/ 1769889 h 5292022"/>
              <a:gd name="connsiteX39-41559" fmla="*/ 10676173 w 10693106"/>
              <a:gd name="connsiteY39-41560" fmla="*/ 1854556 h 5292022"/>
              <a:gd name="connsiteX40-41561" fmla="*/ 10693106 w 10693106"/>
              <a:gd name="connsiteY40-41562" fmla="*/ 2006956 h 5292022"/>
              <a:gd name="connsiteX41-41563" fmla="*/ 10625373 w 10693106"/>
              <a:gd name="connsiteY41-41564" fmla="*/ 2227089 h 5292022"/>
              <a:gd name="connsiteX42-41565" fmla="*/ 10608440 w 10693106"/>
              <a:gd name="connsiteY42-41566" fmla="*/ 2252489 h 5292022"/>
              <a:gd name="connsiteX43-41567" fmla="*/ 10540706 w 10693106"/>
              <a:gd name="connsiteY43-41568" fmla="*/ 2396422 h 5292022"/>
              <a:gd name="connsiteX44-41569" fmla="*/ 10498373 w 10693106"/>
              <a:gd name="connsiteY44-41570" fmla="*/ 2481089 h 5292022"/>
              <a:gd name="connsiteX45-41571" fmla="*/ 10439106 w 10693106"/>
              <a:gd name="connsiteY45-41572" fmla="*/ 2667356 h 5292022"/>
              <a:gd name="connsiteX46-41573" fmla="*/ 10430640 w 10693106"/>
              <a:gd name="connsiteY46-41574" fmla="*/ 2709689 h 5292022"/>
              <a:gd name="connsiteX47-41575" fmla="*/ 10405240 w 10693106"/>
              <a:gd name="connsiteY47-41576" fmla="*/ 2785889 h 5292022"/>
              <a:gd name="connsiteX48-41577" fmla="*/ 10396773 w 10693106"/>
              <a:gd name="connsiteY48-41578" fmla="*/ 2819756 h 5292022"/>
              <a:gd name="connsiteX49-41579" fmla="*/ 10362906 w 10693106"/>
              <a:gd name="connsiteY49-41580" fmla="*/ 2912889 h 5292022"/>
              <a:gd name="connsiteX50-41581" fmla="*/ 10329040 w 10693106"/>
              <a:gd name="connsiteY50-41582" fmla="*/ 2955222 h 5292022"/>
              <a:gd name="connsiteX51-41583" fmla="*/ 10227440 w 10693106"/>
              <a:gd name="connsiteY51-41584" fmla="*/ 3056822 h 5292022"/>
              <a:gd name="connsiteX52-41585" fmla="*/ 10168173 w 10693106"/>
              <a:gd name="connsiteY52-41586" fmla="*/ 3124556 h 5292022"/>
              <a:gd name="connsiteX53-41587" fmla="*/ 10117373 w 10693106"/>
              <a:gd name="connsiteY53-41588" fmla="*/ 3175356 h 5292022"/>
              <a:gd name="connsiteX54-41589" fmla="*/ 10032706 w 10693106"/>
              <a:gd name="connsiteY54-41590" fmla="*/ 3276956 h 5292022"/>
              <a:gd name="connsiteX55-41591" fmla="*/ 9948040 w 10693106"/>
              <a:gd name="connsiteY55-41592" fmla="*/ 3336222 h 5292022"/>
              <a:gd name="connsiteX56-41593" fmla="*/ 9905706 w 10693106"/>
              <a:gd name="connsiteY56-41594" fmla="*/ 3361622 h 5292022"/>
              <a:gd name="connsiteX57-41595" fmla="*/ 9829506 w 10693106"/>
              <a:gd name="connsiteY57-41596" fmla="*/ 3378556 h 5292022"/>
              <a:gd name="connsiteX58-41597" fmla="*/ 9727906 w 10693106"/>
              <a:gd name="connsiteY58-41598" fmla="*/ 3420889 h 5292022"/>
              <a:gd name="connsiteX59-41599" fmla="*/ 9634773 w 10693106"/>
              <a:gd name="connsiteY59-41600" fmla="*/ 3446289 h 5292022"/>
              <a:gd name="connsiteX60-41601" fmla="*/ 9067506 w 10693106"/>
              <a:gd name="connsiteY60-41602" fmla="*/ 3861156 h 5292022"/>
              <a:gd name="connsiteX61-41603" fmla="*/ 8999773 w 10693106"/>
              <a:gd name="connsiteY61-41604" fmla="*/ 3928889 h 5292022"/>
              <a:gd name="connsiteX62-41605" fmla="*/ 8813506 w 10693106"/>
              <a:gd name="connsiteY62-41606" fmla="*/ 4064356 h 5292022"/>
              <a:gd name="connsiteX63-41607" fmla="*/ 8728840 w 10693106"/>
              <a:gd name="connsiteY63-41608" fmla="*/ 4106689 h 5292022"/>
              <a:gd name="connsiteX64-41609" fmla="*/ 8373240 w 10693106"/>
              <a:gd name="connsiteY64-41610" fmla="*/ 4140556 h 5292022"/>
              <a:gd name="connsiteX65-41611" fmla="*/ 7966840 w 10693106"/>
              <a:gd name="connsiteY65-41612" fmla="*/ 4233689 h 5292022"/>
              <a:gd name="connsiteX66-41613" fmla="*/ 7687440 w 10693106"/>
              <a:gd name="connsiteY66-41614" fmla="*/ 4394556 h 5292022"/>
              <a:gd name="connsiteX67-41615" fmla="*/ 7374173 w 10693106"/>
              <a:gd name="connsiteY67-41616" fmla="*/ 4657022 h 5292022"/>
              <a:gd name="connsiteX68-41617" fmla="*/ 7374173 w 10693106"/>
              <a:gd name="connsiteY68-41618" fmla="*/ 4657022 h 5292022"/>
              <a:gd name="connsiteX69-41619" fmla="*/ 7221773 w 10693106"/>
              <a:gd name="connsiteY69-41620" fmla="*/ 4775556 h 5292022"/>
              <a:gd name="connsiteX70-41621" fmla="*/ 7027040 w 10693106"/>
              <a:gd name="connsiteY70-41622" fmla="*/ 4902556 h 5292022"/>
              <a:gd name="connsiteX71-41623" fmla="*/ 6883106 w 10693106"/>
              <a:gd name="connsiteY71-41624" fmla="*/ 4970289 h 5292022"/>
              <a:gd name="connsiteX72-41625" fmla="*/ 6815373 w 10693106"/>
              <a:gd name="connsiteY72-41626" fmla="*/ 5012622 h 5292022"/>
              <a:gd name="connsiteX73-41627" fmla="*/ 6646040 w 10693106"/>
              <a:gd name="connsiteY73-41628" fmla="*/ 5105756 h 5292022"/>
              <a:gd name="connsiteX74-41629" fmla="*/ 6527506 w 10693106"/>
              <a:gd name="connsiteY74-41630" fmla="*/ 5165022 h 5292022"/>
              <a:gd name="connsiteX75-41631" fmla="*/ 6298906 w 10693106"/>
              <a:gd name="connsiteY75-41632" fmla="*/ 5241222 h 5292022"/>
              <a:gd name="connsiteX76-41633" fmla="*/ 6197306 w 10693106"/>
              <a:gd name="connsiteY76-41634" fmla="*/ 5266622 h 5292022"/>
              <a:gd name="connsiteX77-41635" fmla="*/ 6061840 w 10693106"/>
              <a:gd name="connsiteY77-41636" fmla="*/ 5275089 h 5292022"/>
              <a:gd name="connsiteX78-41637" fmla="*/ 5917906 w 10693106"/>
              <a:gd name="connsiteY78-41638" fmla="*/ 5292022 h 5292022"/>
              <a:gd name="connsiteX79-41639" fmla="*/ 5748573 w 10693106"/>
              <a:gd name="connsiteY79-41640" fmla="*/ 5283556 h 5292022"/>
              <a:gd name="connsiteX80-41641" fmla="*/ 5282906 w 10693106"/>
              <a:gd name="connsiteY80-41642" fmla="*/ 5173489 h 5292022"/>
              <a:gd name="connsiteX81-41643" fmla="*/ 4959480 w 10693106"/>
              <a:gd name="connsiteY81-41644" fmla="*/ 4988069 h 5292022"/>
              <a:gd name="connsiteX82-41645" fmla="*/ 4686853 w 10693106"/>
              <a:gd name="connsiteY82-41646" fmla="*/ 4788256 h 5292022"/>
              <a:gd name="connsiteX83-41647" fmla="*/ 3977346 w 10693106"/>
              <a:gd name="connsiteY83-41648" fmla="*/ 4470544 h 5292022"/>
              <a:gd name="connsiteX84-41649" fmla="*/ 3741550 w 10693106"/>
              <a:gd name="connsiteY84-41650" fmla="*/ 4154102 h 5292022"/>
              <a:gd name="connsiteX85-41651" fmla="*/ 3562056 w 10693106"/>
              <a:gd name="connsiteY85-41652" fmla="*/ 3406919 h 5292022"/>
              <a:gd name="connsiteX86-41653" fmla="*/ 3242440 w 10693106"/>
              <a:gd name="connsiteY86-41654" fmla="*/ 3099156 h 5292022"/>
              <a:gd name="connsiteX87-41655" fmla="*/ 3123906 w 10693106"/>
              <a:gd name="connsiteY87-41656" fmla="*/ 2997556 h 5292022"/>
              <a:gd name="connsiteX88-41657" fmla="*/ 2988440 w 10693106"/>
              <a:gd name="connsiteY88-41658" fmla="*/ 2802822 h 5292022"/>
              <a:gd name="connsiteX89-41659" fmla="*/ 2971506 w 10693106"/>
              <a:gd name="connsiteY89-41660" fmla="*/ 2743556 h 5292022"/>
              <a:gd name="connsiteX90-41661" fmla="*/ 2996906 w 10693106"/>
              <a:gd name="connsiteY90-41662" fmla="*/ 2531889 h 5292022"/>
              <a:gd name="connsiteX91-41663" fmla="*/ 3013840 w 10693106"/>
              <a:gd name="connsiteY91-41664" fmla="*/ 2430289 h 5292022"/>
              <a:gd name="connsiteX92-41665" fmla="*/ 3005373 w 10693106"/>
              <a:gd name="connsiteY92-41666" fmla="*/ 2311756 h 5292022"/>
              <a:gd name="connsiteX93-41667" fmla="*/ 2988440 w 10693106"/>
              <a:gd name="connsiteY93-41668" fmla="*/ 2260956 h 5292022"/>
              <a:gd name="connsiteX94-41669" fmla="*/ 2802173 w 10693106"/>
              <a:gd name="connsiteY94-41670" fmla="*/ 2006956 h 5292022"/>
              <a:gd name="connsiteX95-41671" fmla="*/ 2641306 w 10693106"/>
              <a:gd name="connsiteY95-41672" fmla="*/ 1863022 h 5292022"/>
              <a:gd name="connsiteX96-41673" fmla="*/ 2590506 w 10693106"/>
              <a:gd name="connsiteY96-41674" fmla="*/ 1837622 h 5292022"/>
              <a:gd name="connsiteX97-41675" fmla="*/ 2531240 w 10693106"/>
              <a:gd name="connsiteY97-41676" fmla="*/ 1829156 h 5292022"/>
              <a:gd name="connsiteX98-41677" fmla="*/ 2446573 w 10693106"/>
              <a:gd name="connsiteY98-41678" fmla="*/ 1812222 h 5292022"/>
              <a:gd name="connsiteX99-41679" fmla="*/ 2251840 w 10693106"/>
              <a:gd name="connsiteY99-41680" fmla="*/ 1837622 h 5292022"/>
              <a:gd name="connsiteX100-41681" fmla="*/ 2167173 w 10693106"/>
              <a:gd name="connsiteY100-41682" fmla="*/ 1879956 h 5292022"/>
              <a:gd name="connsiteX101-41683" fmla="*/ 1980906 w 10693106"/>
              <a:gd name="connsiteY101-41684" fmla="*/ 1939222 h 5292022"/>
              <a:gd name="connsiteX102-41685" fmla="*/ 1904706 w 10693106"/>
              <a:gd name="connsiteY102-41686" fmla="*/ 1973089 h 5292022"/>
              <a:gd name="connsiteX103-41687" fmla="*/ 1828506 w 10693106"/>
              <a:gd name="connsiteY103-41688" fmla="*/ 1990022 h 5292022"/>
              <a:gd name="connsiteX104-41689" fmla="*/ 1726906 w 10693106"/>
              <a:gd name="connsiteY104-41690" fmla="*/ 2040822 h 5292022"/>
              <a:gd name="connsiteX105-41691" fmla="*/ 1659173 w 10693106"/>
              <a:gd name="connsiteY105-41692" fmla="*/ 2074689 h 5292022"/>
              <a:gd name="connsiteX106-41693" fmla="*/ 1498306 w 10693106"/>
              <a:gd name="connsiteY106-41694" fmla="*/ 2100089 h 5292022"/>
              <a:gd name="connsiteX107-41695" fmla="*/ 914106 w 10693106"/>
              <a:gd name="connsiteY107-41696" fmla="*/ 2032356 h 5292022"/>
              <a:gd name="connsiteX108-41697" fmla="*/ 617773 w 10693106"/>
              <a:gd name="connsiteY108-41698" fmla="*/ 1922289 h 5292022"/>
              <a:gd name="connsiteX109-41699" fmla="*/ 516173 w 10693106"/>
              <a:gd name="connsiteY109-41700" fmla="*/ 1837622 h 5292022"/>
              <a:gd name="connsiteX110-41701" fmla="*/ 355306 w 10693106"/>
              <a:gd name="connsiteY110-41702" fmla="*/ 1625956 h 5292022"/>
              <a:gd name="connsiteX111-41703" fmla="*/ 296040 w 10693106"/>
              <a:gd name="connsiteY111-41704" fmla="*/ 1524356 h 5292022"/>
              <a:gd name="connsiteX112-41705" fmla="*/ 253706 w 10693106"/>
              <a:gd name="connsiteY112-41706" fmla="*/ 1346556 h 5292022"/>
              <a:gd name="connsiteX113-41707" fmla="*/ 245240 w 10693106"/>
              <a:gd name="connsiteY113-41708" fmla="*/ 1219556 h 5292022"/>
              <a:gd name="connsiteX114-41709" fmla="*/ 236773 w 10693106"/>
              <a:gd name="connsiteY114-41710" fmla="*/ 1117956 h 5292022"/>
              <a:gd name="connsiteX115-41711" fmla="*/ 245240 w 10693106"/>
              <a:gd name="connsiteY115-41712" fmla="*/ 847022 h 5292022"/>
              <a:gd name="connsiteX116-41713" fmla="*/ 236773 w 10693106"/>
              <a:gd name="connsiteY116-41714" fmla="*/ 703089 h 5292022"/>
              <a:gd name="connsiteX117-41715" fmla="*/ 109773 w 10693106"/>
              <a:gd name="connsiteY117-41716" fmla="*/ 559156 h 5292022"/>
              <a:gd name="connsiteX118-41717" fmla="*/ 58973 w 10693106"/>
              <a:gd name="connsiteY118-41718" fmla="*/ 482956 h 5292022"/>
              <a:gd name="connsiteX119-41719" fmla="*/ 16640 w 10693106"/>
              <a:gd name="connsiteY119-41720" fmla="*/ 432156 h 5292022"/>
              <a:gd name="connsiteX120-41721" fmla="*/ 8173 w 10693106"/>
              <a:gd name="connsiteY120-41722" fmla="*/ 389822 h 5292022"/>
              <a:gd name="connsiteX121-41723" fmla="*/ 16640 w 10693106"/>
              <a:gd name="connsiteY121-41724" fmla="*/ 339022 h 5292022"/>
              <a:gd name="connsiteX0-41725" fmla="*/ 16640 w 10693106"/>
              <a:gd name="connsiteY0-41726" fmla="*/ 339022 h 5292022"/>
              <a:gd name="connsiteX1-41727" fmla="*/ 58973 w 10693106"/>
              <a:gd name="connsiteY1-41728" fmla="*/ 245889 h 5292022"/>
              <a:gd name="connsiteX2-41729" fmla="*/ 109773 w 10693106"/>
              <a:gd name="connsiteY2-41730" fmla="*/ 178156 h 5292022"/>
              <a:gd name="connsiteX3-41731" fmla="*/ 202906 w 10693106"/>
              <a:gd name="connsiteY3-41732" fmla="*/ 93489 h 5292022"/>
              <a:gd name="connsiteX4-41733" fmla="*/ 236773 w 10693106"/>
              <a:gd name="connsiteY4-41734" fmla="*/ 68089 h 5292022"/>
              <a:gd name="connsiteX5-41735" fmla="*/ 335410 w 10693106"/>
              <a:gd name="connsiteY5-41736" fmla="*/ 58352 h 5292022"/>
              <a:gd name="connsiteX6-41737" fmla="*/ 382400 w 10693106"/>
              <a:gd name="connsiteY6-41738" fmla="*/ 51156 h 5292022"/>
              <a:gd name="connsiteX7-41739" fmla="*/ 434912 w 10693106"/>
              <a:gd name="connsiteY7-41740" fmla="*/ 70071 h 5292022"/>
              <a:gd name="connsiteX8-41741" fmla="*/ 492697 w 10693106"/>
              <a:gd name="connsiteY8-41742" fmla="*/ 74247 h 5292022"/>
              <a:gd name="connsiteX9-41743" fmla="*/ 822897 w 10693106"/>
              <a:gd name="connsiteY9-41744" fmla="*/ 82713 h 5292022"/>
              <a:gd name="connsiteX10-41745" fmla="*/ 1091906 w 10693106"/>
              <a:gd name="connsiteY10-41746" fmla="*/ 356 h 5292022"/>
              <a:gd name="connsiteX11-41747" fmla="*/ 1235840 w 10693106"/>
              <a:gd name="connsiteY11-41748" fmla="*/ 59622 h 5292022"/>
              <a:gd name="connsiteX12-41749" fmla="*/ 1337440 w 10693106"/>
              <a:gd name="connsiteY12-41750" fmla="*/ 135822 h 5292022"/>
              <a:gd name="connsiteX13-41751" fmla="*/ 1422106 w 10693106"/>
              <a:gd name="connsiteY13-41752" fmla="*/ 245889 h 5292022"/>
              <a:gd name="connsiteX14-41753" fmla="*/ 1481373 w 10693106"/>
              <a:gd name="connsiteY14-41754" fmla="*/ 313622 h 5292022"/>
              <a:gd name="connsiteX15-41755" fmla="*/ 1532173 w 10693106"/>
              <a:gd name="connsiteY15-41756" fmla="*/ 347489 h 5292022"/>
              <a:gd name="connsiteX16-41757" fmla="*/ 1684573 w 10693106"/>
              <a:gd name="connsiteY16-41758" fmla="*/ 406756 h 5292022"/>
              <a:gd name="connsiteX17-41759" fmla="*/ 1760773 w 10693106"/>
              <a:gd name="connsiteY17-41760" fmla="*/ 423689 h 5292022"/>
              <a:gd name="connsiteX18-41761" fmla="*/ 2404240 w 10693106"/>
              <a:gd name="connsiteY18-41762" fmla="*/ 355956 h 5292022"/>
              <a:gd name="connsiteX19-41763" fmla="*/ 3398918 w 10693106"/>
              <a:gd name="connsiteY19-41764" fmla="*/ 72322 h 5292022"/>
              <a:gd name="connsiteX20-41765" fmla="*/ 4529373 w 10693106"/>
              <a:gd name="connsiteY20-41766" fmla="*/ 271289 h 5292022"/>
              <a:gd name="connsiteX21-41767" fmla="*/ 5630810 w 10693106"/>
              <a:gd name="connsiteY21-41768" fmla="*/ 1149898 h 5292022"/>
              <a:gd name="connsiteX22-41769" fmla="*/ 6881490 w 10693106"/>
              <a:gd name="connsiteY22-41770" fmla="*/ 1366452 h 5292022"/>
              <a:gd name="connsiteX23-41771" fmla="*/ 7839032 w 10693106"/>
              <a:gd name="connsiteY23-41772" fmla="*/ 1183996 h 5292022"/>
              <a:gd name="connsiteX24-41773" fmla="*/ 8652640 w 10693106"/>
              <a:gd name="connsiteY24-41774" fmla="*/ 677689 h 5292022"/>
              <a:gd name="connsiteX25-41775" fmla="*/ 8982840 w 10693106"/>
              <a:gd name="connsiteY25-41776" fmla="*/ 398289 h 5292022"/>
              <a:gd name="connsiteX26-41777" fmla="*/ 9380773 w 10693106"/>
              <a:gd name="connsiteY26-41778" fmla="*/ 355956 h 5292022"/>
              <a:gd name="connsiteX27-41779" fmla="*/ 9744840 w 10693106"/>
              <a:gd name="connsiteY27-41780" fmla="*/ 466022 h 5292022"/>
              <a:gd name="connsiteX28-41781" fmla="*/ 9888773 w 10693106"/>
              <a:gd name="connsiteY28-41782" fmla="*/ 508356 h 5292022"/>
              <a:gd name="connsiteX29-41783" fmla="*/ 9998840 w 10693106"/>
              <a:gd name="connsiteY29-41784" fmla="*/ 559156 h 5292022"/>
              <a:gd name="connsiteX30-41785" fmla="*/ 10083506 w 10693106"/>
              <a:gd name="connsiteY30-41786" fmla="*/ 618422 h 5292022"/>
              <a:gd name="connsiteX31-41787" fmla="*/ 10286706 w 10693106"/>
              <a:gd name="connsiteY31-41788" fmla="*/ 686156 h 5292022"/>
              <a:gd name="connsiteX32-41789" fmla="*/ 10388306 w 10693106"/>
              <a:gd name="connsiteY32-41790" fmla="*/ 889356 h 5292022"/>
              <a:gd name="connsiteX33-41791" fmla="*/ 10540706 w 10693106"/>
              <a:gd name="connsiteY33-41792" fmla="*/ 1261889 h 5292022"/>
              <a:gd name="connsiteX34-41793" fmla="*/ 10557640 w 10693106"/>
              <a:gd name="connsiteY34-41794" fmla="*/ 1346556 h 5292022"/>
              <a:gd name="connsiteX35-41795" fmla="*/ 10583040 w 10693106"/>
              <a:gd name="connsiteY35-41796" fmla="*/ 1448156 h 5292022"/>
              <a:gd name="connsiteX36-41797" fmla="*/ 10616906 w 10693106"/>
              <a:gd name="connsiteY36-41798" fmla="*/ 1651356 h 5292022"/>
              <a:gd name="connsiteX37-41799" fmla="*/ 10633840 w 10693106"/>
              <a:gd name="connsiteY37-41800" fmla="*/ 1736022 h 5292022"/>
              <a:gd name="connsiteX38-41801" fmla="*/ 10650773 w 10693106"/>
              <a:gd name="connsiteY38-41802" fmla="*/ 1769889 h 5292022"/>
              <a:gd name="connsiteX39-41803" fmla="*/ 10676173 w 10693106"/>
              <a:gd name="connsiteY39-41804" fmla="*/ 1854556 h 5292022"/>
              <a:gd name="connsiteX40-41805" fmla="*/ 10693106 w 10693106"/>
              <a:gd name="connsiteY40-41806" fmla="*/ 2006956 h 5292022"/>
              <a:gd name="connsiteX41-41807" fmla="*/ 10625373 w 10693106"/>
              <a:gd name="connsiteY41-41808" fmla="*/ 2227089 h 5292022"/>
              <a:gd name="connsiteX42-41809" fmla="*/ 10608440 w 10693106"/>
              <a:gd name="connsiteY42-41810" fmla="*/ 2252489 h 5292022"/>
              <a:gd name="connsiteX43-41811" fmla="*/ 10540706 w 10693106"/>
              <a:gd name="connsiteY43-41812" fmla="*/ 2396422 h 5292022"/>
              <a:gd name="connsiteX44-41813" fmla="*/ 10498373 w 10693106"/>
              <a:gd name="connsiteY44-41814" fmla="*/ 2481089 h 5292022"/>
              <a:gd name="connsiteX45-41815" fmla="*/ 10439106 w 10693106"/>
              <a:gd name="connsiteY45-41816" fmla="*/ 2667356 h 5292022"/>
              <a:gd name="connsiteX46-41817" fmla="*/ 10430640 w 10693106"/>
              <a:gd name="connsiteY46-41818" fmla="*/ 2709689 h 5292022"/>
              <a:gd name="connsiteX47-41819" fmla="*/ 10405240 w 10693106"/>
              <a:gd name="connsiteY47-41820" fmla="*/ 2785889 h 5292022"/>
              <a:gd name="connsiteX48-41821" fmla="*/ 10396773 w 10693106"/>
              <a:gd name="connsiteY48-41822" fmla="*/ 2819756 h 5292022"/>
              <a:gd name="connsiteX49-41823" fmla="*/ 10362906 w 10693106"/>
              <a:gd name="connsiteY49-41824" fmla="*/ 2912889 h 5292022"/>
              <a:gd name="connsiteX50-41825" fmla="*/ 10329040 w 10693106"/>
              <a:gd name="connsiteY50-41826" fmla="*/ 2955222 h 5292022"/>
              <a:gd name="connsiteX51-41827" fmla="*/ 10227440 w 10693106"/>
              <a:gd name="connsiteY51-41828" fmla="*/ 3056822 h 5292022"/>
              <a:gd name="connsiteX52-41829" fmla="*/ 10168173 w 10693106"/>
              <a:gd name="connsiteY52-41830" fmla="*/ 3124556 h 5292022"/>
              <a:gd name="connsiteX53-41831" fmla="*/ 10117373 w 10693106"/>
              <a:gd name="connsiteY53-41832" fmla="*/ 3175356 h 5292022"/>
              <a:gd name="connsiteX54-41833" fmla="*/ 10032706 w 10693106"/>
              <a:gd name="connsiteY54-41834" fmla="*/ 3276956 h 5292022"/>
              <a:gd name="connsiteX55-41835" fmla="*/ 9948040 w 10693106"/>
              <a:gd name="connsiteY55-41836" fmla="*/ 3336222 h 5292022"/>
              <a:gd name="connsiteX56-41837" fmla="*/ 9905706 w 10693106"/>
              <a:gd name="connsiteY56-41838" fmla="*/ 3361622 h 5292022"/>
              <a:gd name="connsiteX57-41839" fmla="*/ 9829506 w 10693106"/>
              <a:gd name="connsiteY57-41840" fmla="*/ 3378556 h 5292022"/>
              <a:gd name="connsiteX58-41841" fmla="*/ 9634773 w 10693106"/>
              <a:gd name="connsiteY58-41842" fmla="*/ 3446289 h 5292022"/>
              <a:gd name="connsiteX59-41843" fmla="*/ 9067506 w 10693106"/>
              <a:gd name="connsiteY59-41844" fmla="*/ 3861156 h 5292022"/>
              <a:gd name="connsiteX60-41845" fmla="*/ 8999773 w 10693106"/>
              <a:gd name="connsiteY60-41846" fmla="*/ 3928889 h 5292022"/>
              <a:gd name="connsiteX61-41847" fmla="*/ 8813506 w 10693106"/>
              <a:gd name="connsiteY61-41848" fmla="*/ 4064356 h 5292022"/>
              <a:gd name="connsiteX62-41849" fmla="*/ 8728840 w 10693106"/>
              <a:gd name="connsiteY62-41850" fmla="*/ 4106689 h 5292022"/>
              <a:gd name="connsiteX63-41851" fmla="*/ 8373240 w 10693106"/>
              <a:gd name="connsiteY63-41852" fmla="*/ 4140556 h 5292022"/>
              <a:gd name="connsiteX64-41853" fmla="*/ 7966840 w 10693106"/>
              <a:gd name="connsiteY64-41854" fmla="*/ 4233689 h 5292022"/>
              <a:gd name="connsiteX65-41855" fmla="*/ 7687440 w 10693106"/>
              <a:gd name="connsiteY65-41856" fmla="*/ 4394556 h 5292022"/>
              <a:gd name="connsiteX66-41857" fmla="*/ 7374173 w 10693106"/>
              <a:gd name="connsiteY66-41858" fmla="*/ 4657022 h 5292022"/>
              <a:gd name="connsiteX67-41859" fmla="*/ 7374173 w 10693106"/>
              <a:gd name="connsiteY67-41860" fmla="*/ 4657022 h 5292022"/>
              <a:gd name="connsiteX68-41861" fmla="*/ 7221773 w 10693106"/>
              <a:gd name="connsiteY68-41862" fmla="*/ 4775556 h 5292022"/>
              <a:gd name="connsiteX69-41863" fmla="*/ 7027040 w 10693106"/>
              <a:gd name="connsiteY69-41864" fmla="*/ 4902556 h 5292022"/>
              <a:gd name="connsiteX70-41865" fmla="*/ 6883106 w 10693106"/>
              <a:gd name="connsiteY70-41866" fmla="*/ 4970289 h 5292022"/>
              <a:gd name="connsiteX71-41867" fmla="*/ 6815373 w 10693106"/>
              <a:gd name="connsiteY71-41868" fmla="*/ 5012622 h 5292022"/>
              <a:gd name="connsiteX72-41869" fmla="*/ 6646040 w 10693106"/>
              <a:gd name="connsiteY72-41870" fmla="*/ 5105756 h 5292022"/>
              <a:gd name="connsiteX73-41871" fmla="*/ 6527506 w 10693106"/>
              <a:gd name="connsiteY73-41872" fmla="*/ 5165022 h 5292022"/>
              <a:gd name="connsiteX74-41873" fmla="*/ 6298906 w 10693106"/>
              <a:gd name="connsiteY74-41874" fmla="*/ 5241222 h 5292022"/>
              <a:gd name="connsiteX75-41875" fmla="*/ 6197306 w 10693106"/>
              <a:gd name="connsiteY75-41876" fmla="*/ 5266622 h 5292022"/>
              <a:gd name="connsiteX76-41877" fmla="*/ 6061840 w 10693106"/>
              <a:gd name="connsiteY76-41878" fmla="*/ 5275089 h 5292022"/>
              <a:gd name="connsiteX77-41879" fmla="*/ 5917906 w 10693106"/>
              <a:gd name="connsiteY77-41880" fmla="*/ 5292022 h 5292022"/>
              <a:gd name="connsiteX78-41881" fmla="*/ 5748573 w 10693106"/>
              <a:gd name="connsiteY78-41882" fmla="*/ 5283556 h 5292022"/>
              <a:gd name="connsiteX79-41883" fmla="*/ 5282906 w 10693106"/>
              <a:gd name="connsiteY79-41884" fmla="*/ 5173489 h 5292022"/>
              <a:gd name="connsiteX80-41885" fmla="*/ 4959480 w 10693106"/>
              <a:gd name="connsiteY80-41886" fmla="*/ 4988069 h 5292022"/>
              <a:gd name="connsiteX81-41887" fmla="*/ 4686853 w 10693106"/>
              <a:gd name="connsiteY81-41888" fmla="*/ 4788256 h 5292022"/>
              <a:gd name="connsiteX82-41889" fmla="*/ 3977346 w 10693106"/>
              <a:gd name="connsiteY82-41890" fmla="*/ 4470544 h 5292022"/>
              <a:gd name="connsiteX83-41891" fmla="*/ 3741550 w 10693106"/>
              <a:gd name="connsiteY83-41892" fmla="*/ 4154102 h 5292022"/>
              <a:gd name="connsiteX84-41893" fmla="*/ 3562056 w 10693106"/>
              <a:gd name="connsiteY84-41894" fmla="*/ 3406919 h 5292022"/>
              <a:gd name="connsiteX85-41895" fmla="*/ 3242440 w 10693106"/>
              <a:gd name="connsiteY85-41896" fmla="*/ 3099156 h 5292022"/>
              <a:gd name="connsiteX86-41897" fmla="*/ 3123906 w 10693106"/>
              <a:gd name="connsiteY86-41898" fmla="*/ 2997556 h 5292022"/>
              <a:gd name="connsiteX87-41899" fmla="*/ 2988440 w 10693106"/>
              <a:gd name="connsiteY87-41900" fmla="*/ 2802822 h 5292022"/>
              <a:gd name="connsiteX88-41901" fmla="*/ 2971506 w 10693106"/>
              <a:gd name="connsiteY88-41902" fmla="*/ 2743556 h 5292022"/>
              <a:gd name="connsiteX89-41903" fmla="*/ 2996906 w 10693106"/>
              <a:gd name="connsiteY89-41904" fmla="*/ 2531889 h 5292022"/>
              <a:gd name="connsiteX90-41905" fmla="*/ 3013840 w 10693106"/>
              <a:gd name="connsiteY90-41906" fmla="*/ 2430289 h 5292022"/>
              <a:gd name="connsiteX91-41907" fmla="*/ 3005373 w 10693106"/>
              <a:gd name="connsiteY91-41908" fmla="*/ 2311756 h 5292022"/>
              <a:gd name="connsiteX92-41909" fmla="*/ 2988440 w 10693106"/>
              <a:gd name="connsiteY92-41910" fmla="*/ 2260956 h 5292022"/>
              <a:gd name="connsiteX93-41911" fmla="*/ 2802173 w 10693106"/>
              <a:gd name="connsiteY93-41912" fmla="*/ 2006956 h 5292022"/>
              <a:gd name="connsiteX94-41913" fmla="*/ 2641306 w 10693106"/>
              <a:gd name="connsiteY94-41914" fmla="*/ 1863022 h 5292022"/>
              <a:gd name="connsiteX95-41915" fmla="*/ 2590506 w 10693106"/>
              <a:gd name="connsiteY95-41916" fmla="*/ 1837622 h 5292022"/>
              <a:gd name="connsiteX96-41917" fmla="*/ 2531240 w 10693106"/>
              <a:gd name="connsiteY96-41918" fmla="*/ 1829156 h 5292022"/>
              <a:gd name="connsiteX97-41919" fmla="*/ 2446573 w 10693106"/>
              <a:gd name="connsiteY97-41920" fmla="*/ 1812222 h 5292022"/>
              <a:gd name="connsiteX98-41921" fmla="*/ 2251840 w 10693106"/>
              <a:gd name="connsiteY98-41922" fmla="*/ 1837622 h 5292022"/>
              <a:gd name="connsiteX99-41923" fmla="*/ 2167173 w 10693106"/>
              <a:gd name="connsiteY99-41924" fmla="*/ 1879956 h 5292022"/>
              <a:gd name="connsiteX100-41925" fmla="*/ 1980906 w 10693106"/>
              <a:gd name="connsiteY100-41926" fmla="*/ 1939222 h 5292022"/>
              <a:gd name="connsiteX101-41927" fmla="*/ 1904706 w 10693106"/>
              <a:gd name="connsiteY101-41928" fmla="*/ 1973089 h 5292022"/>
              <a:gd name="connsiteX102-41929" fmla="*/ 1828506 w 10693106"/>
              <a:gd name="connsiteY102-41930" fmla="*/ 1990022 h 5292022"/>
              <a:gd name="connsiteX103-41931" fmla="*/ 1726906 w 10693106"/>
              <a:gd name="connsiteY103-41932" fmla="*/ 2040822 h 5292022"/>
              <a:gd name="connsiteX104-41933" fmla="*/ 1659173 w 10693106"/>
              <a:gd name="connsiteY104-41934" fmla="*/ 2074689 h 5292022"/>
              <a:gd name="connsiteX105-41935" fmla="*/ 1498306 w 10693106"/>
              <a:gd name="connsiteY105-41936" fmla="*/ 2100089 h 5292022"/>
              <a:gd name="connsiteX106-41937" fmla="*/ 914106 w 10693106"/>
              <a:gd name="connsiteY106-41938" fmla="*/ 2032356 h 5292022"/>
              <a:gd name="connsiteX107-41939" fmla="*/ 617773 w 10693106"/>
              <a:gd name="connsiteY107-41940" fmla="*/ 1922289 h 5292022"/>
              <a:gd name="connsiteX108-41941" fmla="*/ 516173 w 10693106"/>
              <a:gd name="connsiteY108-41942" fmla="*/ 1837622 h 5292022"/>
              <a:gd name="connsiteX109-41943" fmla="*/ 355306 w 10693106"/>
              <a:gd name="connsiteY109-41944" fmla="*/ 1625956 h 5292022"/>
              <a:gd name="connsiteX110-41945" fmla="*/ 296040 w 10693106"/>
              <a:gd name="connsiteY110-41946" fmla="*/ 1524356 h 5292022"/>
              <a:gd name="connsiteX111-41947" fmla="*/ 253706 w 10693106"/>
              <a:gd name="connsiteY111-41948" fmla="*/ 1346556 h 5292022"/>
              <a:gd name="connsiteX112-41949" fmla="*/ 245240 w 10693106"/>
              <a:gd name="connsiteY112-41950" fmla="*/ 1219556 h 5292022"/>
              <a:gd name="connsiteX113-41951" fmla="*/ 236773 w 10693106"/>
              <a:gd name="connsiteY113-41952" fmla="*/ 1117956 h 5292022"/>
              <a:gd name="connsiteX114-41953" fmla="*/ 245240 w 10693106"/>
              <a:gd name="connsiteY114-41954" fmla="*/ 847022 h 5292022"/>
              <a:gd name="connsiteX115-41955" fmla="*/ 236773 w 10693106"/>
              <a:gd name="connsiteY115-41956" fmla="*/ 703089 h 5292022"/>
              <a:gd name="connsiteX116-41957" fmla="*/ 109773 w 10693106"/>
              <a:gd name="connsiteY116-41958" fmla="*/ 559156 h 5292022"/>
              <a:gd name="connsiteX117-41959" fmla="*/ 58973 w 10693106"/>
              <a:gd name="connsiteY117-41960" fmla="*/ 482956 h 5292022"/>
              <a:gd name="connsiteX118-41961" fmla="*/ 16640 w 10693106"/>
              <a:gd name="connsiteY118-41962" fmla="*/ 432156 h 5292022"/>
              <a:gd name="connsiteX119-41963" fmla="*/ 8173 w 10693106"/>
              <a:gd name="connsiteY119-41964" fmla="*/ 389822 h 5292022"/>
              <a:gd name="connsiteX120-41965" fmla="*/ 16640 w 10693106"/>
              <a:gd name="connsiteY120-41966" fmla="*/ 339022 h 5292022"/>
              <a:gd name="connsiteX0-41967" fmla="*/ 16640 w 10693106"/>
              <a:gd name="connsiteY0-41968" fmla="*/ 339022 h 5292022"/>
              <a:gd name="connsiteX1-41969" fmla="*/ 58973 w 10693106"/>
              <a:gd name="connsiteY1-41970" fmla="*/ 245889 h 5292022"/>
              <a:gd name="connsiteX2-41971" fmla="*/ 109773 w 10693106"/>
              <a:gd name="connsiteY2-41972" fmla="*/ 178156 h 5292022"/>
              <a:gd name="connsiteX3-41973" fmla="*/ 202906 w 10693106"/>
              <a:gd name="connsiteY3-41974" fmla="*/ 93489 h 5292022"/>
              <a:gd name="connsiteX4-41975" fmla="*/ 236773 w 10693106"/>
              <a:gd name="connsiteY4-41976" fmla="*/ 68089 h 5292022"/>
              <a:gd name="connsiteX5-41977" fmla="*/ 335410 w 10693106"/>
              <a:gd name="connsiteY5-41978" fmla="*/ 58352 h 5292022"/>
              <a:gd name="connsiteX6-41979" fmla="*/ 382400 w 10693106"/>
              <a:gd name="connsiteY6-41980" fmla="*/ 51156 h 5292022"/>
              <a:gd name="connsiteX7-41981" fmla="*/ 434912 w 10693106"/>
              <a:gd name="connsiteY7-41982" fmla="*/ 70071 h 5292022"/>
              <a:gd name="connsiteX8-41983" fmla="*/ 492697 w 10693106"/>
              <a:gd name="connsiteY8-41984" fmla="*/ 74247 h 5292022"/>
              <a:gd name="connsiteX9-41985" fmla="*/ 822897 w 10693106"/>
              <a:gd name="connsiteY9-41986" fmla="*/ 82713 h 5292022"/>
              <a:gd name="connsiteX10-41987" fmla="*/ 1091906 w 10693106"/>
              <a:gd name="connsiteY10-41988" fmla="*/ 356 h 5292022"/>
              <a:gd name="connsiteX11-41989" fmla="*/ 1235840 w 10693106"/>
              <a:gd name="connsiteY11-41990" fmla="*/ 59622 h 5292022"/>
              <a:gd name="connsiteX12-41991" fmla="*/ 1337440 w 10693106"/>
              <a:gd name="connsiteY12-41992" fmla="*/ 135822 h 5292022"/>
              <a:gd name="connsiteX13-41993" fmla="*/ 1422106 w 10693106"/>
              <a:gd name="connsiteY13-41994" fmla="*/ 245889 h 5292022"/>
              <a:gd name="connsiteX14-41995" fmla="*/ 1481373 w 10693106"/>
              <a:gd name="connsiteY14-41996" fmla="*/ 313622 h 5292022"/>
              <a:gd name="connsiteX15-41997" fmla="*/ 1532173 w 10693106"/>
              <a:gd name="connsiteY15-41998" fmla="*/ 347489 h 5292022"/>
              <a:gd name="connsiteX16-41999" fmla="*/ 1684573 w 10693106"/>
              <a:gd name="connsiteY16-42000" fmla="*/ 406756 h 5292022"/>
              <a:gd name="connsiteX17-42001" fmla="*/ 1760773 w 10693106"/>
              <a:gd name="connsiteY17-42002" fmla="*/ 423689 h 5292022"/>
              <a:gd name="connsiteX18-42003" fmla="*/ 2404240 w 10693106"/>
              <a:gd name="connsiteY18-42004" fmla="*/ 355956 h 5292022"/>
              <a:gd name="connsiteX19-42005" fmla="*/ 3398918 w 10693106"/>
              <a:gd name="connsiteY19-42006" fmla="*/ 72322 h 5292022"/>
              <a:gd name="connsiteX20-42007" fmla="*/ 4529373 w 10693106"/>
              <a:gd name="connsiteY20-42008" fmla="*/ 271289 h 5292022"/>
              <a:gd name="connsiteX21-42009" fmla="*/ 5630810 w 10693106"/>
              <a:gd name="connsiteY21-42010" fmla="*/ 1149898 h 5292022"/>
              <a:gd name="connsiteX22-42011" fmla="*/ 6881490 w 10693106"/>
              <a:gd name="connsiteY22-42012" fmla="*/ 1366452 h 5292022"/>
              <a:gd name="connsiteX23-42013" fmla="*/ 7839032 w 10693106"/>
              <a:gd name="connsiteY23-42014" fmla="*/ 1183996 h 5292022"/>
              <a:gd name="connsiteX24-42015" fmla="*/ 8652640 w 10693106"/>
              <a:gd name="connsiteY24-42016" fmla="*/ 677689 h 5292022"/>
              <a:gd name="connsiteX25-42017" fmla="*/ 8982840 w 10693106"/>
              <a:gd name="connsiteY25-42018" fmla="*/ 398289 h 5292022"/>
              <a:gd name="connsiteX26-42019" fmla="*/ 9380773 w 10693106"/>
              <a:gd name="connsiteY26-42020" fmla="*/ 355956 h 5292022"/>
              <a:gd name="connsiteX27-42021" fmla="*/ 9744840 w 10693106"/>
              <a:gd name="connsiteY27-42022" fmla="*/ 466022 h 5292022"/>
              <a:gd name="connsiteX28-42023" fmla="*/ 9888773 w 10693106"/>
              <a:gd name="connsiteY28-42024" fmla="*/ 508356 h 5292022"/>
              <a:gd name="connsiteX29-42025" fmla="*/ 9998840 w 10693106"/>
              <a:gd name="connsiteY29-42026" fmla="*/ 559156 h 5292022"/>
              <a:gd name="connsiteX30-42027" fmla="*/ 10083506 w 10693106"/>
              <a:gd name="connsiteY30-42028" fmla="*/ 618422 h 5292022"/>
              <a:gd name="connsiteX31-42029" fmla="*/ 10286706 w 10693106"/>
              <a:gd name="connsiteY31-42030" fmla="*/ 686156 h 5292022"/>
              <a:gd name="connsiteX32-42031" fmla="*/ 10388306 w 10693106"/>
              <a:gd name="connsiteY32-42032" fmla="*/ 889356 h 5292022"/>
              <a:gd name="connsiteX33-42033" fmla="*/ 10540706 w 10693106"/>
              <a:gd name="connsiteY33-42034" fmla="*/ 1261889 h 5292022"/>
              <a:gd name="connsiteX34-42035" fmla="*/ 10557640 w 10693106"/>
              <a:gd name="connsiteY34-42036" fmla="*/ 1346556 h 5292022"/>
              <a:gd name="connsiteX35-42037" fmla="*/ 10583040 w 10693106"/>
              <a:gd name="connsiteY35-42038" fmla="*/ 1448156 h 5292022"/>
              <a:gd name="connsiteX36-42039" fmla="*/ 10616906 w 10693106"/>
              <a:gd name="connsiteY36-42040" fmla="*/ 1651356 h 5292022"/>
              <a:gd name="connsiteX37-42041" fmla="*/ 10633840 w 10693106"/>
              <a:gd name="connsiteY37-42042" fmla="*/ 1736022 h 5292022"/>
              <a:gd name="connsiteX38-42043" fmla="*/ 10650773 w 10693106"/>
              <a:gd name="connsiteY38-42044" fmla="*/ 1769889 h 5292022"/>
              <a:gd name="connsiteX39-42045" fmla="*/ 10676173 w 10693106"/>
              <a:gd name="connsiteY39-42046" fmla="*/ 1854556 h 5292022"/>
              <a:gd name="connsiteX40-42047" fmla="*/ 10693106 w 10693106"/>
              <a:gd name="connsiteY40-42048" fmla="*/ 2006956 h 5292022"/>
              <a:gd name="connsiteX41-42049" fmla="*/ 10625373 w 10693106"/>
              <a:gd name="connsiteY41-42050" fmla="*/ 2227089 h 5292022"/>
              <a:gd name="connsiteX42-42051" fmla="*/ 10608440 w 10693106"/>
              <a:gd name="connsiteY42-42052" fmla="*/ 2252489 h 5292022"/>
              <a:gd name="connsiteX43-42053" fmla="*/ 10540706 w 10693106"/>
              <a:gd name="connsiteY43-42054" fmla="*/ 2396422 h 5292022"/>
              <a:gd name="connsiteX44-42055" fmla="*/ 10498373 w 10693106"/>
              <a:gd name="connsiteY44-42056" fmla="*/ 2481089 h 5292022"/>
              <a:gd name="connsiteX45-42057" fmla="*/ 10439106 w 10693106"/>
              <a:gd name="connsiteY45-42058" fmla="*/ 2667356 h 5292022"/>
              <a:gd name="connsiteX46-42059" fmla="*/ 10430640 w 10693106"/>
              <a:gd name="connsiteY46-42060" fmla="*/ 2709689 h 5292022"/>
              <a:gd name="connsiteX47-42061" fmla="*/ 10405240 w 10693106"/>
              <a:gd name="connsiteY47-42062" fmla="*/ 2785889 h 5292022"/>
              <a:gd name="connsiteX48-42063" fmla="*/ 10396773 w 10693106"/>
              <a:gd name="connsiteY48-42064" fmla="*/ 2819756 h 5292022"/>
              <a:gd name="connsiteX49-42065" fmla="*/ 10362906 w 10693106"/>
              <a:gd name="connsiteY49-42066" fmla="*/ 2912889 h 5292022"/>
              <a:gd name="connsiteX50-42067" fmla="*/ 10329040 w 10693106"/>
              <a:gd name="connsiteY50-42068" fmla="*/ 2955222 h 5292022"/>
              <a:gd name="connsiteX51-42069" fmla="*/ 10227440 w 10693106"/>
              <a:gd name="connsiteY51-42070" fmla="*/ 3056822 h 5292022"/>
              <a:gd name="connsiteX52-42071" fmla="*/ 10168173 w 10693106"/>
              <a:gd name="connsiteY52-42072" fmla="*/ 3124556 h 5292022"/>
              <a:gd name="connsiteX53-42073" fmla="*/ 10117373 w 10693106"/>
              <a:gd name="connsiteY53-42074" fmla="*/ 3175356 h 5292022"/>
              <a:gd name="connsiteX54-42075" fmla="*/ 10032706 w 10693106"/>
              <a:gd name="connsiteY54-42076" fmla="*/ 3276956 h 5292022"/>
              <a:gd name="connsiteX55-42077" fmla="*/ 9948040 w 10693106"/>
              <a:gd name="connsiteY55-42078" fmla="*/ 3336222 h 5292022"/>
              <a:gd name="connsiteX56-42079" fmla="*/ 9905706 w 10693106"/>
              <a:gd name="connsiteY56-42080" fmla="*/ 3361622 h 5292022"/>
              <a:gd name="connsiteX57-42081" fmla="*/ 9634773 w 10693106"/>
              <a:gd name="connsiteY57-42082" fmla="*/ 3446289 h 5292022"/>
              <a:gd name="connsiteX58-42083" fmla="*/ 9067506 w 10693106"/>
              <a:gd name="connsiteY58-42084" fmla="*/ 3861156 h 5292022"/>
              <a:gd name="connsiteX59-42085" fmla="*/ 8999773 w 10693106"/>
              <a:gd name="connsiteY59-42086" fmla="*/ 3928889 h 5292022"/>
              <a:gd name="connsiteX60-42087" fmla="*/ 8813506 w 10693106"/>
              <a:gd name="connsiteY60-42088" fmla="*/ 4064356 h 5292022"/>
              <a:gd name="connsiteX61-42089" fmla="*/ 8728840 w 10693106"/>
              <a:gd name="connsiteY61-42090" fmla="*/ 4106689 h 5292022"/>
              <a:gd name="connsiteX62-42091" fmla="*/ 8373240 w 10693106"/>
              <a:gd name="connsiteY62-42092" fmla="*/ 4140556 h 5292022"/>
              <a:gd name="connsiteX63-42093" fmla="*/ 7966840 w 10693106"/>
              <a:gd name="connsiteY63-42094" fmla="*/ 4233689 h 5292022"/>
              <a:gd name="connsiteX64-42095" fmla="*/ 7687440 w 10693106"/>
              <a:gd name="connsiteY64-42096" fmla="*/ 4394556 h 5292022"/>
              <a:gd name="connsiteX65-42097" fmla="*/ 7374173 w 10693106"/>
              <a:gd name="connsiteY65-42098" fmla="*/ 4657022 h 5292022"/>
              <a:gd name="connsiteX66-42099" fmla="*/ 7374173 w 10693106"/>
              <a:gd name="connsiteY66-42100" fmla="*/ 4657022 h 5292022"/>
              <a:gd name="connsiteX67-42101" fmla="*/ 7221773 w 10693106"/>
              <a:gd name="connsiteY67-42102" fmla="*/ 4775556 h 5292022"/>
              <a:gd name="connsiteX68-42103" fmla="*/ 7027040 w 10693106"/>
              <a:gd name="connsiteY68-42104" fmla="*/ 4902556 h 5292022"/>
              <a:gd name="connsiteX69-42105" fmla="*/ 6883106 w 10693106"/>
              <a:gd name="connsiteY69-42106" fmla="*/ 4970289 h 5292022"/>
              <a:gd name="connsiteX70-42107" fmla="*/ 6815373 w 10693106"/>
              <a:gd name="connsiteY70-42108" fmla="*/ 5012622 h 5292022"/>
              <a:gd name="connsiteX71-42109" fmla="*/ 6646040 w 10693106"/>
              <a:gd name="connsiteY71-42110" fmla="*/ 5105756 h 5292022"/>
              <a:gd name="connsiteX72-42111" fmla="*/ 6527506 w 10693106"/>
              <a:gd name="connsiteY72-42112" fmla="*/ 5165022 h 5292022"/>
              <a:gd name="connsiteX73-42113" fmla="*/ 6298906 w 10693106"/>
              <a:gd name="connsiteY73-42114" fmla="*/ 5241222 h 5292022"/>
              <a:gd name="connsiteX74-42115" fmla="*/ 6197306 w 10693106"/>
              <a:gd name="connsiteY74-42116" fmla="*/ 5266622 h 5292022"/>
              <a:gd name="connsiteX75-42117" fmla="*/ 6061840 w 10693106"/>
              <a:gd name="connsiteY75-42118" fmla="*/ 5275089 h 5292022"/>
              <a:gd name="connsiteX76-42119" fmla="*/ 5917906 w 10693106"/>
              <a:gd name="connsiteY76-42120" fmla="*/ 5292022 h 5292022"/>
              <a:gd name="connsiteX77-42121" fmla="*/ 5748573 w 10693106"/>
              <a:gd name="connsiteY77-42122" fmla="*/ 5283556 h 5292022"/>
              <a:gd name="connsiteX78-42123" fmla="*/ 5282906 w 10693106"/>
              <a:gd name="connsiteY78-42124" fmla="*/ 5173489 h 5292022"/>
              <a:gd name="connsiteX79-42125" fmla="*/ 4959480 w 10693106"/>
              <a:gd name="connsiteY79-42126" fmla="*/ 4988069 h 5292022"/>
              <a:gd name="connsiteX80-42127" fmla="*/ 4686853 w 10693106"/>
              <a:gd name="connsiteY80-42128" fmla="*/ 4788256 h 5292022"/>
              <a:gd name="connsiteX81-42129" fmla="*/ 3977346 w 10693106"/>
              <a:gd name="connsiteY81-42130" fmla="*/ 4470544 h 5292022"/>
              <a:gd name="connsiteX82-42131" fmla="*/ 3741550 w 10693106"/>
              <a:gd name="connsiteY82-42132" fmla="*/ 4154102 h 5292022"/>
              <a:gd name="connsiteX83-42133" fmla="*/ 3562056 w 10693106"/>
              <a:gd name="connsiteY83-42134" fmla="*/ 3406919 h 5292022"/>
              <a:gd name="connsiteX84-42135" fmla="*/ 3242440 w 10693106"/>
              <a:gd name="connsiteY84-42136" fmla="*/ 3099156 h 5292022"/>
              <a:gd name="connsiteX85-42137" fmla="*/ 3123906 w 10693106"/>
              <a:gd name="connsiteY85-42138" fmla="*/ 2997556 h 5292022"/>
              <a:gd name="connsiteX86-42139" fmla="*/ 2988440 w 10693106"/>
              <a:gd name="connsiteY86-42140" fmla="*/ 2802822 h 5292022"/>
              <a:gd name="connsiteX87-42141" fmla="*/ 2971506 w 10693106"/>
              <a:gd name="connsiteY87-42142" fmla="*/ 2743556 h 5292022"/>
              <a:gd name="connsiteX88-42143" fmla="*/ 2996906 w 10693106"/>
              <a:gd name="connsiteY88-42144" fmla="*/ 2531889 h 5292022"/>
              <a:gd name="connsiteX89-42145" fmla="*/ 3013840 w 10693106"/>
              <a:gd name="connsiteY89-42146" fmla="*/ 2430289 h 5292022"/>
              <a:gd name="connsiteX90-42147" fmla="*/ 3005373 w 10693106"/>
              <a:gd name="connsiteY90-42148" fmla="*/ 2311756 h 5292022"/>
              <a:gd name="connsiteX91-42149" fmla="*/ 2988440 w 10693106"/>
              <a:gd name="connsiteY91-42150" fmla="*/ 2260956 h 5292022"/>
              <a:gd name="connsiteX92-42151" fmla="*/ 2802173 w 10693106"/>
              <a:gd name="connsiteY92-42152" fmla="*/ 2006956 h 5292022"/>
              <a:gd name="connsiteX93-42153" fmla="*/ 2641306 w 10693106"/>
              <a:gd name="connsiteY93-42154" fmla="*/ 1863022 h 5292022"/>
              <a:gd name="connsiteX94-42155" fmla="*/ 2590506 w 10693106"/>
              <a:gd name="connsiteY94-42156" fmla="*/ 1837622 h 5292022"/>
              <a:gd name="connsiteX95-42157" fmla="*/ 2531240 w 10693106"/>
              <a:gd name="connsiteY95-42158" fmla="*/ 1829156 h 5292022"/>
              <a:gd name="connsiteX96-42159" fmla="*/ 2446573 w 10693106"/>
              <a:gd name="connsiteY96-42160" fmla="*/ 1812222 h 5292022"/>
              <a:gd name="connsiteX97-42161" fmla="*/ 2251840 w 10693106"/>
              <a:gd name="connsiteY97-42162" fmla="*/ 1837622 h 5292022"/>
              <a:gd name="connsiteX98-42163" fmla="*/ 2167173 w 10693106"/>
              <a:gd name="connsiteY98-42164" fmla="*/ 1879956 h 5292022"/>
              <a:gd name="connsiteX99-42165" fmla="*/ 1980906 w 10693106"/>
              <a:gd name="connsiteY99-42166" fmla="*/ 1939222 h 5292022"/>
              <a:gd name="connsiteX100-42167" fmla="*/ 1904706 w 10693106"/>
              <a:gd name="connsiteY100-42168" fmla="*/ 1973089 h 5292022"/>
              <a:gd name="connsiteX101-42169" fmla="*/ 1828506 w 10693106"/>
              <a:gd name="connsiteY101-42170" fmla="*/ 1990022 h 5292022"/>
              <a:gd name="connsiteX102-42171" fmla="*/ 1726906 w 10693106"/>
              <a:gd name="connsiteY102-42172" fmla="*/ 2040822 h 5292022"/>
              <a:gd name="connsiteX103-42173" fmla="*/ 1659173 w 10693106"/>
              <a:gd name="connsiteY103-42174" fmla="*/ 2074689 h 5292022"/>
              <a:gd name="connsiteX104-42175" fmla="*/ 1498306 w 10693106"/>
              <a:gd name="connsiteY104-42176" fmla="*/ 2100089 h 5292022"/>
              <a:gd name="connsiteX105-42177" fmla="*/ 914106 w 10693106"/>
              <a:gd name="connsiteY105-42178" fmla="*/ 2032356 h 5292022"/>
              <a:gd name="connsiteX106-42179" fmla="*/ 617773 w 10693106"/>
              <a:gd name="connsiteY106-42180" fmla="*/ 1922289 h 5292022"/>
              <a:gd name="connsiteX107-42181" fmla="*/ 516173 w 10693106"/>
              <a:gd name="connsiteY107-42182" fmla="*/ 1837622 h 5292022"/>
              <a:gd name="connsiteX108-42183" fmla="*/ 355306 w 10693106"/>
              <a:gd name="connsiteY108-42184" fmla="*/ 1625956 h 5292022"/>
              <a:gd name="connsiteX109-42185" fmla="*/ 296040 w 10693106"/>
              <a:gd name="connsiteY109-42186" fmla="*/ 1524356 h 5292022"/>
              <a:gd name="connsiteX110-42187" fmla="*/ 253706 w 10693106"/>
              <a:gd name="connsiteY110-42188" fmla="*/ 1346556 h 5292022"/>
              <a:gd name="connsiteX111-42189" fmla="*/ 245240 w 10693106"/>
              <a:gd name="connsiteY111-42190" fmla="*/ 1219556 h 5292022"/>
              <a:gd name="connsiteX112-42191" fmla="*/ 236773 w 10693106"/>
              <a:gd name="connsiteY112-42192" fmla="*/ 1117956 h 5292022"/>
              <a:gd name="connsiteX113-42193" fmla="*/ 245240 w 10693106"/>
              <a:gd name="connsiteY113-42194" fmla="*/ 847022 h 5292022"/>
              <a:gd name="connsiteX114-42195" fmla="*/ 236773 w 10693106"/>
              <a:gd name="connsiteY114-42196" fmla="*/ 703089 h 5292022"/>
              <a:gd name="connsiteX115-42197" fmla="*/ 109773 w 10693106"/>
              <a:gd name="connsiteY115-42198" fmla="*/ 559156 h 5292022"/>
              <a:gd name="connsiteX116-42199" fmla="*/ 58973 w 10693106"/>
              <a:gd name="connsiteY116-42200" fmla="*/ 482956 h 5292022"/>
              <a:gd name="connsiteX117-42201" fmla="*/ 16640 w 10693106"/>
              <a:gd name="connsiteY117-42202" fmla="*/ 432156 h 5292022"/>
              <a:gd name="connsiteX118-42203" fmla="*/ 8173 w 10693106"/>
              <a:gd name="connsiteY118-42204" fmla="*/ 389822 h 5292022"/>
              <a:gd name="connsiteX119-42205" fmla="*/ 16640 w 10693106"/>
              <a:gd name="connsiteY119-42206" fmla="*/ 339022 h 5292022"/>
              <a:gd name="connsiteX0-42207" fmla="*/ 16640 w 10693106"/>
              <a:gd name="connsiteY0-42208" fmla="*/ 339022 h 5292022"/>
              <a:gd name="connsiteX1-42209" fmla="*/ 58973 w 10693106"/>
              <a:gd name="connsiteY1-42210" fmla="*/ 245889 h 5292022"/>
              <a:gd name="connsiteX2-42211" fmla="*/ 109773 w 10693106"/>
              <a:gd name="connsiteY2-42212" fmla="*/ 178156 h 5292022"/>
              <a:gd name="connsiteX3-42213" fmla="*/ 202906 w 10693106"/>
              <a:gd name="connsiteY3-42214" fmla="*/ 93489 h 5292022"/>
              <a:gd name="connsiteX4-42215" fmla="*/ 236773 w 10693106"/>
              <a:gd name="connsiteY4-42216" fmla="*/ 68089 h 5292022"/>
              <a:gd name="connsiteX5-42217" fmla="*/ 335410 w 10693106"/>
              <a:gd name="connsiteY5-42218" fmla="*/ 58352 h 5292022"/>
              <a:gd name="connsiteX6-42219" fmla="*/ 382400 w 10693106"/>
              <a:gd name="connsiteY6-42220" fmla="*/ 51156 h 5292022"/>
              <a:gd name="connsiteX7-42221" fmla="*/ 434912 w 10693106"/>
              <a:gd name="connsiteY7-42222" fmla="*/ 70071 h 5292022"/>
              <a:gd name="connsiteX8-42223" fmla="*/ 492697 w 10693106"/>
              <a:gd name="connsiteY8-42224" fmla="*/ 74247 h 5292022"/>
              <a:gd name="connsiteX9-42225" fmla="*/ 822897 w 10693106"/>
              <a:gd name="connsiteY9-42226" fmla="*/ 82713 h 5292022"/>
              <a:gd name="connsiteX10-42227" fmla="*/ 1091906 w 10693106"/>
              <a:gd name="connsiteY10-42228" fmla="*/ 356 h 5292022"/>
              <a:gd name="connsiteX11-42229" fmla="*/ 1235840 w 10693106"/>
              <a:gd name="connsiteY11-42230" fmla="*/ 59622 h 5292022"/>
              <a:gd name="connsiteX12-42231" fmla="*/ 1337440 w 10693106"/>
              <a:gd name="connsiteY12-42232" fmla="*/ 135822 h 5292022"/>
              <a:gd name="connsiteX13-42233" fmla="*/ 1422106 w 10693106"/>
              <a:gd name="connsiteY13-42234" fmla="*/ 245889 h 5292022"/>
              <a:gd name="connsiteX14-42235" fmla="*/ 1481373 w 10693106"/>
              <a:gd name="connsiteY14-42236" fmla="*/ 313622 h 5292022"/>
              <a:gd name="connsiteX15-42237" fmla="*/ 1532173 w 10693106"/>
              <a:gd name="connsiteY15-42238" fmla="*/ 347489 h 5292022"/>
              <a:gd name="connsiteX16-42239" fmla="*/ 1684573 w 10693106"/>
              <a:gd name="connsiteY16-42240" fmla="*/ 406756 h 5292022"/>
              <a:gd name="connsiteX17-42241" fmla="*/ 1760773 w 10693106"/>
              <a:gd name="connsiteY17-42242" fmla="*/ 423689 h 5292022"/>
              <a:gd name="connsiteX18-42243" fmla="*/ 2404240 w 10693106"/>
              <a:gd name="connsiteY18-42244" fmla="*/ 355956 h 5292022"/>
              <a:gd name="connsiteX19-42245" fmla="*/ 3398918 w 10693106"/>
              <a:gd name="connsiteY19-42246" fmla="*/ 72322 h 5292022"/>
              <a:gd name="connsiteX20-42247" fmla="*/ 4529373 w 10693106"/>
              <a:gd name="connsiteY20-42248" fmla="*/ 271289 h 5292022"/>
              <a:gd name="connsiteX21-42249" fmla="*/ 5630810 w 10693106"/>
              <a:gd name="connsiteY21-42250" fmla="*/ 1149898 h 5292022"/>
              <a:gd name="connsiteX22-42251" fmla="*/ 6881490 w 10693106"/>
              <a:gd name="connsiteY22-42252" fmla="*/ 1366452 h 5292022"/>
              <a:gd name="connsiteX23-42253" fmla="*/ 7839032 w 10693106"/>
              <a:gd name="connsiteY23-42254" fmla="*/ 1183996 h 5292022"/>
              <a:gd name="connsiteX24-42255" fmla="*/ 8652640 w 10693106"/>
              <a:gd name="connsiteY24-42256" fmla="*/ 677689 h 5292022"/>
              <a:gd name="connsiteX25-42257" fmla="*/ 8982840 w 10693106"/>
              <a:gd name="connsiteY25-42258" fmla="*/ 398289 h 5292022"/>
              <a:gd name="connsiteX26-42259" fmla="*/ 9380773 w 10693106"/>
              <a:gd name="connsiteY26-42260" fmla="*/ 355956 h 5292022"/>
              <a:gd name="connsiteX27-42261" fmla="*/ 9744840 w 10693106"/>
              <a:gd name="connsiteY27-42262" fmla="*/ 466022 h 5292022"/>
              <a:gd name="connsiteX28-42263" fmla="*/ 9888773 w 10693106"/>
              <a:gd name="connsiteY28-42264" fmla="*/ 508356 h 5292022"/>
              <a:gd name="connsiteX29-42265" fmla="*/ 9998840 w 10693106"/>
              <a:gd name="connsiteY29-42266" fmla="*/ 559156 h 5292022"/>
              <a:gd name="connsiteX30-42267" fmla="*/ 10083506 w 10693106"/>
              <a:gd name="connsiteY30-42268" fmla="*/ 618422 h 5292022"/>
              <a:gd name="connsiteX31-42269" fmla="*/ 10286706 w 10693106"/>
              <a:gd name="connsiteY31-42270" fmla="*/ 686156 h 5292022"/>
              <a:gd name="connsiteX32-42271" fmla="*/ 10388306 w 10693106"/>
              <a:gd name="connsiteY32-42272" fmla="*/ 889356 h 5292022"/>
              <a:gd name="connsiteX33-42273" fmla="*/ 10540706 w 10693106"/>
              <a:gd name="connsiteY33-42274" fmla="*/ 1261889 h 5292022"/>
              <a:gd name="connsiteX34-42275" fmla="*/ 10557640 w 10693106"/>
              <a:gd name="connsiteY34-42276" fmla="*/ 1346556 h 5292022"/>
              <a:gd name="connsiteX35-42277" fmla="*/ 10583040 w 10693106"/>
              <a:gd name="connsiteY35-42278" fmla="*/ 1448156 h 5292022"/>
              <a:gd name="connsiteX36-42279" fmla="*/ 10616906 w 10693106"/>
              <a:gd name="connsiteY36-42280" fmla="*/ 1651356 h 5292022"/>
              <a:gd name="connsiteX37-42281" fmla="*/ 10633840 w 10693106"/>
              <a:gd name="connsiteY37-42282" fmla="*/ 1736022 h 5292022"/>
              <a:gd name="connsiteX38-42283" fmla="*/ 10650773 w 10693106"/>
              <a:gd name="connsiteY38-42284" fmla="*/ 1769889 h 5292022"/>
              <a:gd name="connsiteX39-42285" fmla="*/ 10676173 w 10693106"/>
              <a:gd name="connsiteY39-42286" fmla="*/ 1854556 h 5292022"/>
              <a:gd name="connsiteX40-42287" fmla="*/ 10693106 w 10693106"/>
              <a:gd name="connsiteY40-42288" fmla="*/ 2006956 h 5292022"/>
              <a:gd name="connsiteX41-42289" fmla="*/ 10625373 w 10693106"/>
              <a:gd name="connsiteY41-42290" fmla="*/ 2227089 h 5292022"/>
              <a:gd name="connsiteX42-42291" fmla="*/ 10608440 w 10693106"/>
              <a:gd name="connsiteY42-42292" fmla="*/ 2252489 h 5292022"/>
              <a:gd name="connsiteX43-42293" fmla="*/ 10540706 w 10693106"/>
              <a:gd name="connsiteY43-42294" fmla="*/ 2396422 h 5292022"/>
              <a:gd name="connsiteX44-42295" fmla="*/ 10498373 w 10693106"/>
              <a:gd name="connsiteY44-42296" fmla="*/ 2481089 h 5292022"/>
              <a:gd name="connsiteX45-42297" fmla="*/ 10439106 w 10693106"/>
              <a:gd name="connsiteY45-42298" fmla="*/ 2667356 h 5292022"/>
              <a:gd name="connsiteX46-42299" fmla="*/ 10430640 w 10693106"/>
              <a:gd name="connsiteY46-42300" fmla="*/ 2709689 h 5292022"/>
              <a:gd name="connsiteX47-42301" fmla="*/ 10405240 w 10693106"/>
              <a:gd name="connsiteY47-42302" fmla="*/ 2785889 h 5292022"/>
              <a:gd name="connsiteX48-42303" fmla="*/ 10396773 w 10693106"/>
              <a:gd name="connsiteY48-42304" fmla="*/ 2819756 h 5292022"/>
              <a:gd name="connsiteX49-42305" fmla="*/ 10362906 w 10693106"/>
              <a:gd name="connsiteY49-42306" fmla="*/ 2912889 h 5292022"/>
              <a:gd name="connsiteX50-42307" fmla="*/ 10329040 w 10693106"/>
              <a:gd name="connsiteY50-42308" fmla="*/ 2955222 h 5292022"/>
              <a:gd name="connsiteX51-42309" fmla="*/ 10227440 w 10693106"/>
              <a:gd name="connsiteY51-42310" fmla="*/ 3056822 h 5292022"/>
              <a:gd name="connsiteX52-42311" fmla="*/ 10168173 w 10693106"/>
              <a:gd name="connsiteY52-42312" fmla="*/ 3124556 h 5292022"/>
              <a:gd name="connsiteX53-42313" fmla="*/ 10117373 w 10693106"/>
              <a:gd name="connsiteY53-42314" fmla="*/ 3175356 h 5292022"/>
              <a:gd name="connsiteX54-42315" fmla="*/ 10032706 w 10693106"/>
              <a:gd name="connsiteY54-42316" fmla="*/ 3276956 h 5292022"/>
              <a:gd name="connsiteX55-42317" fmla="*/ 9948040 w 10693106"/>
              <a:gd name="connsiteY55-42318" fmla="*/ 3336222 h 5292022"/>
              <a:gd name="connsiteX56-42319" fmla="*/ 9905706 w 10693106"/>
              <a:gd name="connsiteY56-42320" fmla="*/ 3361622 h 5292022"/>
              <a:gd name="connsiteX57-42321" fmla="*/ 9067506 w 10693106"/>
              <a:gd name="connsiteY57-42322" fmla="*/ 3861156 h 5292022"/>
              <a:gd name="connsiteX58-42323" fmla="*/ 8999773 w 10693106"/>
              <a:gd name="connsiteY58-42324" fmla="*/ 3928889 h 5292022"/>
              <a:gd name="connsiteX59-42325" fmla="*/ 8813506 w 10693106"/>
              <a:gd name="connsiteY59-42326" fmla="*/ 4064356 h 5292022"/>
              <a:gd name="connsiteX60-42327" fmla="*/ 8728840 w 10693106"/>
              <a:gd name="connsiteY60-42328" fmla="*/ 4106689 h 5292022"/>
              <a:gd name="connsiteX61-42329" fmla="*/ 8373240 w 10693106"/>
              <a:gd name="connsiteY61-42330" fmla="*/ 4140556 h 5292022"/>
              <a:gd name="connsiteX62-42331" fmla="*/ 7966840 w 10693106"/>
              <a:gd name="connsiteY62-42332" fmla="*/ 4233689 h 5292022"/>
              <a:gd name="connsiteX63-42333" fmla="*/ 7687440 w 10693106"/>
              <a:gd name="connsiteY63-42334" fmla="*/ 4394556 h 5292022"/>
              <a:gd name="connsiteX64-42335" fmla="*/ 7374173 w 10693106"/>
              <a:gd name="connsiteY64-42336" fmla="*/ 4657022 h 5292022"/>
              <a:gd name="connsiteX65-42337" fmla="*/ 7374173 w 10693106"/>
              <a:gd name="connsiteY65-42338" fmla="*/ 4657022 h 5292022"/>
              <a:gd name="connsiteX66-42339" fmla="*/ 7221773 w 10693106"/>
              <a:gd name="connsiteY66-42340" fmla="*/ 4775556 h 5292022"/>
              <a:gd name="connsiteX67-42341" fmla="*/ 7027040 w 10693106"/>
              <a:gd name="connsiteY67-42342" fmla="*/ 4902556 h 5292022"/>
              <a:gd name="connsiteX68-42343" fmla="*/ 6883106 w 10693106"/>
              <a:gd name="connsiteY68-42344" fmla="*/ 4970289 h 5292022"/>
              <a:gd name="connsiteX69-42345" fmla="*/ 6815373 w 10693106"/>
              <a:gd name="connsiteY69-42346" fmla="*/ 5012622 h 5292022"/>
              <a:gd name="connsiteX70-42347" fmla="*/ 6646040 w 10693106"/>
              <a:gd name="connsiteY70-42348" fmla="*/ 5105756 h 5292022"/>
              <a:gd name="connsiteX71-42349" fmla="*/ 6527506 w 10693106"/>
              <a:gd name="connsiteY71-42350" fmla="*/ 5165022 h 5292022"/>
              <a:gd name="connsiteX72-42351" fmla="*/ 6298906 w 10693106"/>
              <a:gd name="connsiteY72-42352" fmla="*/ 5241222 h 5292022"/>
              <a:gd name="connsiteX73-42353" fmla="*/ 6197306 w 10693106"/>
              <a:gd name="connsiteY73-42354" fmla="*/ 5266622 h 5292022"/>
              <a:gd name="connsiteX74-42355" fmla="*/ 6061840 w 10693106"/>
              <a:gd name="connsiteY74-42356" fmla="*/ 5275089 h 5292022"/>
              <a:gd name="connsiteX75-42357" fmla="*/ 5917906 w 10693106"/>
              <a:gd name="connsiteY75-42358" fmla="*/ 5292022 h 5292022"/>
              <a:gd name="connsiteX76-42359" fmla="*/ 5748573 w 10693106"/>
              <a:gd name="connsiteY76-42360" fmla="*/ 5283556 h 5292022"/>
              <a:gd name="connsiteX77-42361" fmla="*/ 5282906 w 10693106"/>
              <a:gd name="connsiteY77-42362" fmla="*/ 5173489 h 5292022"/>
              <a:gd name="connsiteX78-42363" fmla="*/ 4959480 w 10693106"/>
              <a:gd name="connsiteY78-42364" fmla="*/ 4988069 h 5292022"/>
              <a:gd name="connsiteX79-42365" fmla="*/ 4686853 w 10693106"/>
              <a:gd name="connsiteY79-42366" fmla="*/ 4788256 h 5292022"/>
              <a:gd name="connsiteX80-42367" fmla="*/ 3977346 w 10693106"/>
              <a:gd name="connsiteY80-42368" fmla="*/ 4470544 h 5292022"/>
              <a:gd name="connsiteX81-42369" fmla="*/ 3741550 w 10693106"/>
              <a:gd name="connsiteY81-42370" fmla="*/ 4154102 h 5292022"/>
              <a:gd name="connsiteX82-42371" fmla="*/ 3562056 w 10693106"/>
              <a:gd name="connsiteY82-42372" fmla="*/ 3406919 h 5292022"/>
              <a:gd name="connsiteX83-42373" fmla="*/ 3242440 w 10693106"/>
              <a:gd name="connsiteY83-42374" fmla="*/ 3099156 h 5292022"/>
              <a:gd name="connsiteX84-42375" fmla="*/ 3123906 w 10693106"/>
              <a:gd name="connsiteY84-42376" fmla="*/ 2997556 h 5292022"/>
              <a:gd name="connsiteX85-42377" fmla="*/ 2988440 w 10693106"/>
              <a:gd name="connsiteY85-42378" fmla="*/ 2802822 h 5292022"/>
              <a:gd name="connsiteX86-42379" fmla="*/ 2971506 w 10693106"/>
              <a:gd name="connsiteY86-42380" fmla="*/ 2743556 h 5292022"/>
              <a:gd name="connsiteX87-42381" fmla="*/ 2996906 w 10693106"/>
              <a:gd name="connsiteY87-42382" fmla="*/ 2531889 h 5292022"/>
              <a:gd name="connsiteX88-42383" fmla="*/ 3013840 w 10693106"/>
              <a:gd name="connsiteY88-42384" fmla="*/ 2430289 h 5292022"/>
              <a:gd name="connsiteX89-42385" fmla="*/ 3005373 w 10693106"/>
              <a:gd name="connsiteY89-42386" fmla="*/ 2311756 h 5292022"/>
              <a:gd name="connsiteX90-42387" fmla="*/ 2988440 w 10693106"/>
              <a:gd name="connsiteY90-42388" fmla="*/ 2260956 h 5292022"/>
              <a:gd name="connsiteX91-42389" fmla="*/ 2802173 w 10693106"/>
              <a:gd name="connsiteY91-42390" fmla="*/ 2006956 h 5292022"/>
              <a:gd name="connsiteX92-42391" fmla="*/ 2641306 w 10693106"/>
              <a:gd name="connsiteY92-42392" fmla="*/ 1863022 h 5292022"/>
              <a:gd name="connsiteX93-42393" fmla="*/ 2590506 w 10693106"/>
              <a:gd name="connsiteY93-42394" fmla="*/ 1837622 h 5292022"/>
              <a:gd name="connsiteX94-42395" fmla="*/ 2531240 w 10693106"/>
              <a:gd name="connsiteY94-42396" fmla="*/ 1829156 h 5292022"/>
              <a:gd name="connsiteX95-42397" fmla="*/ 2446573 w 10693106"/>
              <a:gd name="connsiteY95-42398" fmla="*/ 1812222 h 5292022"/>
              <a:gd name="connsiteX96-42399" fmla="*/ 2251840 w 10693106"/>
              <a:gd name="connsiteY96-42400" fmla="*/ 1837622 h 5292022"/>
              <a:gd name="connsiteX97-42401" fmla="*/ 2167173 w 10693106"/>
              <a:gd name="connsiteY97-42402" fmla="*/ 1879956 h 5292022"/>
              <a:gd name="connsiteX98-42403" fmla="*/ 1980906 w 10693106"/>
              <a:gd name="connsiteY98-42404" fmla="*/ 1939222 h 5292022"/>
              <a:gd name="connsiteX99-42405" fmla="*/ 1904706 w 10693106"/>
              <a:gd name="connsiteY99-42406" fmla="*/ 1973089 h 5292022"/>
              <a:gd name="connsiteX100-42407" fmla="*/ 1828506 w 10693106"/>
              <a:gd name="connsiteY100-42408" fmla="*/ 1990022 h 5292022"/>
              <a:gd name="connsiteX101-42409" fmla="*/ 1726906 w 10693106"/>
              <a:gd name="connsiteY101-42410" fmla="*/ 2040822 h 5292022"/>
              <a:gd name="connsiteX102-42411" fmla="*/ 1659173 w 10693106"/>
              <a:gd name="connsiteY102-42412" fmla="*/ 2074689 h 5292022"/>
              <a:gd name="connsiteX103-42413" fmla="*/ 1498306 w 10693106"/>
              <a:gd name="connsiteY103-42414" fmla="*/ 2100089 h 5292022"/>
              <a:gd name="connsiteX104-42415" fmla="*/ 914106 w 10693106"/>
              <a:gd name="connsiteY104-42416" fmla="*/ 2032356 h 5292022"/>
              <a:gd name="connsiteX105-42417" fmla="*/ 617773 w 10693106"/>
              <a:gd name="connsiteY105-42418" fmla="*/ 1922289 h 5292022"/>
              <a:gd name="connsiteX106-42419" fmla="*/ 516173 w 10693106"/>
              <a:gd name="connsiteY106-42420" fmla="*/ 1837622 h 5292022"/>
              <a:gd name="connsiteX107-42421" fmla="*/ 355306 w 10693106"/>
              <a:gd name="connsiteY107-42422" fmla="*/ 1625956 h 5292022"/>
              <a:gd name="connsiteX108-42423" fmla="*/ 296040 w 10693106"/>
              <a:gd name="connsiteY108-42424" fmla="*/ 1524356 h 5292022"/>
              <a:gd name="connsiteX109-42425" fmla="*/ 253706 w 10693106"/>
              <a:gd name="connsiteY109-42426" fmla="*/ 1346556 h 5292022"/>
              <a:gd name="connsiteX110-42427" fmla="*/ 245240 w 10693106"/>
              <a:gd name="connsiteY110-42428" fmla="*/ 1219556 h 5292022"/>
              <a:gd name="connsiteX111-42429" fmla="*/ 236773 w 10693106"/>
              <a:gd name="connsiteY111-42430" fmla="*/ 1117956 h 5292022"/>
              <a:gd name="connsiteX112-42431" fmla="*/ 245240 w 10693106"/>
              <a:gd name="connsiteY112-42432" fmla="*/ 847022 h 5292022"/>
              <a:gd name="connsiteX113-42433" fmla="*/ 236773 w 10693106"/>
              <a:gd name="connsiteY113-42434" fmla="*/ 703089 h 5292022"/>
              <a:gd name="connsiteX114-42435" fmla="*/ 109773 w 10693106"/>
              <a:gd name="connsiteY114-42436" fmla="*/ 559156 h 5292022"/>
              <a:gd name="connsiteX115-42437" fmla="*/ 58973 w 10693106"/>
              <a:gd name="connsiteY115-42438" fmla="*/ 482956 h 5292022"/>
              <a:gd name="connsiteX116-42439" fmla="*/ 16640 w 10693106"/>
              <a:gd name="connsiteY116-42440" fmla="*/ 432156 h 5292022"/>
              <a:gd name="connsiteX117-42441" fmla="*/ 8173 w 10693106"/>
              <a:gd name="connsiteY117-42442" fmla="*/ 389822 h 5292022"/>
              <a:gd name="connsiteX118-42443" fmla="*/ 16640 w 10693106"/>
              <a:gd name="connsiteY118-42444" fmla="*/ 339022 h 5292022"/>
              <a:gd name="connsiteX0-42445" fmla="*/ 16640 w 10693106"/>
              <a:gd name="connsiteY0-42446" fmla="*/ 339022 h 5292022"/>
              <a:gd name="connsiteX1-42447" fmla="*/ 58973 w 10693106"/>
              <a:gd name="connsiteY1-42448" fmla="*/ 245889 h 5292022"/>
              <a:gd name="connsiteX2-42449" fmla="*/ 109773 w 10693106"/>
              <a:gd name="connsiteY2-42450" fmla="*/ 178156 h 5292022"/>
              <a:gd name="connsiteX3-42451" fmla="*/ 202906 w 10693106"/>
              <a:gd name="connsiteY3-42452" fmla="*/ 93489 h 5292022"/>
              <a:gd name="connsiteX4-42453" fmla="*/ 236773 w 10693106"/>
              <a:gd name="connsiteY4-42454" fmla="*/ 68089 h 5292022"/>
              <a:gd name="connsiteX5-42455" fmla="*/ 335410 w 10693106"/>
              <a:gd name="connsiteY5-42456" fmla="*/ 58352 h 5292022"/>
              <a:gd name="connsiteX6-42457" fmla="*/ 382400 w 10693106"/>
              <a:gd name="connsiteY6-42458" fmla="*/ 51156 h 5292022"/>
              <a:gd name="connsiteX7-42459" fmla="*/ 434912 w 10693106"/>
              <a:gd name="connsiteY7-42460" fmla="*/ 70071 h 5292022"/>
              <a:gd name="connsiteX8-42461" fmla="*/ 492697 w 10693106"/>
              <a:gd name="connsiteY8-42462" fmla="*/ 74247 h 5292022"/>
              <a:gd name="connsiteX9-42463" fmla="*/ 822897 w 10693106"/>
              <a:gd name="connsiteY9-42464" fmla="*/ 82713 h 5292022"/>
              <a:gd name="connsiteX10-42465" fmla="*/ 1091906 w 10693106"/>
              <a:gd name="connsiteY10-42466" fmla="*/ 356 h 5292022"/>
              <a:gd name="connsiteX11-42467" fmla="*/ 1235840 w 10693106"/>
              <a:gd name="connsiteY11-42468" fmla="*/ 59622 h 5292022"/>
              <a:gd name="connsiteX12-42469" fmla="*/ 1337440 w 10693106"/>
              <a:gd name="connsiteY12-42470" fmla="*/ 135822 h 5292022"/>
              <a:gd name="connsiteX13-42471" fmla="*/ 1422106 w 10693106"/>
              <a:gd name="connsiteY13-42472" fmla="*/ 245889 h 5292022"/>
              <a:gd name="connsiteX14-42473" fmla="*/ 1481373 w 10693106"/>
              <a:gd name="connsiteY14-42474" fmla="*/ 313622 h 5292022"/>
              <a:gd name="connsiteX15-42475" fmla="*/ 1532173 w 10693106"/>
              <a:gd name="connsiteY15-42476" fmla="*/ 347489 h 5292022"/>
              <a:gd name="connsiteX16-42477" fmla="*/ 1684573 w 10693106"/>
              <a:gd name="connsiteY16-42478" fmla="*/ 406756 h 5292022"/>
              <a:gd name="connsiteX17-42479" fmla="*/ 1760773 w 10693106"/>
              <a:gd name="connsiteY17-42480" fmla="*/ 423689 h 5292022"/>
              <a:gd name="connsiteX18-42481" fmla="*/ 2404240 w 10693106"/>
              <a:gd name="connsiteY18-42482" fmla="*/ 355956 h 5292022"/>
              <a:gd name="connsiteX19-42483" fmla="*/ 3398918 w 10693106"/>
              <a:gd name="connsiteY19-42484" fmla="*/ 72322 h 5292022"/>
              <a:gd name="connsiteX20-42485" fmla="*/ 4529373 w 10693106"/>
              <a:gd name="connsiteY20-42486" fmla="*/ 271289 h 5292022"/>
              <a:gd name="connsiteX21-42487" fmla="*/ 5630810 w 10693106"/>
              <a:gd name="connsiteY21-42488" fmla="*/ 1149898 h 5292022"/>
              <a:gd name="connsiteX22-42489" fmla="*/ 6881490 w 10693106"/>
              <a:gd name="connsiteY22-42490" fmla="*/ 1366452 h 5292022"/>
              <a:gd name="connsiteX23-42491" fmla="*/ 7839032 w 10693106"/>
              <a:gd name="connsiteY23-42492" fmla="*/ 1183996 h 5292022"/>
              <a:gd name="connsiteX24-42493" fmla="*/ 8652640 w 10693106"/>
              <a:gd name="connsiteY24-42494" fmla="*/ 677689 h 5292022"/>
              <a:gd name="connsiteX25-42495" fmla="*/ 8982840 w 10693106"/>
              <a:gd name="connsiteY25-42496" fmla="*/ 398289 h 5292022"/>
              <a:gd name="connsiteX26-42497" fmla="*/ 9380773 w 10693106"/>
              <a:gd name="connsiteY26-42498" fmla="*/ 355956 h 5292022"/>
              <a:gd name="connsiteX27-42499" fmla="*/ 9744840 w 10693106"/>
              <a:gd name="connsiteY27-42500" fmla="*/ 466022 h 5292022"/>
              <a:gd name="connsiteX28-42501" fmla="*/ 9888773 w 10693106"/>
              <a:gd name="connsiteY28-42502" fmla="*/ 508356 h 5292022"/>
              <a:gd name="connsiteX29-42503" fmla="*/ 9998840 w 10693106"/>
              <a:gd name="connsiteY29-42504" fmla="*/ 559156 h 5292022"/>
              <a:gd name="connsiteX30-42505" fmla="*/ 10083506 w 10693106"/>
              <a:gd name="connsiteY30-42506" fmla="*/ 618422 h 5292022"/>
              <a:gd name="connsiteX31-42507" fmla="*/ 10286706 w 10693106"/>
              <a:gd name="connsiteY31-42508" fmla="*/ 686156 h 5292022"/>
              <a:gd name="connsiteX32-42509" fmla="*/ 10388306 w 10693106"/>
              <a:gd name="connsiteY32-42510" fmla="*/ 889356 h 5292022"/>
              <a:gd name="connsiteX33-42511" fmla="*/ 10540706 w 10693106"/>
              <a:gd name="connsiteY33-42512" fmla="*/ 1261889 h 5292022"/>
              <a:gd name="connsiteX34-42513" fmla="*/ 10557640 w 10693106"/>
              <a:gd name="connsiteY34-42514" fmla="*/ 1346556 h 5292022"/>
              <a:gd name="connsiteX35-42515" fmla="*/ 10583040 w 10693106"/>
              <a:gd name="connsiteY35-42516" fmla="*/ 1448156 h 5292022"/>
              <a:gd name="connsiteX36-42517" fmla="*/ 10616906 w 10693106"/>
              <a:gd name="connsiteY36-42518" fmla="*/ 1651356 h 5292022"/>
              <a:gd name="connsiteX37-42519" fmla="*/ 10633840 w 10693106"/>
              <a:gd name="connsiteY37-42520" fmla="*/ 1736022 h 5292022"/>
              <a:gd name="connsiteX38-42521" fmla="*/ 10650773 w 10693106"/>
              <a:gd name="connsiteY38-42522" fmla="*/ 1769889 h 5292022"/>
              <a:gd name="connsiteX39-42523" fmla="*/ 10676173 w 10693106"/>
              <a:gd name="connsiteY39-42524" fmla="*/ 1854556 h 5292022"/>
              <a:gd name="connsiteX40-42525" fmla="*/ 10693106 w 10693106"/>
              <a:gd name="connsiteY40-42526" fmla="*/ 2006956 h 5292022"/>
              <a:gd name="connsiteX41-42527" fmla="*/ 10625373 w 10693106"/>
              <a:gd name="connsiteY41-42528" fmla="*/ 2227089 h 5292022"/>
              <a:gd name="connsiteX42-42529" fmla="*/ 10608440 w 10693106"/>
              <a:gd name="connsiteY42-42530" fmla="*/ 2252489 h 5292022"/>
              <a:gd name="connsiteX43-42531" fmla="*/ 10540706 w 10693106"/>
              <a:gd name="connsiteY43-42532" fmla="*/ 2396422 h 5292022"/>
              <a:gd name="connsiteX44-42533" fmla="*/ 10498373 w 10693106"/>
              <a:gd name="connsiteY44-42534" fmla="*/ 2481089 h 5292022"/>
              <a:gd name="connsiteX45-42535" fmla="*/ 10439106 w 10693106"/>
              <a:gd name="connsiteY45-42536" fmla="*/ 2667356 h 5292022"/>
              <a:gd name="connsiteX46-42537" fmla="*/ 10430640 w 10693106"/>
              <a:gd name="connsiteY46-42538" fmla="*/ 2709689 h 5292022"/>
              <a:gd name="connsiteX47-42539" fmla="*/ 10405240 w 10693106"/>
              <a:gd name="connsiteY47-42540" fmla="*/ 2785889 h 5292022"/>
              <a:gd name="connsiteX48-42541" fmla="*/ 10396773 w 10693106"/>
              <a:gd name="connsiteY48-42542" fmla="*/ 2819756 h 5292022"/>
              <a:gd name="connsiteX49-42543" fmla="*/ 10362906 w 10693106"/>
              <a:gd name="connsiteY49-42544" fmla="*/ 2912889 h 5292022"/>
              <a:gd name="connsiteX50-42545" fmla="*/ 10329040 w 10693106"/>
              <a:gd name="connsiteY50-42546" fmla="*/ 2955222 h 5292022"/>
              <a:gd name="connsiteX51-42547" fmla="*/ 10227440 w 10693106"/>
              <a:gd name="connsiteY51-42548" fmla="*/ 3056822 h 5292022"/>
              <a:gd name="connsiteX52-42549" fmla="*/ 10168173 w 10693106"/>
              <a:gd name="connsiteY52-42550" fmla="*/ 3124556 h 5292022"/>
              <a:gd name="connsiteX53-42551" fmla="*/ 10117373 w 10693106"/>
              <a:gd name="connsiteY53-42552" fmla="*/ 3175356 h 5292022"/>
              <a:gd name="connsiteX54-42553" fmla="*/ 10032706 w 10693106"/>
              <a:gd name="connsiteY54-42554" fmla="*/ 3276956 h 5292022"/>
              <a:gd name="connsiteX55-42555" fmla="*/ 9948040 w 10693106"/>
              <a:gd name="connsiteY55-42556" fmla="*/ 3336222 h 5292022"/>
              <a:gd name="connsiteX56-42557" fmla="*/ 9067506 w 10693106"/>
              <a:gd name="connsiteY56-42558" fmla="*/ 3861156 h 5292022"/>
              <a:gd name="connsiteX57-42559" fmla="*/ 8999773 w 10693106"/>
              <a:gd name="connsiteY57-42560" fmla="*/ 3928889 h 5292022"/>
              <a:gd name="connsiteX58-42561" fmla="*/ 8813506 w 10693106"/>
              <a:gd name="connsiteY58-42562" fmla="*/ 4064356 h 5292022"/>
              <a:gd name="connsiteX59-42563" fmla="*/ 8728840 w 10693106"/>
              <a:gd name="connsiteY59-42564" fmla="*/ 4106689 h 5292022"/>
              <a:gd name="connsiteX60-42565" fmla="*/ 8373240 w 10693106"/>
              <a:gd name="connsiteY60-42566" fmla="*/ 4140556 h 5292022"/>
              <a:gd name="connsiteX61-42567" fmla="*/ 7966840 w 10693106"/>
              <a:gd name="connsiteY61-42568" fmla="*/ 4233689 h 5292022"/>
              <a:gd name="connsiteX62-42569" fmla="*/ 7687440 w 10693106"/>
              <a:gd name="connsiteY62-42570" fmla="*/ 4394556 h 5292022"/>
              <a:gd name="connsiteX63-42571" fmla="*/ 7374173 w 10693106"/>
              <a:gd name="connsiteY63-42572" fmla="*/ 4657022 h 5292022"/>
              <a:gd name="connsiteX64-42573" fmla="*/ 7374173 w 10693106"/>
              <a:gd name="connsiteY64-42574" fmla="*/ 4657022 h 5292022"/>
              <a:gd name="connsiteX65-42575" fmla="*/ 7221773 w 10693106"/>
              <a:gd name="connsiteY65-42576" fmla="*/ 4775556 h 5292022"/>
              <a:gd name="connsiteX66-42577" fmla="*/ 7027040 w 10693106"/>
              <a:gd name="connsiteY66-42578" fmla="*/ 4902556 h 5292022"/>
              <a:gd name="connsiteX67-42579" fmla="*/ 6883106 w 10693106"/>
              <a:gd name="connsiteY67-42580" fmla="*/ 4970289 h 5292022"/>
              <a:gd name="connsiteX68-42581" fmla="*/ 6815373 w 10693106"/>
              <a:gd name="connsiteY68-42582" fmla="*/ 5012622 h 5292022"/>
              <a:gd name="connsiteX69-42583" fmla="*/ 6646040 w 10693106"/>
              <a:gd name="connsiteY69-42584" fmla="*/ 5105756 h 5292022"/>
              <a:gd name="connsiteX70-42585" fmla="*/ 6527506 w 10693106"/>
              <a:gd name="connsiteY70-42586" fmla="*/ 5165022 h 5292022"/>
              <a:gd name="connsiteX71-42587" fmla="*/ 6298906 w 10693106"/>
              <a:gd name="connsiteY71-42588" fmla="*/ 5241222 h 5292022"/>
              <a:gd name="connsiteX72-42589" fmla="*/ 6197306 w 10693106"/>
              <a:gd name="connsiteY72-42590" fmla="*/ 5266622 h 5292022"/>
              <a:gd name="connsiteX73-42591" fmla="*/ 6061840 w 10693106"/>
              <a:gd name="connsiteY73-42592" fmla="*/ 5275089 h 5292022"/>
              <a:gd name="connsiteX74-42593" fmla="*/ 5917906 w 10693106"/>
              <a:gd name="connsiteY74-42594" fmla="*/ 5292022 h 5292022"/>
              <a:gd name="connsiteX75-42595" fmla="*/ 5748573 w 10693106"/>
              <a:gd name="connsiteY75-42596" fmla="*/ 5283556 h 5292022"/>
              <a:gd name="connsiteX76-42597" fmla="*/ 5282906 w 10693106"/>
              <a:gd name="connsiteY76-42598" fmla="*/ 5173489 h 5292022"/>
              <a:gd name="connsiteX77-42599" fmla="*/ 4959480 w 10693106"/>
              <a:gd name="connsiteY77-42600" fmla="*/ 4988069 h 5292022"/>
              <a:gd name="connsiteX78-42601" fmla="*/ 4686853 w 10693106"/>
              <a:gd name="connsiteY78-42602" fmla="*/ 4788256 h 5292022"/>
              <a:gd name="connsiteX79-42603" fmla="*/ 3977346 w 10693106"/>
              <a:gd name="connsiteY79-42604" fmla="*/ 4470544 h 5292022"/>
              <a:gd name="connsiteX80-42605" fmla="*/ 3741550 w 10693106"/>
              <a:gd name="connsiteY80-42606" fmla="*/ 4154102 h 5292022"/>
              <a:gd name="connsiteX81-42607" fmla="*/ 3562056 w 10693106"/>
              <a:gd name="connsiteY81-42608" fmla="*/ 3406919 h 5292022"/>
              <a:gd name="connsiteX82-42609" fmla="*/ 3242440 w 10693106"/>
              <a:gd name="connsiteY82-42610" fmla="*/ 3099156 h 5292022"/>
              <a:gd name="connsiteX83-42611" fmla="*/ 3123906 w 10693106"/>
              <a:gd name="connsiteY83-42612" fmla="*/ 2997556 h 5292022"/>
              <a:gd name="connsiteX84-42613" fmla="*/ 2988440 w 10693106"/>
              <a:gd name="connsiteY84-42614" fmla="*/ 2802822 h 5292022"/>
              <a:gd name="connsiteX85-42615" fmla="*/ 2971506 w 10693106"/>
              <a:gd name="connsiteY85-42616" fmla="*/ 2743556 h 5292022"/>
              <a:gd name="connsiteX86-42617" fmla="*/ 2996906 w 10693106"/>
              <a:gd name="connsiteY86-42618" fmla="*/ 2531889 h 5292022"/>
              <a:gd name="connsiteX87-42619" fmla="*/ 3013840 w 10693106"/>
              <a:gd name="connsiteY87-42620" fmla="*/ 2430289 h 5292022"/>
              <a:gd name="connsiteX88-42621" fmla="*/ 3005373 w 10693106"/>
              <a:gd name="connsiteY88-42622" fmla="*/ 2311756 h 5292022"/>
              <a:gd name="connsiteX89-42623" fmla="*/ 2988440 w 10693106"/>
              <a:gd name="connsiteY89-42624" fmla="*/ 2260956 h 5292022"/>
              <a:gd name="connsiteX90-42625" fmla="*/ 2802173 w 10693106"/>
              <a:gd name="connsiteY90-42626" fmla="*/ 2006956 h 5292022"/>
              <a:gd name="connsiteX91-42627" fmla="*/ 2641306 w 10693106"/>
              <a:gd name="connsiteY91-42628" fmla="*/ 1863022 h 5292022"/>
              <a:gd name="connsiteX92-42629" fmla="*/ 2590506 w 10693106"/>
              <a:gd name="connsiteY92-42630" fmla="*/ 1837622 h 5292022"/>
              <a:gd name="connsiteX93-42631" fmla="*/ 2531240 w 10693106"/>
              <a:gd name="connsiteY93-42632" fmla="*/ 1829156 h 5292022"/>
              <a:gd name="connsiteX94-42633" fmla="*/ 2446573 w 10693106"/>
              <a:gd name="connsiteY94-42634" fmla="*/ 1812222 h 5292022"/>
              <a:gd name="connsiteX95-42635" fmla="*/ 2251840 w 10693106"/>
              <a:gd name="connsiteY95-42636" fmla="*/ 1837622 h 5292022"/>
              <a:gd name="connsiteX96-42637" fmla="*/ 2167173 w 10693106"/>
              <a:gd name="connsiteY96-42638" fmla="*/ 1879956 h 5292022"/>
              <a:gd name="connsiteX97-42639" fmla="*/ 1980906 w 10693106"/>
              <a:gd name="connsiteY97-42640" fmla="*/ 1939222 h 5292022"/>
              <a:gd name="connsiteX98-42641" fmla="*/ 1904706 w 10693106"/>
              <a:gd name="connsiteY98-42642" fmla="*/ 1973089 h 5292022"/>
              <a:gd name="connsiteX99-42643" fmla="*/ 1828506 w 10693106"/>
              <a:gd name="connsiteY99-42644" fmla="*/ 1990022 h 5292022"/>
              <a:gd name="connsiteX100-42645" fmla="*/ 1726906 w 10693106"/>
              <a:gd name="connsiteY100-42646" fmla="*/ 2040822 h 5292022"/>
              <a:gd name="connsiteX101-42647" fmla="*/ 1659173 w 10693106"/>
              <a:gd name="connsiteY101-42648" fmla="*/ 2074689 h 5292022"/>
              <a:gd name="connsiteX102-42649" fmla="*/ 1498306 w 10693106"/>
              <a:gd name="connsiteY102-42650" fmla="*/ 2100089 h 5292022"/>
              <a:gd name="connsiteX103-42651" fmla="*/ 914106 w 10693106"/>
              <a:gd name="connsiteY103-42652" fmla="*/ 2032356 h 5292022"/>
              <a:gd name="connsiteX104-42653" fmla="*/ 617773 w 10693106"/>
              <a:gd name="connsiteY104-42654" fmla="*/ 1922289 h 5292022"/>
              <a:gd name="connsiteX105-42655" fmla="*/ 516173 w 10693106"/>
              <a:gd name="connsiteY105-42656" fmla="*/ 1837622 h 5292022"/>
              <a:gd name="connsiteX106-42657" fmla="*/ 355306 w 10693106"/>
              <a:gd name="connsiteY106-42658" fmla="*/ 1625956 h 5292022"/>
              <a:gd name="connsiteX107-42659" fmla="*/ 296040 w 10693106"/>
              <a:gd name="connsiteY107-42660" fmla="*/ 1524356 h 5292022"/>
              <a:gd name="connsiteX108-42661" fmla="*/ 253706 w 10693106"/>
              <a:gd name="connsiteY108-42662" fmla="*/ 1346556 h 5292022"/>
              <a:gd name="connsiteX109-42663" fmla="*/ 245240 w 10693106"/>
              <a:gd name="connsiteY109-42664" fmla="*/ 1219556 h 5292022"/>
              <a:gd name="connsiteX110-42665" fmla="*/ 236773 w 10693106"/>
              <a:gd name="connsiteY110-42666" fmla="*/ 1117956 h 5292022"/>
              <a:gd name="connsiteX111-42667" fmla="*/ 245240 w 10693106"/>
              <a:gd name="connsiteY111-42668" fmla="*/ 847022 h 5292022"/>
              <a:gd name="connsiteX112-42669" fmla="*/ 236773 w 10693106"/>
              <a:gd name="connsiteY112-42670" fmla="*/ 703089 h 5292022"/>
              <a:gd name="connsiteX113-42671" fmla="*/ 109773 w 10693106"/>
              <a:gd name="connsiteY113-42672" fmla="*/ 559156 h 5292022"/>
              <a:gd name="connsiteX114-42673" fmla="*/ 58973 w 10693106"/>
              <a:gd name="connsiteY114-42674" fmla="*/ 482956 h 5292022"/>
              <a:gd name="connsiteX115-42675" fmla="*/ 16640 w 10693106"/>
              <a:gd name="connsiteY115-42676" fmla="*/ 432156 h 5292022"/>
              <a:gd name="connsiteX116-42677" fmla="*/ 8173 w 10693106"/>
              <a:gd name="connsiteY116-42678" fmla="*/ 389822 h 5292022"/>
              <a:gd name="connsiteX117-42679" fmla="*/ 16640 w 10693106"/>
              <a:gd name="connsiteY117-42680" fmla="*/ 339022 h 5292022"/>
              <a:gd name="connsiteX0-42681" fmla="*/ 16640 w 10693106"/>
              <a:gd name="connsiteY0-42682" fmla="*/ 339022 h 5292022"/>
              <a:gd name="connsiteX1-42683" fmla="*/ 58973 w 10693106"/>
              <a:gd name="connsiteY1-42684" fmla="*/ 245889 h 5292022"/>
              <a:gd name="connsiteX2-42685" fmla="*/ 109773 w 10693106"/>
              <a:gd name="connsiteY2-42686" fmla="*/ 178156 h 5292022"/>
              <a:gd name="connsiteX3-42687" fmla="*/ 202906 w 10693106"/>
              <a:gd name="connsiteY3-42688" fmla="*/ 93489 h 5292022"/>
              <a:gd name="connsiteX4-42689" fmla="*/ 236773 w 10693106"/>
              <a:gd name="connsiteY4-42690" fmla="*/ 68089 h 5292022"/>
              <a:gd name="connsiteX5-42691" fmla="*/ 335410 w 10693106"/>
              <a:gd name="connsiteY5-42692" fmla="*/ 58352 h 5292022"/>
              <a:gd name="connsiteX6-42693" fmla="*/ 382400 w 10693106"/>
              <a:gd name="connsiteY6-42694" fmla="*/ 51156 h 5292022"/>
              <a:gd name="connsiteX7-42695" fmla="*/ 434912 w 10693106"/>
              <a:gd name="connsiteY7-42696" fmla="*/ 70071 h 5292022"/>
              <a:gd name="connsiteX8-42697" fmla="*/ 492697 w 10693106"/>
              <a:gd name="connsiteY8-42698" fmla="*/ 74247 h 5292022"/>
              <a:gd name="connsiteX9-42699" fmla="*/ 822897 w 10693106"/>
              <a:gd name="connsiteY9-42700" fmla="*/ 82713 h 5292022"/>
              <a:gd name="connsiteX10-42701" fmla="*/ 1091906 w 10693106"/>
              <a:gd name="connsiteY10-42702" fmla="*/ 356 h 5292022"/>
              <a:gd name="connsiteX11-42703" fmla="*/ 1235840 w 10693106"/>
              <a:gd name="connsiteY11-42704" fmla="*/ 59622 h 5292022"/>
              <a:gd name="connsiteX12-42705" fmla="*/ 1337440 w 10693106"/>
              <a:gd name="connsiteY12-42706" fmla="*/ 135822 h 5292022"/>
              <a:gd name="connsiteX13-42707" fmla="*/ 1422106 w 10693106"/>
              <a:gd name="connsiteY13-42708" fmla="*/ 245889 h 5292022"/>
              <a:gd name="connsiteX14-42709" fmla="*/ 1481373 w 10693106"/>
              <a:gd name="connsiteY14-42710" fmla="*/ 313622 h 5292022"/>
              <a:gd name="connsiteX15-42711" fmla="*/ 1532173 w 10693106"/>
              <a:gd name="connsiteY15-42712" fmla="*/ 347489 h 5292022"/>
              <a:gd name="connsiteX16-42713" fmla="*/ 1684573 w 10693106"/>
              <a:gd name="connsiteY16-42714" fmla="*/ 406756 h 5292022"/>
              <a:gd name="connsiteX17-42715" fmla="*/ 1760773 w 10693106"/>
              <a:gd name="connsiteY17-42716" fmla="*/ 423689 h 5292022"/>
              <a:gd name="connsiteX18-42717" fmla="*/ 2404240 w 10693106"/>
              <a:gd name="connsiteY18-42718" fmla="*/ 355956 h 5292022"/>
              <a:gd name="connsiteX19-42719" fmla="*/ 3398918 w 10693106"/>
              <a:gd name="connsiteY19-42720" fmla="*/ 72322 h 5292022"/>
              <a:gd name="connsiteX20-42721" fmla="*/ 4529373 w 10693106"/>
              <a:gd name="connsiteY20-42722" fmla="*/ 271289 h 5292022"/>
              <a:gd name="connsiteX21-42723" fmla="*/ 5630810 w 10693106"/>
              <a:gd name="connsiteY21-42724" fmla="*/ 1149898 h 5292022"/>
              <a:gd name="connsiteX22-42725" fmla="*/ 6881490 w 10693106"/>
              <a:gd name="connsiteY22-42726" fmla="*/ 1366452 h 5292022"/>
              <a:gd name="connsiteX23-42727" fmla="*/ 7839032 w 10693106"/>
              <a:gd name="connsiteY23-42728" fmla="*/ 1183996 h 5292022"/>
              <a:gd name="connsiteX24-42729" fmla="*/ 8652640 w 10693106"/>
              <a:gd name="connsiteY24-42730" fmla="*/ 677689 h 5292022"/>
              <a:gd name="connsiteX25-42731" fmla="*/ 8982840 w 10693106"/>
              <a:gd name="connsiteY25-42732" fmla="*/ 398289 h 5292022"/>
              <a:gd name="connsiteX26-42733" fmla="*/ 9380773 w 10693106"/>
              <a:gd name="connsiteY26-42734" fmla="*/ 355956 h 5292022"/>
              <a:gd name="connsiteX27-42735" fmla="*/ 9744840 w 10693106"/>
              <a:gd name="connsiteY27-42736" fmla="*/ 466022 h 5292022"/>
              <a:gd name="connsiteX28-42737" fmla="*/ 9888773 w 10693106"/>
              <a:gd name="connsiteY28-42738" fmla="*/ 508356 h 5292022"/>
              <a:gd name="connsiteX29-42739" fmla="*/ 9998840 w 10693106"/>
              <a:gd name="connsiteY29-42740" fmla="*/ 559156 h 5292022"/>
              <a:gd name="connsiteX30-42741" fmla="*/ 10083506 w 10693106"/>
              <a:gd name="connsiteY30-42742" fmla="*/ 618422 h 5292022"/>
              <a:gd name="connsiteX31-42743" fmla="*/ 10286706 w 10693106"/>
              <a:gd name="connsiteY31-42744" fmla="*/ 686156 h 5292022"/>
              <a:gd name="connsiteX32-42745" fmla="*/ 10388306 w 10693106"/>
              <a:gd name="connsiteY32-42746" fmla="*/ 889356 h 5292022"/>
              <a:gd name="connsiteX33-42747" fmla="*/ 10540706 w 10693106"/>
              <a:gd name="connsiteY33-42748" fmla="*/ 1261889 h 5292022"/>
              <a:gd name="connsiteX34-42749" fmla="*/ 10557640 w 10693106"/>
              <a:gd name="connsiteY34-42750" fmla="*/ 1346556 h 5292022"/>
              <a:gd name="connsiteX35-42751" fmla="*/ 10583040 w 10693106"/>
              <a:gd name="connsiteY35-42752" fmla="*/ 1448156 h 5292022"/>
              <a:gd name="connsiteX36-42753" fmla="*/ 10616906 w 10693106"/>
              <a:gd name="connsiteY36-42754" fmla="*/ 1651356 h 5292022"/>
              <a:gd name="connsiteX37-42755" fmla="*/ 10633840 w 10693106"/>
              <a:gd name="connsiteY37-42756" fmla="*/ 1736022 h 5292022"/>
              <a:gd name="connsiteX38-42757" fmla="*/ 10650773 w 10693106"/>
              <a:gd name="connsiteY38-42758" fmla="*/ 1769889 h 5292022"/>
              <a:gd name="connsiteX39-42759" fmla="*/ 10676173 w 10693106"/>
              <a:gd name="connsiteY39-42760" fmla="*/ 1854556 h 5292022"/>
              <a:gd name="connsiteX40-42761" fmla="*/ 10693106 w 10693106"/>
              <a:gd name="connsiteY40-42762" fmla="*/ 2006956 h 5292022"/>
              <a:gd name="connsiteX41-42763" fmla="*/ 10625373 w 10693106"/>
              <a:gd name="connsiteY41-42764" fmla="*/ 2227089 h 5292022"/>
              <a:gd name="connsiteX42-42765" fmla="*/ 10608440 w 10693106"/>
              <a:gd name="connsiteY42-42766" fmla="*/ 2252489 h 5292022"/>
              <a:gd name="connsiteX43-42767" fmla="*/ 10540706 w 10693106"/>
              <a:gd name="connsiteY43-42768" fmla="*/ 2396422 h 5292022"/>
              <a:gd name="connsiteX44-42769" fmla="*/ 10498373 w 10693106"/>
              <a:gd name="connsiteY44-42770" fmla="*/ 2481089 h 5292022"/>
              <a:gd name="connsiteX45-42771" fmla="*/ 10439106 w 10693106"/>
              <a:gd name="connsiteY45-42772" fmla="*/ 2667356 h 5292022"/>
              <a:gd name="connsiteX46-42773" fmla="*/ 10430640 w 10693106"/>
              <a:gd name="connsiteY46-42774" fmla="*/ 2709689 h 5292022"/>
              <a:gd name="connsiteX47-42775" fmla="*/ 10405240 w 10693106"/>
              <a:gd name="connsiteY47-42776" fmla="*/ 2785889 h 5292022"/>
              <a:gd name="connsiteX48-42777" fmla="*/ 10396773 w 10693106"/>
              <a:gd name="connsiteY48-42778" fmla="*/ 2819756 h 5292022"/>
              <a:gd name="connsiteX49-42779" fmla="*/ 10362906 w 10693106"/>
              <a:gd name="connsiteY49-42780" fmla="*/ 2912889 h 5292022"/>
              <a:gd name="connsiteX50-42781" fmla="*/ 10329040 w 10693106"/>
              <a:gd name="connsiteY50-42782" fmla="*/ 2955222 h 5292022"/>
              <a:gd name="connsiteX51-42783" fmla="*/ 10227440 w 10693106"/>
              <a:gd name="connsiteY51-42784" fmla="*/ 3056822 h 5292022"/>
              <a:gd name="connsiteX52-42785" fmla="*/ 10168173 w 10693106"/>
              <a:gd name="connsiteY52-42786" fmla="*/ 3124556 h 5292022"/>
              <a:gd name="connsiteX53-42787" fmla="*/ 10117373 w 10693106"/>
              <a:gd name="connsiteY53-42788" fmla="*/ 3175356 h 5292022"/>
              <a:gd name="connsiteX54-42789" fmla="*/ 9948040 w 10693106"/>
              <a:gd name="connsiteY54-42790" fmla="*/ 3336222 h 5292022"/>
              <a:gd name="connsiteX55-42791" fmla="*/ 9067506 w 10693106"/>
              <a:gd name="connsiteY55-42792" fmla="*/ 3861156 h 5292022"/>
              <a:gd name="connsiteX56-42793" fmla="*/ 8999773 w 10693106"/>
              <a:gd name="connsiteY56-42794" fmla="*/ 3928889 h 5292022"/>
              <a:gd name="connsiteX57-42795" fmla="*/ 8813506 w 10693106"/>
              <a:gd name="connsiteY57-42796" fmla="*/ 4064356 h 5292022"/>
              <a:gd name="connsiteX58-42797" fmla="*/ 8728840 w 10693106"/>
              <a:gd name="connsiteY58-42798" fmla="*/ 4106689 h 5292022"/>
              <a:gd name="connsiteX59-42799" fmla="*/ 8373240 w 10693106"/>
              <a:gd name="connsiteY59-42800" fmla="*/ 4140556 h 5292022"/>
              <a:gd name="connsiteX60-42801" fmla="*/ 7966840 w 10693106"/>
              <a:gd name="connsiteY60-42802" fmla="*/ 4233689 h 5292022"/>
              <a:gd name="connsiteX61-42803" fmla="*/ 7687440 w 10693106"/>
              <a:gd name="connsiteY61-42804" fmla="*/ 4394556 h 5292022"/>
              <a:gd name="connsiteX62-42805" fmla="*/ 7374173 w 10693106"/>
              <a:gd name="connsiteY62-42806" fmla="*/ 4657022 h 5292022"/>
              <a:gd name="connsiteX63-42807" fmla="*/ 7374173 w 10693106"/>
              <a:gd name="connsiteY63-42808" fmla="*/ 4657022 h 5292022"/>
              <a:gd name="connsiteX64-42809" fmla="*/ 7221773 w 10693106"/>
              <a:gd name="connsiteY64-42810" fmla="*/ 4775556 h 5292022"/>
              <a:gd name="connsiteX65-42811" fmla="*/ 7027040 w 10693106"/>
              <a:gd name="connsiteY65-42812" fmla="*/ 4902556 h 5292022"/>
              <a:gd name="connsiteX66-42813" fmla="*/ 6883106 w 10693106"/>
              <a:gd name="connsiteY66-42814" fmla="*/ 4970289 h 5292022"/>
              <a:gd name="connsiteX67-42815" fmla="*/ 6815373 w 10693106"/>
              <a:gd name="connsiteY67-42816" fmla="*/ 5012622 h 5292022"/>
              <a:gd name="connsiteX68-42817" fmla="*/ 6646040 w 10693106"/>
              <a:gd name="connsiteY68-42818" fmla="*/ 5105756 h 5292022"/>
              <a:gd name="connsiteX69-42819" fmla="*/ 6527506 w 10693106"/>
              <a:gd name="connsiteY69-42820" fmla="*/ 5165022 h 5292022"/>
              <a:gd name="connsiteX70-42821" fmla="*/ 6298906 w 10693106"/>
              <a:gd name="connsiteY70-42822" fmla="*/ 5241222 h 5292022"/>
              <a:gd name="connsiteX71-42823" fmla="*/ 6197306 w 10693106"/>
              <a:gd name="connsiteY71-42824" fmla="*/ 5266622 h 5292022"/>
              <a:gd name="connsiteX72-42825" fmla="*/ 6061840 w 10693106"/>
              <a:gd name="connsiteY72-42826" fmla="*/ 5275089 h 5292022"/>
              <a:gd name="connsiteX73-42827" fmla="*/ 5917906 w 10693106"/>
              <a:gd name="connsiteY73-42828" fmla="*/ 5292022 h 5292022"/>
              <a:gd name="connsiteX74-42829" fmla="*/ 5748573 w 10693106"/>
              <a:gd name="connsiteY74-42830" fmla="*/ 5283556 h 5292022"/>
              <a:gd name="connsiteX75-42831" fmla="*/ 5282906 w 10693106"/>
              <a:gd name="connsiteY75-42832" fmla="*/ 5173489 h 5292022"/>
              <a:gd name="connsiteX76-42833" fmla="*/ 4959480 w 10693106"/>
              <a:gd name="connsiteY76-42834" fmla="*/ 4988069 h 5292022"/>
              <a:gd name="connsiteX77-42835" fmla="*/ 4686853 w 10693106"/>
              <a:gd name="connsiteY77-42836" fmla="*/ 4788256 h 5292022"/>
              <a:gd name="connsiteX78-42837" fmla="*/ 3977346 w 10693106"/>
              <a:gd name="connsiteY78-42838" fmla="*/ 4470544 h 5292022"/>
              <a:gd name="connsiteX79-42839" fmla="*/ 3741550 w 10693106"/>
              <a:gd name="connsiteY79-42840" fmla="*/ 4154102 h 5292022"/>
              <a:gd name="connsiteX80-42841" fmla="*/ 3562056 w 10693106"/>
              <a:gd name="connsiteY80-42842" fmla="*/ 3406919 h 5292022"/>
              <a:gd name="connsiteX81-42843" fmla="*/ 3242440 w 10693106"/>
              <a:gd name="connsiteY81-42844" fmla="*/ 3099156 h 5292022"/>
              <a:gd name="connsiteX82-42845" fmla="*/ 3123906 w 10693106"/>
              <a:gd name="connsiteY82-42846" fmla="*/ 2997556 h 5292022"/>
              <a:gd name="connsiteX83-42847" fmla="*/ 2988440 w 10693106"/>
              <a:gd name="connsiteY83-42848" fmla="*/ 2802822 h 5292022"/>
              <a:gd name="connsiteX84-42849" fmla="*/ 2971506 w 10693106"/>
              <a:gd name="connsiteY84-42850" fmla="*/ 2743556 h 5292022"/>
              <a:gd name="connsiteX85-42851" fmla="*/ 2996906 w 10693106"/>
              <a:gd name="connsiteY85-42852" fmla="*/ 2531889 h 5292022"/>
              <a:gd name="connsiteX86-42853" fmla="*/ 3013840 w 10693106"/>
              <a:gd name="connsiteY86-42854" fmla="*/ 2430289 h 5292022"/>
              <a:gd name="connsiteX87-42855" fmla="*/ 3005373 w 10693106"/>
              <a:gd name="connsiteY87-42856" fmla="*/ 2311756 h 5292022"/>
              <a:gd name="connsiteX88-42857" fmla="*/ 2988440 w 10693106"/>
              <a:gd name="connsiteY88-42858" fmla="*/ 2260956 h 5292022"/>
              <a:gd name="connsiteX89-42859" fmla="*/ 2802173 w 10693106"/>
              <a:gd name="connsiteY89-42860" fmla="*/ 2006956 h 5292022"/>
              <a:gd name="connsiteX90-42861" fmla="*/ 2641306 w 10693106"/>
              <a:gd name="connsiteY90-42862" fmla="*/ 1863022 h 5292022"/>
              <a:gd name="connsiteX91-42863" fmla="*/ 2590506 w 10693106"/>
              <a:gd name="connsiteY91-42864" fmla="*/ 1837622 h 5292022"/>
              <a:gd name="connsiteX92-42865" fmla="*/ 2531240 w 10693106"/>
              <a:gd name="connsiteY92-42866" fmla="*/ 1829156 h 5292022"/>
              <a:gd name="connsiteX93-42867" fmla="*/ 2446573 w 10693106"/>
              <a:gd name="connsiteY93-42868" fmla="*/ 1812222 h 5292022"/>
              <a:gd name="connsiteX94-42869" fmla="*/ 2251840 w 10693106"/>
              <a:gd name="connsiteY94-42870" fmla="*/ 1837622 h 5292022"/>
              <a:gd name="connsiteX95-42871" fmla="*/ 2167173 w 10693106"/>
              <a:gd name="connsiteY95-42872" fmla="*/ 1879956 h 5292022"/>
              <a:gd name="connsiteX96-42873" fmla="*/ 1980906 w 10693106"/>
              <a:gd name="connsiteY96-42874" fmla="*/ 1939222 h 5292022"/>
              <a:gd name="connsiteX97-42875" fmla="*/ 1904706 w 10693106"/>
              <a:gd name="connsiteY97-42876" fmla="*/ 1973089 h 5292022"/>
              <a:gd name="connsiteX98-42877" fmla="*/ 1828506 w 10693106"/>
              <a:gd name="connsiteY98-42878" fmla="*/ 1990022 h 5292022"/>
              <a:gd name="connsiteX99-42879" fmla="*/ 1726906 w 10693106"/>
              <a:gd name="connsiteY99-42880" fmla="*/ 2040822 h 5292022"/>
              <a:gd name="connsiteX100-42881" fmla="*/ 1659173 w 10693106"/>
              <a:gd name="connsiteY100-42882" fmla="*/ 2074689 h 5292022"/>
              <a:gd name="connsiteX101-42883" fmla="*/ 1498306 w 10693106"/>
              <a:gd name="connsiteY101-42884" fmla="*/ 2100089 h 5292022"/>
              <a:gd name="connsiteX102-42885" fmla="*/ 914106 w 10693106"/>
              <a:gd name="connsiteY102-42886" fmla="*/ 2032356 h 5292022"/>
              <a:gd name="connsiteX103-42887" fmla="*/ 617773 w 10693106"/>
              <a:gd name="connsiteY103-42888" fmla="*/ 1922289 h 5292022"/>
              <a:gd name="connsiteX104-42889" fmla="*/ 516173 w 10693106"/>
              <a:gd name="connsiteY104-42890" fmla="*/ 1837622 h 5292022"/>
              <a:gd name="connsiteX105-42891" fmla="*/ 355306 w 10693106"/>
              <a:gd name="connsiteY105-42892" fmla="*/ 1625956 h 5292022"/>
              <a:gd name="connsiteX106-42893" fmla="*/ 296040 w 10693106"/>
              <a:gd name="connsiteY106-42894" fmla="*/ 1524356 h 5292022"/>
              <a:gd name="connsiteX107-42895" fmla="*/ 253706 w 10693106"/>
              <a:gd name="connsiteY107-42896" fmla="*/ 1346556 h 5292022"/>
              <a:gd name="connsiteX108-42897" fmla="*/ 245240 w 10693106"/>
              <a:gd name="connsiteY108-42898" fmla="*/ 1219556 h 5292022"/>
              <a:gd name="connsiteX109-42899" fmla="*/ 236773 w 10693106"/>
              <a:gd name="connsiteY109-42900" fmla="*/ 1117956 h 5292022"/>
              <a:gd name="connsiteX110-42901" fmla="*/ 245240 w 10693106"/>
              <a:gd name="connsiteY110-42902" fmla="*/ 847022 h 5292022"/>
              <a:gd name="connsiteX111-42903" fmla="*/ 236773 w 10693106"/>
              <a:gd name="connsiteY111-42904" fmla="*/ 703089 h 5292022"/>
              <a:gd name="connsiteX112-42905" fmla="*/ 109773 w 10693106"/>
              <a:gd name="connsiteY112-42906" fmla="*/ 559156 h 5292022"/>
              <a:gd name="connsiteX113-42907" fmla="*/ 58973 w 10693106"/>
              <a:gd name="connsiteY113-42908" fmla="*/ 482956 h 5292022"/>
              <a:gd name="connsiteX114-42909" fmla="*/ 16640 w 10693106"/>
              <a:gd name="connsiteY114-42910" fmla="*/ 432156 h 5292022"/>
              <a:gd name="connsiteX115-42911" fmla="*/ 8173 w 10693106"/>
              <a:gd name="connsiteY115-42912" fmla="*/ 389822 h 5292022"/>
              <a:gd name="connsiteX116-42913" fmla="*/ 16640 w 10693106"/>
              <a:gd name="connsiteY116-42914" fmla="*/ 339022 h 5292022"/>
              <a:gd name="connsiteX0-42915" fmla="*/ 16640 w 10693106"/>
              <a:gd name="connsiteY0-42916" fmla="*/ 339022 h 5292022"/>
              <a:gd name="connsiteX1-42917" fmla="*/ 58973 w 10693106"/>
              <a:gd name="connsiteY1-42918" fmla="*/ 245889 h 5292022"/>
              <a:gd name="connsiteX2-42919" fmla="*/ 109773 w 10693106"/>
              <a:gd name="connsiteY2-42920" fmla="*/ 178156 h 5292022"/>
              <a:gd name="connsiteX3-42921" fmla="*/ 202906 w 10693106"/>
              <a:gd name="connsiteY3-42922" fmla="*/ 93489 h 5292022"/>
              <a:gd name="connsiteX4-42923" fmla="*/ 236773 w 10693106"/>
              <a:gd name="connsiteY4-42924" fmla="*/ 68089 h 5292022"/>
              <a:gd name="connsiteX5-42925" fmla="*/ 335410 w 10693106"/>
              <a:gd name="connsiteY5-42926" fmla="*/ 58352 h 5292022"/>
              <a:gd name="connsiteX6-42927" fmla="*/ 382400 w 10693106"/>
              <a:gd name="connsiteY6-42928" fmla="*/ 51156 h 5292022"/>
              <a:gd name="connsiteX7-42929" fmla="*/ 434912 w 10693106"/>
              <a:gd name="connsiteY7-42930" fmla="*/ 70071 h 5292022"/>
              <a:gd name="connsiteX8-42931" fmla="*/ 492697 w 10693106"/>
              <a:gd name="connsiteY8-42932" fmla="*/ 74247 h 5292022"/>
              <a:gd name="connsiteX9-42933" fmla="*/ 822897 w 10693106"/>
              <a:gd name="connsiteY9-42934" fmla="*/ 82713 h 5292022"/>
              <a:gd name="connsiteX10-42935" fmla="*/ 1091906 w 10693106"/>
              <a:gd name="connsiteY10-42936" fmla="*/ 356 h 5292022"/>
              <a:gd name="connsiteX11-42937" fmla="*/ 1235840 w 10693106"/>
              <a:gd name="connsiteY11-42938" fmla="*/ 59622 h 5292022"/>
              <a:gd name="connsiteX12-42939" fmla="*/ 1337440 w 10693106"/>
              <a:gd name="connsiteY12-42940" fmla="*/ 135822 h 5292022"/>
              <a:gd name="connsiteX13-42941" fmla="*/ 1422106 w 10693106"/>
              <a:gd name="connsiteY13-42942" fmla="*/ 245889 h 5292022"/>
              <a:gd name="connsiteX14-42943" fmla="*/ 1481373 w 10693106"/>
              <a:gd name="connsiteY14-42944" fmla="*/ 313622 h 5292022"/>
              <a:gd name="connsiteX15-42945" fmla="*/ 1532173 w 10693106"/>
              <a:gd name="connsiteY15-42946" fmla="*/ 347489 h 5292022"/>
              <a:gd name="connsiteX16-42947" fmla="*/ 1684573 w 10693106"/>
              <a:gd name="connsiteY16-42948" fmla="*/ 406756 h 5292022"/>
              <a:gd name="connsiteX17-42949" fmla="*/ 1760773 w 10693106"/>
              <a:gd name="connsiteY17-42950" fmla="*/ 423689 h 5292022"/>
              <a:gd name="connsiteX18-42951" fmla="*/ 2404240 w 10693106"/>
              <a:gd name="connsiteY18-42952" fmla="*/ 355956 h 5292022"/>
              <a:gd name="connsiteX19-42953" fmla="*/ 3398918 w 10693106"/>
              <a:gd name="connsiteY19-42954" fmla="*/ 72322 h 5292022"/>
              <a:gd name="connsiteX20-42955" fmla="*/ 4529373 w 10693106"/>
              <a:gd name="connsiteY20-42956" fmla="*/ 271289 h 5292022"/>
              <a:gd name="connsiteX21-42957" fmla="*/ 5630810 w 10693106"/>
              <a:gd name="connsiteY21-42958" fmla="*/ 1149898 h 5292022"/>
              <a:gd name="connsiteX22-42959" fmla="*/ 6881490 w 10693106"/>
              <a:gd name="connsiteY22-42960" fmla="*/ 1366452 h 5292022"/>
              <a:gd name="connsiteX23-42961" fmla="*/ 7839032 w 10693106"/>
              <a:gd name="connsiteY23-42962" fmla="*/ 1183996 h 5292022"/>
              <a:gd name="connsiteX24-42963" fmla="*/ 8652640 w 10693106"/>
              <a:gd name="connsiteY24-42964" fmla="*/ 677689 h 5292022"/>
              <a:gd name="connsiteX25-42965" fmla="*/ 8982840 w 10693106"/>
              <a:gd name="connsiteY25-42966" fmla="*/ 398289 h 5292022"/>
              <a:gd name="connsiteX26-42967" fmla="*/ 9380773 w 10693106"/>
              <a:gd name="connsiteY26-42968" fmla="*/ 355956 h 5292022"/>
              <a:gd name="connsiteX27-42969" fmla="*/ 9744840 w 10693106"/>
              <a:gd name="connsiteY27-42970" fmla="*/ 466022 h 5292022"/>
              <a:gd name="connsiteX28-42971" fmla="*/ 9888773 w 10693106"/>
              <a:gd name="connsiteY28-42972" fmla="*/ 508356 h 5292022"/>
              <a:gd name="connsiteX29-42973" fmla="*/ 9998840 w 10693106"/>
              <a:gd name="connsiteY29-42974" fmla="*/ 559156 h 5292022"/>
              <a:gd name="connsiteX30-42975" fmla="*/ 10083506 w 10693106"/>
              <a:gd name="connsiteY30-42976" fmla="*/ 618422 h 5292022"/>
              <a:gd name="connsiteX31-42977" fmla="*/ 10286706 w 10693106"/>
              <a:gd name="connsiteY31-42978" fmla="*/ 686156 h 5292022"/>
              <a:gd name="connsiteX32-42979" fmla="*/ 10388306 w 10693106"/>
              <a:gd name="connsiteY32-42980" fmla="*/ 889356 h 5292022"/>
              <a:gd name="connsiteX33-42981" fmla="*/ 10540706 w 10693106"/>
              <a:gd name="connsiteY33-42982" fmla="*/ 1261889 h 5292022"/>
              <a:gd name="connsiteX34-42983" fmla="*/ 10557640 w 10693106"/>
              <a:gd name="connsiteY34-42984" fmla="*/ 1346556 h 5292022"/>
              <a:gd name="connsiteX35-42985" fmla="*/ 10583040 w 10693106"/>
              <a:gd name="connsiteY35-42986" fmla="*/ 1448156 h 5292022"/>
              <a:gd name="connsiteX36-42987" fmla="*/ 10616906 w 10693106"/>
              <a:gd name="connsiteY36-42988" fmla="*/ 1651356 h 5292022"/>
              <a:gd name="connsiteX37-42989" fmla="*/ 10633840 w 10693106"/>
              <a:gd name="connsiteY37-42990" fmla="*/ 1736022 h 5292022"/>
              <a:gd name="connsiteX38-42991" fmla="*/ 10650773 w 10693106"/>
              <a:gd name="connsiteY38-42992" fmla="*/ 1769889 h 5292022"/>
              <a:gd name="connsiteX39-42993" fmla="*/ 10676173 w 10693106"/>
              <a:gd name="connsiteY39-42994" fmla="*/ 1854556 h 5292022"/>
              <a:gd name="connsiteX40-42995" fmla="*/ 10693106 w 10693106"/>
              <a:gd name="connsiteY40-42996" fmla="*/ 2006956 h 5292022"/>
              <a:gd name="connsiteX41-42997" fmla="*/ 10625373 w 10693106"/>
              <a:gd name="connsiteY41-42998" fmla="*/ 2227089 h 5292022"/>
              <a:gd name="connsiteX42-42999" fmla="*/ 10608440 w 10693106"/>
              <a:gd name="connsiteY42-43000" fmla="*/ 2252489 h 5292022"/>
              <a:gd name="connsiteX43-43001" fmla="*/ 10540706 w 10693106"/>
              <a:gd name="connsiteY43-43002" fmla="*/ 2396422 h 5292022"/>
              <a:gd name="connsiteX44-43003" fmla="*/ 10498373 w 10693106"/>
              <a:gd name="connsiteY44-43004" fmla="*/ 2481089 h 5292022"/>
              <a:gd name="connsiteX45-43005" fmla="*/ 10439106 w 10693106"/>
              <a:gd name="connsiteY45-43006" fmla="*/ 2667356 h 5292022"/>
              <a:gd name="connsiteX46-43007" fmla="*/ 10430640 w 10693106"/>
              <a:gd name="connsiteY46-43008" fmla="*/ 2709689 h 5292022"/>
              <a:gd name="connsiteX47-43009" fmla="*/ 10405240 w 10693106"/>
              <a:gd name="connsiteY47-43010" fmla="*/ 2785889 h 5292022"/>
              <a:gd name="connsiteX48-43011" fmla="*/ 10396773 w 10693106"/>
              <a:gd name="connsiteY48-43012" fmla="*/ 2819756 h 5292022"/>
              <a:gd name="connsiteX49-43013" fmla="*/ 10362906 w 10693106"/>
              <a:gd name="connsiteY49-43014" fmla="*/ 2912889 h 5292022"/>
              <a:gd name="connsiteX50-43015" fmla="*/ 10329040 w 10693106"/>
              <a:gd name="connsiteY50-43016" fmla="*/ 2955222 h 5292022"/>
              <a:gd name="connsiteX51-43017" fmla="*/ 10227440 w 10693106"/>
              <a:gd name="connsiteY51-43018" fmla="*/ 3056822 h 5292022"/>
              <a:gd name="connsiteX52-43019" fmla="*/ 10117373 w 10693106"/>
              <a:gd name="connsiteY52-43020" fmla="*/ 3175356 h 5292022"/>
              <a:gd name="connsiteX53-43021" fmla="*/ 9948040 w 10693106"/>
              <a:gd name="connsiteY53-43022" fmla="*/ 3336222 h 5292022"/>
              <a:gd name="connsiteX54-43023" fmla="*/ 9067506 w 10693106"/>
              <a:gd name="connsiteY54-43024" fmla="*/ 3861156 h 5292022"/>
              <a:gd name="connsiteX55-43025" fmla="*/ 8999773 w 10693106"/>
              <a:gd name="connsiteY55-43026" fmla="*/ 3928889 h 5292022"/>
              <a:gd name="connsiteX56-43027" fmla="*/ 8813506 w 10693106"/>
              <a:gd name="connsiteY56-43028" fmla="*/ 4064356 h 5292022"/>
              <a:gd name="connsiteX57-43029" fmla="*/ 8728840 w 10693106"/>
              <a:gd name="connsiteY57-43030" fmla="*/ 4106689 h 5292022"/>
              <a:gd name="connsiteX58-43031" fmla="*/ 8373240 w 10693106"/>
              <a:gd name="connsiteY58-43032" fmla="*/ 4140556 h 5292022"/>
              <a:gd name="connsiteX59-43033" fmla="*/ 7966840 w 10693106"/>
              <a:gd name="connsiteY59-43034" fmla="*/ 4233689 h 5292022"/>
              <a:gd name="connsiteX60-43035" fmla="*/ 7687440 w 10693106"/>
              <a:gd name="connsiteY60-43036" fmla="*/ 4394556 h 5292022"/>
              <a:gd name="connsiteX61-43037" fmla="*/ 7374173 w 10693106"/>
              <a:gd name="connsiteY61-43038" fmla="*/ 4657022 h 5292022"/>
              <a:gd name="connsiteX62-43039" fmla="*/ 7374173 w 10693106"/>
              <a:gd name="connsiteY62-43040" fmla="*/ 4657022 h 5292022"/>
              <a:gd name="connsiteX63-43041" fmla="*/ 7221773 w 10693106"/>
              <a:gd name="connsiteY63-43042" fmla="*/ 4775556 h 5292022"/>
              <a:gd name="connsiteX64-43043" fmla="*/ 7027040 w 10693106"/>
              <a:gd name="connsiteY64-43044" fmla="*/ 4902556 h 5292022"/>
              <a:gd name="connsiteX65-43045" fmla="*/ 6883106 w 10693106"/>
              <a:gd name="connsiteY65-43046" fmla="*/ 4970289 h 5292022"/>
              <a:gd name="connsiteX66-43047" fmla="*/ 6815373 w 10693106"/>
              <a:gd name="connsiteY66-43048" fmla="*/ 5012622 h 5292022"/>
              <a:gd name="connsiteX67-43049" fmla="*/ 6646040 w 10693106"/>
              <a:gd name="connsiteY67-43050" fmla="*/ 5105756 h 5292022"/>
              <a:gd name="connsiteX68-43051" fmla="*/ 6527506 w 10693106"/>
              <a:gd name="connsiteY68-43052" fmla="*/ 5165022 h 5292022"/>
              <a:gd name="connsiteX69-43053" fmla="*/ 6298906 w 10693106"/>
              <a:gd name="connsiteY69-43054" fmla="*/ 5241222 h 5292022"/>
              <a:gd name="connsiteX70-43055" fmla="*/ 6197306 w 10693106"/>
              <a:gd name="connsiteY70-43056" fmla="*/ 5266622 h 5292022"/>
              <a:gd name="connsiteX71-43057" fmla="*/ 6061840 w 10693106"/>
              <a:gd name="connsiteY71-43058" fmla="*/ 5275089 h 5292022"/>
              <a:gd name="connsiteX72-43059" fmla="*/ 5917906 w 10693106"/>
              <a:gd name="connsiteY72-43060" fmla="*/ 5292022 h 5292022"/>
              <a:gd name="connsiteX73-43061" fmla="*/ 5748573 w 10693106"/>
              <a:gd name="connsiteY73-43062" fmla="*/ 5283556 h 5292022"/>
              <a:gd name="connsiteX74-43063" fmla="*/ 5282906 w 10693106"/>
              <a:gd name="connsiteY74-43064" fmla="*/ 5173489 h 5292022"/>
              <a:gd name="connsiteX75-43065" fmla="*/ 4959480 w 10693106"/>
              <a:gd name="connsiteY75-43066" fmla="*/ 4988069 h 5292022"/>
              <a:gd name="connsiteX76-43067" fmla="*/ 4686853 w 10693106"/>
              <a:gd name="connsiteY76-43068" fmla="*/ 4788256 h 5292022"/>
              <a:gd name="connsiteX77-43069" fmla="*/ 3977346 w 10693106"/>
              <a:gd name="connsiteY77-43070" fmla="*/ 4470544 h 5292022"/>
              <a:gd name="connsiteX78-43071" fmla="*/ 3741550 w 10693106"/>
              <a:gd name="connsiteY78-43072" fmla="*/ 4154102 h 5292022"/>
              <a:gd name="connsiteX79-43073" fmla="*/ 3562056 w 10693106"/>
              <a:gd name="connsiteY79-43074" fmla="*/ 3406919 h 5292022"/>
              <a:gd name="connsiteX80-43075" fmla="*/ 3242440 w 10693106"/>
              <a:gd name="connsiteY80-43076" fmla="*/ 3099156 h 5292022"/>
              <a:gd name="connsiteX81-43077" fmla="*/ 3123906 w 10693106"/>
              <a:gd name="connsiteY81-43078" fmla="*/ 2997556 h 5292022"/>
              <a:gd name="connsiteX82-43079" fmla="*/ 2988440 w 10693106"/>
              <a:gd name="connsiteY82-43080" fmla="*/ 2802822 h 5292022"/>
              <a:gd name="connsiteX83-43081" fmla="*/ 2971506 w 10693106"/>
              <a:gd name="connsiteY83-43082" fmla="*/ 2743556 h 5292022"/>
              <a:gd name="connsiteX84-43083" fmla="*/ 2996906 w 10693106"/>
              <a:gd name="connsiteY84-43084" fmla="*/ 2531889 h 5292022"/>
              <a:gd name="connsiteX85-43085" fmla="*/ 3013840 w 10693106"/>
              <a:gd name="connsiteY85-43086" fmla="*/ 2430289 h 5292022"/>
              <a:gd name="connsiteX86-43087" fmla="*/ 3005373 w 10693106"/>
              <a:gd name="connsiteY86-43088" fmla="*/ 2311756 h 5292022"/>
              <a:gd name="connsiteX87-43089" fmla="*/ 2988440 w 10693106"/>
              <a:gd name="connsiteY87-43090" fmla="*/ 2260956 h 5292022"/>
              <a:gd name="connsiteX88-43091" fmla="*/ 2802173 w 10693106"/>
              <a:gd name="connsiteY88-43092" fmla="*/ 2006956 h 5292022"/>
              <a:gd name="connsiteX89-43093" fmla="*/ 2641306 w 10693106"/>
              <a:gd name="connsiteY89-43094" fmla="*/ 1863022 h 5292022"/>
              <a:gd name="connsiteX90-43095" fmla="*/ 2590506 w 10693106"/>
              <a:gd name="connsiteY90-43096" fmla="*/ 1837622 h 5292022"/>
              <a:gd name="connsiteX91-43097" fmla="*/ 2531240 w 10693106"/>
              <a:gd name="connsiteY91-43098" fmla="*/ 1829156 h 5292022"/>
              <a:gd name="connsiteX92-43099" fmla="*/ 2446573 w 10693106"/>
              <a:gd name="connsiteY92-43100" fmla="*/ 1812222 h 5292022"/>
              <a:gd name="connsiteX93-43101" fmla="*/ 2251840 w 10693106"/>
              <a:gd name="connsiteY93-43102" fmla="*/ 1837622 h 5292022"/>
              <a:gd name="connsiteX94-43103" fmla="*/ 2167173 w 10693106"/>
              <a:gd name="connsiteY94-43104" fmla="*/ 1879956 h 5292022"/>
              <a:gd name="connsiteX95-43105" fmla="*/ 1980906 w 10693106"/>
              <a:gd name="connsiteY95-43106" fmla="*/ 1939222 h 5292022"/>
              <a:gd name="connsiteX96-43107" fmla="*/ 1904706 w 10693106"/>
              <a:gd name="connsiteY96-43108" fmla="*/ 1973089 h 5292022"/>
              <a:gd name="connsiteX97-43109" fmla="*/ 1828506 w 10693106"/>
              <a:gd name="connsiteY97-43110" fmla="*/ 1990022 h 5292022"/>
              <a:gd name="connsiteX98-43111" fmla="*/ 1726906 w 10693106"/>
              <a:gd name="connsiteY98-43112" fmla="*/ 2040822 h 5292022"/>
              <a:gd name="connsiteX99-43113" fmla="*/ 1659173 w 10693106"/>
              <a:gd name="connsiteY99-43114" fmla="*/ 2074689 h 5292022"/>
              <a:gd name="connsiteX100-43115" fmla="*/ 1498306 w 10693106"/>
              <a:gd name="connsiteY100-43116" fmla="*/ 2100089 h 5292022"/>
              <a:gd name="connsiteX101-43117" fmla="*/ 914106 w 10693106"/>
              <a:gd name="connsiteY101-43118" fmla="*/ 2032356 h 5292022"/>
              <a:gd name="connsiteX102-43119" fmla="*/ 617773 w 10693106"/>
              <a:gd name="connsiteY102-43120" fmla="*/ 1922289 h 5292022"/>
              <a:gd name="connsiteX103-43121" fmla="*/ 516173 w 10693106"/>
              <a:gd name="connsiteY103-43122" fmla="*/ 1837622 h 5292022"/>
              <a:gd name="connsiteX104-43123" fmla="*/ 355306 w 10693106"/>
              <a:gd name="connsiteY104-43124" fmla="*/ 1625956 h 5292022"/>
              <a:gd name="connsiteX105-43125" fmla="*/ 296040 w 10693106"/>
              <a:gd name="connsiteY105-43126" fmla="*/ 1524356 h 5292022"/>
              <a:gd name="connsiteX106-43127" fmla="*/ 253706 w 10693106"/>
              <a:gd name="connsiteY106-43128" fmla="*/ 1346556 h 5292022"/>
              <a:gd name="connsiteX107-43129" fmla="*/ 245240 w 10693106"/>
              <a:gd name="connsiteY107-43130" fmla="*/ 1219556 h 5292022"/>
              <a:gd name="connsiteX108-43131" fmla="*/ 236773 w 10693106"/>
              <a:gd name="connsiteY108-43132" fmla="*/ 1117956 h 5292022"/>
              <a:gd name="connsiteX109-43133" fmla="*/ 245240 w 10693106"/>
              <a:gd name="connsiteY109-43134" fmla="*/ 847022 h 5292022"/>
              <a:gd name="connsiteX110-43135" fmla="*/ 236773 w 10693106"/>
              <a:gd name="connsiteY110-43136" fmla="*/ 703089 h 5292022"/>
              <a:gd name="connsiteX111-43137" fmla="*/ 109773 w 10693106"/>
              <a:gd name="connsiteY111-43138" fmla="*/ 559156 h 5292022"/>
              <a:gd name="connsiteX112-43139" fmla="*/ 58973 w 10693106"/>
              <a:gd name="connsiteY112-43140" fmla="*/ 482956 h 5292022"/>
              <a:gd name="connsiteX113-43141" fmla="*/ 16640 w 10693106"/>
              <a:gd name="connsiteY113-43142" fmla="*/ 432156 h 5292022"/>
              <a:gd name="connsiteX114-43143" fmla="*/ 8173 w 10693106"/>
              <a:gd name="connsiteY114-43144" fmla="*/ 389822 h 5292022"/>
              <a:gd name="connsiteX115-43145" fmla="*/ 16640 w 10693106"/>
              <a:gd name="connsiteY115-43146" fmla="*/ 339022 h 5292022"/>
              <a:gd name="connsiteX0-43147" fmla="*/ 16640 w 10693106"/>
              <a:gd name="connsiteY0-43148" fmla="*/ 339022 h 5292022"/>
              <a:gd name="connsiteX1-43149" fmla="*/ 58973 w 10693106"/>
              <a:gd name="connsiteY1-43150" fmla="*/ 245889 h 5292022"/>
              <a:gd name="connsiteX2-43151" fmla="*/ 109773 w 10693106"/>
              <a:gd name="connsiteY2-43152" fmla="*/ 178156 h 5292022"/>
              <a:gd name="connsiteX3-43153" fmla="*/ 202906 w 10693106"/>
              <a:gd name="connsiteY3-43154" fmla="*/ 93489 h 5292022"/>
              <a:gd name="connsiteX4-43155" fmla="*/ 236773 w 10693106"/>
              <a:gd name="connsiteY4-43156" fmla="*/ 68089 h 5292022"/>
              <a:gd name="connsiteX5-43157" fmla="*/ 335410 w 10693106"/>
              <a:gd name="connsiteY5-43158" fmla="*/ 58352 h 5292022"/>
              <a:gd name="connsiteX6-43159" fmla="*/ 382400 w 10693106"/>
              <a:gd name="connsiteY6-43160" fmla="*/ 51156 h 5292022"/>
              <a:gd name="connsiteX7-43161" fmla="*/ 434912 w 10693106"/>
              <a:gd name="connsiteY7-43162" fmla="*/ 70071 h 5292022"/>
              <a:gd name="connsiteX8-43163" fmla="*/ 492697 w 10693106"/>
              <a:gd name="connsiteY8-43164" fmla="*/ 74247 h 5292022"/>
              <a:gd name="connsiteX9-43165" fmla="*/ 822897 w 10693106"/>
              <a:gd name="connsiteY9-43166" fmla="*/ 82713 h 5292022"/>
              <a:gd name="connsiteX10-43167" fmla="*/ 1091906 w 10693106"/>
              <a:gd name="connsiteY10-43168" fmla="*/ 356 h 5292022"/>
              <a:gd name="connsiteX11-43169" fmla="*/ 1235840 w 10693106"/>
              <a:gd name="connsiteY11-43170" fmla="*/ 59622 h 5292022"/>
              <a:gd name="connsiteX12-43171" fmla="*/ 1337440 w 10693106"/>
              <a:gd name="connsiteY12-43172" fmla="*/ 135822 h 5292022"/>
              <a:gd name="connsiteX13-43173" fmla="*/ 1422106 w 10693106"/>
              <a:gd name="connsiteY13-43174" fmla="*/ 245889 h 5292022"/>
              <a:gd name="connsiteX14-43175" fmla="*/ 1481373 w 10693106"/>
              <a:gd name="connsiteY14-43176" fmla="*/ 313622 h 5292022"/>
              <a:gd name="connsiteX15-43177" fmla="*/ 1532173 w 10693106"/>
              <a:gd name="connsiteY15-43178" fmla="*/ 347489 h 5292022"/>
              <a:gd name="connsiteX16-43179" fmla="*/ 1684573 w 10693106"/>
              <a:gd name="connsiteY16-43180" fmla="*/ 406756 h 5292022"/>
              <a:gd name="connsiteX17-43181" fmla="*/ 1760773 w 10693106"/>
              <a:gd name="connsiteY17-43182" fmla="*/ 423689 h 5292022"/>
              <a:gd name="connsiteX18-43183" fmla="*/ 2404240 w 10693106"/>
              <a:gd name="connsiteY18-43184" fmla="*/ 355956 h 5292022"/>
              <a:gd name="connsiteX19-43185" fmla="*/ 3398918 w 10693106"/>
              <a:gd name="connsiteY19-43186" fmla="*/ 72322 h 5292022"/>
              <a:gd name="connsiteX20-43187" fmla="*/ 4529373 w 10693106"/>
              <a:gd name="connsiteY20-43188" fmla="*/ 271289 h 5292022"/>
              <a:gd name="connsiteX21-43189" fmla="*/ 5630810 w 10693106"/>
              <a:gd name="connsiteY21-43190" fmla="*/ 1149898 h 5292022"/>
              <a:gd name="connsiteX22-43191" fmla="*/ 6881490 w 10693106"/>
              <a:gd name="connsiteY22-43192" fmla="*/ 1366452 h 5292022"/>
              <a:gd name="connsiteX23-43193" fmla="*/ 7839032 w 10693106"/>
              <a:gd name="connsiteY23-43194" fmla="*/ 1183996 h 5292022"/>
              <a:gd name="connsiteX24-43195" fmla="*/ 8652640 w 10693106"/>
              <a:gd name="connsiteY24-43196" fmla="*/ 677689 h 5292022"/>
              <a:gd name="connsiteX25-43197" fmla="*/ 8982840 w 10693106"/>
              <a:gd name="connsiteY25-43198" fmla="*/ 398289 h 5292022"/>
              <a:gd name="connsiteX26-43199" fmla="*/ 9380773 w 10693106"/>
              <a:gd name="connsiteY26-43200" fmla="*/ 355956 h 5292022"/>
              <a:gd name="connsiteX27-43201" fmla="*/ 9744840 w 10693106"/>
              <a:gd name="connsiteY27-43202" fmla="*/ 466022 h 5292022"/>
              <a:gd name="connsiteX28-43203" fmla="*/ 9888773 w 10693106"/>
              <a:gd name="connsiteY28-43204" fmla="*/ 508356 h 5292022"/>
              <a:gd name="connsiteX29-43205" fmla="*/ 9998840 w 10693106"/>
              <a:gd name="connsiteY29-43206" fmla="*/ 559156 h 5292022"/>
              <a:gd name="connsiteX30-43207" fmla="*/ 10083506 w 10693106"/>
              <a:gd name="connsiteY30-43208" fmla="*/ 618422 h 5292022"/>
              <a:gd name="connsiteX31-43209" fmla="*/ 10286706 w 10693106"/>
              <a:gd name="connsiteY31-43210" fmla="*/ 686156 h 5292022"/>
              <a:gd name="connsiteX32-43211" fmla="*/ 10388306 w 10693106"/>
              <a:gd name="connsiteY32-43212" fmla="*/ 889356 h 5292022"/>
              <a:gd name="connsiteX33-43213" fmla="*/ 10540706 w 10693106"/>
              <a:gd name="connsiteY33-43214" fmla="*/ 1261889 h 5292022"/>
              <a:gd name="connsiteX34-43215" fmla="*/ 10557640 w 10693106"/>
              <a:gd name="connsiteY34-43216" fmla="*/ 1346556 h 5292022"/>
              <a:gd name="connsiteX35-43217" fmla="*/ 10583040 w 10693106"/>
              <a:gd name="connsiteY35-43218" fmla="*/ 1448156 h 5292022"/>
              <a:gd name="connsiteX36-43219" fmla="*/ 10616906 w 10693106"/>
              <a:gd name="connsiteY36-43220" fmla="*/ 1651356 h 5292022"/>
              <a:gd name="connsiteX37-43221" fmla="*/ 10633840 w 10693106"/>
              <a:gd name="connsiteY37-43222" fmla="*/ 1736022 h 5292022"/>
              <a:gd name="connsiteX38-43223" fmla="*/ 10650773 w 10693106"/>
              <a:gd name="connsiteY38-43224" fmla="*/ 1769889 h 5292022"/>
              <a:gd name="connsiteX39-43225" fmla="*/ 10676173 w 10693106"/>
              <a:gd name="connsiteY39-43226" fmla="*/ 1854556 h 5292022"/>
              <a:gd name="connsiteX40-43227" fmla="*/ 10693106 w 10693106"/>
              <a:gd name="connsiteY40-43228" fmla="*/ 2006956 h 5292022"/>
              <a:gd name="connsiteX41-43229" fmla="*/ 10625373 w 10693106"/>
              <a:gd name="connsiteY41-43230" fmla="*/ 2227089 h 5292022"/>
              <a:gd name="connsiteX42-43231" fmla="*/ 10608440 w 10693106"/>
              <a:gd name="connsiteY42-43232" fmla="*/ 2252489 h 5292022"/>
              <a:gd name="connsiteX43-43233" fmla="*/ 10540706 w 10693106"/>
              <a:gd name="connsiteY43-43234" fmla="*/ 2396422 h 5292022"/>
              <a:gd name="connsiteX44-43235" fmla="*/ 10498373 w 10693106"/>
              <a:gd name="connsiteY44-43236" fmla="*/ 2481089 h 5292022"/>
              <a:gd name="connsiteX45-43237" fmla="*/ 10439106 w 10693106"/>
              <a:gd name="connsiteY45-43238" fmla="*/ 2667356 h 5292022"/>
              <a:gd name="connsiteX46-43239" fmla="*/ 10430640 w 10693106"/>
              <a:gd name="connsiteY46-43240" fmla="*/ 2709689 h 5292022"/>
              <a:gd name="connsiteX47-43241" fmla="*/ 10405240 w 10693106"/>
              <a:gd name="connsiteY47-43242" fmla="*/ 2785889 h 5292022"/>
              <a:gd name="connsiteX48-43243" fmla="*/ 10396773 w 10693106"/>
              <a:gd name="connsiteY48-43244" fmla="*/ 2819756 h 5292022"/>
              <a:gd name="connsiteX49-43245" fmla="*/ 10362906 w 10693106"/>
              <a:gd name="connsiteY49-43246" fmla="*/ 2912889 h 5292022"/>
              <a:gd name="connsiteX50-43247" fmla="*/ 10329040 w 10693106"/>
              <a:gd name="connsiteY50-43248" fmla="*/ 2955222 h 5292022"/>
              <a:gd name="connsiteX51-43249" fmla="*/ 10227440 w 10693106"/>
              <a:gd name="connsiteY51-43250" fmla="*/ 3056822 h 5292022"/>
              <a:gd name="connsiteX52-43251" fmla="*/ 10117373 w 10693106"/>
              <a:gd name="connsiteY52-43252" fmla="*/ 3175356 h 5292022"/>
              <a:gd name="connsiteX53-43253" fmla="*/ 9948040 w 10693106"/>
              <a:gd name="connsiteY53-43254" fmla="*/ 3336222 h 5292022"/>
              <a:gd name="connsiteX54-43255" fmla="*/ 9067506 w 10693106"/>
              <a:gd name="connsiteY54-43256" fmla="*/ 3861156 h 5292022"/>
              <a:gd name="connsiteX55-43257" fmla="*/ 8813506 w 10693106"/>
              <a:gd name="connsiteY55-43258" fmla="*/ 4064356 h 5292022"/>
              <a:gd name="connsiteX56-43259" fmla="*/ 8728840 w 10693106"/>
              <a:gd name="connsiteY56-43260" fmla="*/ 4106689 h 5292022"/>
              <a:gd name="connsiteX57-43261" fmla="*/ 8373240 w 10693106"/>
              <a:gd name="connsiteY57-43262" fmla="*/ 4140556 h 5292022"/>
              <a:gd name="connsiteX58-43263" fmla="*/ 7966840 w 10693106"/>
              <a:gd name="connsiteY58-43264" fmla="*/ 4233689 h 5292022"/>
              <a:gd name="connsiteX59-43265" fmla="*/ 7687440 w 10693106"/>
              <a:gd name="connsiteY59-43266" fmla="*/ 4394556 h 5292022"/>
              <a:gd name="connsiteX60-43267" fmla="*/ 7374173 w 10693106"/>
              <a:gd name="connsiteY60-43268" fmla="*/ 4657022 h 5292022"/>
              <a:gd name="connsiteX61-43269" fmla="*/ 7374173 w 10693106"/>
              <a:gd name="connsiteY61-43270" fmla="*/ 4657022 h 5292022"/>
              <a:gd name="connsiteX62-43271" fmla="*/ 7221773 w 10693106"/>
              <a:gd name="connsiteY62-43272" fmla="*/ 4775556 h 5292022"/>
              <a:gd name="connsiteX63-43273" fmla="*/ 7027040 w 10693106"/>
              <a:gd name="connsiteY63-43274" fmla="*/ 4902556 h 5292022"/>
              <a:gd name="connsiteX64-43275" fmla="*/ 6883106 w 10693106"/>
              <a:gd name="connsiteY64-43276" fmla="*/ 4970289 h 5292022"/>
              <a:gd name="connsiteX65-43277" fmla="*/ 6815373 w 10693106"/>
              <a:gd name="connsiteY65-43278" fmla="*/ 5012622 h 5292022"/>
              <a:gd name="connsiteX66-43279" fmla="*/ 6646040 w 10693106"/>
              <a:gd name="connsiteY66-43280" fmla="*/ 5105756 h 5292022"/>
              <a:gd name="connsiteX67-43281" fmla="*/ 6527506 w 10693106"/>
              <a:gd name="connsiteY67-43282" fmla="*/ 5165022 h 5292022"/>
              <a:gd name="connsiteX68-43283" fmla="*/ 6298906 w 10693106"/>
              <a:gd name="connsiteY68-43284" fmla="*/ 5241222 h 5292022"/>
              <a:gd name="connsiteX69-43285" fmla="*/ 6197306 w 10693106"/>
              <a:gd name="connsiteY69-43286" fmla="*/ 5266622 h 5292022"/>
              <a:gd name="connsiteX70-43287" fmla="*/ 6061840 w 10693106"/>
              <a:gd name="connsiteY70-43288" fmla="*/ 5275089 h 5292022"/>
              <a:gd name="connsiteX71-43289" fmla="*/ 5917906 w 10693106"/>
              <a:gd name="connsiteY71-43290" fmla="*/ 5292022 h 5292022"/>
              <a:gd name="connsiteX72-43291" fmla="*/ 5748573 w 10693106"/>
              <a:gd name="connsiteY72-43292" fmla="*/ 5283556 h 5292022"/>
              <a:gd name="connsiteX73-43293" fmla="*/ 5282906 w 10693106"/>
              <a:gd name="connsiteY73-43294" fmla="*/ 5173489 h 5292022"/>
              <a:gd name="connsiteX74-43295" fmla="*/ 4959480 w 10693106"/>
              <a:gd name="connsiteY74-43296" fmla="*/ 4988069 h 5292022"/>
              <a:gd name="connsiteX75-43297" fmla="*/ 4686853 w 10693106"/>
              <a:gd name="connsiteY75-43298" fmla="*/ 4788256 h 5292022"/>
              <a:gd name="connsiteX76-43299" fmla="*/ 3977346 w 10693106"/>
              <a:gd name="connsiteY76-43300" fmla="*/ 4470544 h 5292022"/>
              <a:gd name="connsiteX77-43301" fmla="*/ 3741550 w 10693106"/>
              <a:gd name="connsiteY77-43302" fmla="*/ 4154102 h 5292022"/>
              <a:gd name="connsiteX78-43303" fmla="*/ 3562056 w 10693106"/>
              <a:gd name="connsiteY78-43304" fmla="*/ 3406919 h 5292022"/>
              <a:gd name="connsiteX79-43305" fmla="*/ 3242440 w 10693106"/>
              <a:gd name="connsiteY79-43306" fmla="*/ 3099156 h 5292022"/>
              <a:gd name="connsiteX80-43307" fmla="*/ 3123906 w 10693106"/>
              <a:gd name="connsiteY80-43308" fmla="*/ 2997556 h 5292022"/>
              <a:gd name="connsiteX81-43309" fmla="*/ 2988440 w 10693106"/>
              <a:gd name="connsiteY81-43310" fmla="*/ 2802822 h 5292022"/>
              <a:gd name="connsiteX82-43311" fmla="*/ 2971506 w 10693106"/>
              <a:gd name="connsiteY82-43312" fmla="*/ 2743556 h 5292022"/>
              <a:gd name="connsiteX83-43313" fmla="*/ 2996906 w 10693106"/>
              <a:gd name="connsiteY83-43314" fmla="*/ 2531889 h 5292022"/>
              <a:gd name="connsiteX84-43315" fmla="*/ 3013840 w 10693106"/>
              <a:gd name="connsiteY84-43316" fmla="*/ 2430289 h 5292022"/>
              <a:gd name="connsiteX85-43317" fmla="*/ 3005373 w 10693106"/>
              <a:gd name="connsiteY85-43318" fmla="*/ 2311756 h 5292022"/>
              <a:gd name="connsiteX86-43319" fmla="*/ 2988440 w 10693106"/>
              <a:gd name="connsiteY86-43320" fmla="*/ 2260956 h 5292022"/>
              <a:gd name="connsiteX87-43321" fmla="*/ 2802173 w 10693106"/>
              <a:gd name="connsiteY87-43322" fmla="*/ 2006956 h 5292022"/>
              <a:gd name="connsiteX88-43323" fmla="*/ 2641306 w 10693106"/>
              <a:gd name="connsiteY88-43324" fmla="*/ 1863022 h 5292022"/>
              <a:gd name="connsiteX89-43325" fmla="*/ 2590506 w 10693106"/>
              <a:gd name="connsiteY89-43326" fmla="*/ 1837622 h 5292022"/>
              <a:gd name="connsiteX90-43327" fmla="*/ 2531240 w 10693106"/>
              <a:gd name="connsiteY90-43328" fmla="*/ 1829156 h 5292022"/>
              <a:gd name="connsiteX91-43329" fmla="*/ 2446573 w 10693106"/>
              <a:gd name="connsiteY91-43330" fmla="*/ 1812222 h 5292022"/>
              <a:gd name="connsiteX92-43331" fmla="*/ 2251840 w 10693106"/>
              <a:gd name="connsiteY92-43332" fmla="*/ 1837622 h 5292022"/>
              <a:gd name="connsiteX93-43333" fmla="*/ 2167173 w 10693106"/>
              <a:gd name="connsiteY93-43334" fmla="*/ 1879956 h 5292022"/>
              <a:gd name="connsiteX94-43335" fmla="*/ 1980906 w 10693106"/>
              <a:gd name="connsiteY94-43336" fmla="*/ 1939222 h 5292022"/>
              <a:gd name="connsiteX95-43337" fmla="*/ 1904706 w 10693106"/>
              <a:gd name="connsiteY95-43338" fmla="*/ 1973089 h 5292022"/>
              <a:gd name="connsiteX96-43339" fmla="*/ 1828506 w 10693106"/>
              <a:gd name="connsiteY96-43340" fmla="*/ 1990022 h 5292022"/>
              <a:gd name="connsiteX97-43341" fmla="*/ 1726906 w 10693106"/>
              <a:gd name="connsiteY97-43342" fmla="*/ 2040822 h 5292022"/>
              <a:gd name="connsiteX98-43343" fmla="*/ 1659173 w 10693106"/>
              <a:gd name="connsiteY98-43344" fmla="*/ 2074689 h 5292022"/>
              <a:gd name="connsiteX99-43345" fmla="*/ 1498306 w 10693106"/>
              <a:gd name="connsiteY99-43346" fmla="*/ 2100089 h 5292022"/>
              <a:gd name="connsiteX100-43347" fmla="*/ 914106 w 10693106"/>
              <a:gd name="connsiteY100-43348" fmla="*/ 2032356 h 5292022"/>
              <a:gd name="connsiteX101-43349" fmla="*/ 617773 w 10693106"/>
              <a:gd name="connsiteY101-43350" fmla="*/ 1922289 h 5292022"/>
              <a:gd name="connsiteX102-43351" fmla="*/ 516173 w 10693106"/>
              <a:gd name="connsiteY102-43352" fmla="*/ 1837622 h 5292022"/>
              <a:gd name="connsiteX103-43353" fmla="*/ 355306 w 10693106"/>
              <a:gd name="connsiteY103-43354" fmla="*/ 1625956 h 5292022"/>
              <a:gd name="connsiteX104-43355" fmla="*/ 296040 w 10693106"/>
              <a:gd name="connsiteY104-43356" fmla="*/ 1524356 h 5292022"/>
              <a:gd name="connsiteX105-43357" fmla="*/ 253706 w 10693106"/>
              <a:gd name="connsiteY105-43358" fmla="*/ 1346556 h 5292022"/>
              <a:gd name="connsiteX106-43359" fmla="*/ 245240 w 10693106"/>
              <a:gd name="connsiteY106-43360" fmla="*/ 1219556 h 5292022"/>
              <a:gd name="connsiteX107-43361" fmla="*/ 236773 w 10693106"/>
              <a:gd name="connsiteY107-43362" fmla="*/ 1117956 h 5292022"/>
              <a:gd name="connsiteX108-43363" fmla="*/ 245240 w 10693106"/>
              <a:gd name="connsiteY108-43364" fmla="*/ 847022 h 5292022"/>
              <a:gd name="connsiteX109-43365" fmla="*/ 236773 w 10693106"/>
              <a:gd name="connsiteY109-43366" fmla="*/ 703089 h 5292022"/>
              <a:gd name="connsiteX110-43367" fmla="*/ 109773 w 10693106"/>
              <a:gd name="connsiteY110-43368" fmla="*/ 559156 h 5292022"/>
              <a:gd name="connsiteX111-43369" fmla="*/ 58973 w 10693106"/>
              <a:gd name="connsiteY111-43370" fmla="*/ 482956 h 5292022"/>
              <a:gd name="connsiteX112-43371" fmla="*/ 16640 w 10693106"/>
              <a:gd name="connsiteY112-43372" fmla="*/ 432156 h 5292022"/>
              <a:gd name="connsiteX113-43373" fmla="*/ 8173 w 10693106"/>
              <a:gd name="connsiteY113-43374" fmla="*/ 389822 h 5292022"/>
              <a:gd name="connsiteX114-43375" fmla="*/ 16640 w 10693106"/>
              <a:gd name="connsiteY114-43376" fmla="*/ 339022 h 5292022"/>
              <a:gd name="connsiteX0-43377" fmla="*/ 16640 w 10693106"/>
              <a:gd name="connsiteY0-43378" fmla="*/ 339022 h 5292022"/>
              <a:gd name="connsiteX1-43379" fmla="*/ 58973 w 10693106"/>
              <a:gd name="connsiteY1-43380" fmla="*/ 245889 h 5292022"/>
              <a:gd name="connsiteX2-43381" fmla="*/ 109773 w 10693106"/>
              <a:gd name="connsiteY2-43382" fmla="*/ 178156 h 5292022"/>
              <a:gd name="connsiteX3-43383" fmla="*/ 202906 w 10693106"/>
              <a:gd name="connsiteY3-43384" fmla="*/ 93489 h 5292022"/>
              <a:gd name="connsiteX4-43385" fmla="*/ 236773 w 10693106"/>
              <a:gd name="connsiteY4-43386" fmla="*/ 68089 h 5292022"/>
              <a:gd name="connsiteX5-43387" fmla="*/ 335410 w 10693106"/>
              <a:gd name="connsiteY5-43388" fmla="*/ 58352 h 5292022"/>
              <a:gd name="connsiteX6-43389" fmla="*/ 382400 w 10693106"/>
              <a:gd name="connsiteY6-43390" fmla="*/ 51156 h 5292022"/>
              <a:gd name="connsiteX7-43391" fmla="*/ 434912 w 10693106"/>
              <a:gd name="connsiteY7-43392" fmla="*/ 70071 h 5292022"/>
              <a:gd name="connsiteX8-43393" fmla="*/ 492697 w 10693106"/>
              <a:gd name="connsiteY8-43394" fmla="*/ 74247 h 5292022"/>
              <a:gd name="connsiteX9-43395" fmla="*/ 822897 w 10693106"/>
              <a:gd name="connsiteY9-43396" fmla="*/ 82713 h 5292022"/>
              <a:gd name="connsiteX10-43397" fmla="*/ 1091906 w 10693106"/>
              <a:gd name="connsiteY10-43398" fmla="*/ 356 h 5292022"/>
              <a:gd name="connsiteX11-43399" fmla="*/ 1235840 w 10693106"/>
              <a:gd name="connsiteY11-43400" fmla="*/ 59622 h 5292022"/>
              <a:gd name="connsiteX12-43401" fmla="*/ 1337440 w 10693106"/>
              <a:gd name="connsiteY12-43402" fmla="*/ 135822 h 5292022"/>
              <a:gd name="connsiteX13-43403" fmla="*/ 1422106 w 10693106"/>
              <a:gd name="connsiteY13-43404" fmla="*/ 245889 h 5292022"/>
              <a:gd name="connsiteX14-43405" fmla="*/ 1481373 w 10693106"/>
              <a:gd name="connsiteY14-43406" fmla="*/ 313622 h 5292022"/>
              <a:gd name="connsiteX15-43407" fmla="*/ 1532173 w 10693106"/>
              <a:gd name="connsiteY15-43408" fmla="*/ 347489 h 5292022"/>
              <a:gd name="connsiteX16-43409" fmla="*/ 1684573 w 10693106"/>
              <a:gd name="connsiteY16-43410" fmla="*/ 406756 h 5292022"/>
              <a:gd name="connsiteX17-43411" fmla="*/ 1760773 w 10693106"/>
              <a:gd name="connsiteY17-43412" fmla="*/ 423689 h 5292022"/>
              <a:gd name="connsiteX18-43413" fmla="*/ 2404240 w 10693106"/>
              <a:gd name="connsiteY18-43414" fmla="*/ 355956 h 5292022"/>
              <a:gd name="connsiteX19-43415" fmla="*/ 3398918 w 10693106"/>
              <a:gd name="connsiteY19-43416" fmla="*/ 72322 h 5292022"/>
              <a:gd name="connsiteX20-43417" fmla="*/ 4529373 w 10693106"/>
              <a:gd name="connsiteY20-43418" fmla="*/ 271289 h 5292022"/>
              <a:gd name="connsiteX21-43419" fmla="*/ 5630810 w 10693106"/>
              <a:gd name="connsiteY21-43420" fmla="*/ 1149898 h 5292022"/>
              <a:gd name="connsiteX22-43421" fmla="*/ 6881490 w 10693106"/>
              <a:gd name="connsiteY22-43422" fmla="*/ 1366452 h 5292022"/>
              <a:gd name="connsiteX23-43423" fmla="*/ 7839032 w 10693106"/>
              <a:gd name="connsiteY23-43424" fmla="*/ 1183996 h 5292022"/>
              <a:gd name="connsiteX24-43425" fmla="*/ 8652640 w 10693106"/>
              <a:gd name="connsiteY24-43426" fmla="*/ 677689 h 5292022"/>
              <a:gd name="connsiteX25-43427" fmla="*/ 8982840 w 10693106"/>
              <a:gd name="connsiteY25-43428" fmla="*/ 398289 h 5292022"/>
              <a:gd name="connsiteX26-43429" fmla="*/ 9380773 w 10693106"/>
              <a:gd name="connsiteY26-43430" fmla="*/ 355956 h 5292022"/>
              <a:gd name="connsiteX27-43431" fmla="*/ 9744840 w 10693106"/>
              <a:gd name="connsiteY27-43432" fmla="*/ 466022 h 5292022"/>
              <a:gd name="connsiteX28-43433" fmla="*/ 9888773 w 10693106"/>
              <a:gd name="connsiteY28-43434" fmla="*/ 508356 h 5292022"/>
              <a:gd name="connsiteX29-43435" fmla="*/ 9998840 w 10693106"/>
              <a:gd name="connsiteY29-43436" fmla="*/ 559156 h 5292022"/>
              <a:gd name="connsiteX30-43437" fmla="*/ 10083506 w 10693106"/>
              <a:gd name="connsiteY30-43438" fmla="*/ 618422 h 5292022"/>
              <a:gd name="connsiteX31-43439" fmla="*/ 10286706 w 10693106"/>
              <a:gd name="connsiteY31-43440" fmla="*/ 686156 h 5292022"/>
              <a:gd name="connsiteX32-43441" fmla="*/ 10388306 w 10693106"/>
              <a:gd name="connsiteY32-43442" fmla="*/ 889356 h 5292022"/>
              <a:gd name="connsiteX33-43443" fmla="*/ 10540706 w 10693106"/>
              <a:gd name="connsiteY33-43444" fmla="*/ 1261889 h 5292022"/>
              <a:gd name="connsiteX34-43445" fmla="*/ 10557640 w 10693106"/>
              <a:gd name="connsiteY34-43446" fmla="*/ 1346556 h 5292022"/>
              <a:gd name="connsiteX35-43447" fmla="*/ 10583040 w 10693106"/>
              <a:gd name="connsiteY35-43448" fmla="*/ 1448156 h 5292022"/>
              <a:gd name="connsiteX36-43449" fmla="*/ 10616906 w 10693106"/>
              <a:gd name="connsiteY36-43450" fmla="*/ 1651356 h 5292022"/>
              <a:gd name="connsiteX37-43451" fmla="*/ 10633840 w 10693106"/>
              <a:gd name="connsiteY37-43452" fmla="*/ 1736022 h 5292022"/>
              <a:gd name="connsiteX38-43453" fmla="*/ 10650773 w 10693106"/>
              <a:gd name="connsiteY38-43454" fmla="*/ 1769889 h 5292022"/>
              <a:gd name="connsiteX39-43455" fmla="*/ 10676173 w 10693106"/>
              <a:gd name="connsiteY39-43456" fmla="*/ 1854556 h 5292022"/>
              <a:gd name="connsiteX40-43457" fmla="*/ 10693106 w 10693106"/>
              <a:gd name="connsiteY40-43458" fmla="*/ 2006956 h 5292022"/>
              <a:gd name="connsiteX41-43459" fmla="*/ 10625373 w 10693106"/>
              <a:gd name="connsiteY41-43460" fmla="*/ 2227089 h 5292022"/>
              <a:gd name="connsiteX42-43461" fmla="*/ 10608440 w 10693106"/>
              <a:gd name="connsiteY42-43462" fmla="*/ 2252489 h 5292022"/>
              <a:gd name="connsiteX43-43463" fmla="*/ 10540706 w 10693106"/>
              <a:gd name="connsiteY43-43464" fmla="*/ 2396422 h 5292022"/>
              <a:gd name="connsiteX44-43465" fmla="*/ 10498373 w 10693106"/>
              <a:gd name="connsiteY44-43466" fmla="*/ 2481089 h 5292022"/>
              <a:gd name="connsiteX45-43467" fmla="*/ 10439106 w 10693106"/>
              <a:gd name="connsiteY45-43468" fmla="*/ 2667356 h 5292022"/>
              <a:gd name="connsiteX46-43469" fmla="*/ 10430640 w 10693106"/>
              <a:gd name="connsiteY46-43470" fmla="*/ 2709689 h 5292022"/>
              <a:gd name="connsiteX47-43471" fmla="*/ 10405240 w 10693106"/>
              <a:gd name="connsiteY47-43472" fmla="*/ 2785889 h 5292022"/>
              <a:gd name="connsiteX48-43473" fmla="*/ 10396773 w 10693106"/>
              <a:gd name="connsiteY48-43474" fmla="*/ 2819756 h 5292022"/>
              <a:gd name="connsiteX49-43475" fmla="*/ 10362906 w 10693106"/>
              <a:gd name="connsiteY49-43476" fmla="*/ 2912889 h 5292022"/>
              <a:gd name="connsiteX50-43477" fmla="*/ 10329040 w 10693106"/>
              <a:gd name="connsiteY50-43478" fmla="*/ 2955222 h 5292022"/>
              <a:gd name="connsiteX51-43479" fmla="*/ 10227440 w 10693106"/>
              <a:gd name="connsiteY51-43480" fmla="*/ 3056822 h 5292022"/>
              <a:gd name="connsiteX52-43481" fmla="*/ 10117373 w 10693106"/>
              <a:gd name="connsiteY52-43482" fmla="*/ 3175356 h 5292022"/>
              <a:gd name="connsiteX53-43483" fmla="*/ 9948040 w 10693106"/>
              <a:gd name="connsiteY53-43484" fmla="*/ 3336222 h 5292022"/>
              <a:gd name="connsiteX54-43485" fmla="*/ 9067506 w 10693106"/>
              <a:gd name="connsiteY54-43486" fmla="*/ 3861156 h 5292022"/>
              <a:gd name="connsiteX55-43487" fmla="*/ 8813506 w 10693106"/>
              <a:gd name="connsiteY55-43488" fmla="*/ 4064356 h 5292022"/>
              <a:gd name="connsiteX56-43489" fmla="*/ 8373240 w 10693106"/>
              <a:gd name="connsiteY56-43490" fmla="*/ 4140556 h 5292022"/>
              <a:gd name="connsiteX57-43491" fmla="*/ 7966840 w 10693106"/>
              <a:gd name="connsiteY57-43492" fmla="*/ 4233689 h 5292022"/>
              <a:gd name="connsiteX58-43493" fmla="*/ 7687440 w 10693106"/>
              <a:gd name="connsiteY58-43494" fmla="*/ 4394556 h 5292022"/>
              <a:gd name="connsiteX59-43495" fmla="*/ 7374173 w 10693106"/>
              <a:gd name="connsiteY59-43496" fmla="*/ 4657022 h 5292022"/>
              <a:gd name="connsiteX60-43497" fmla="*/ 7374173 w 10693106"/>
              <a:gd name="connsiteY60-43498" fmla="*/ 4657022 h 5292022"/>
              <a:gd name="connsiteX61-43499" fmla="*/ 7221773 w 10693106"/>
              <a:gd name="connsiteY61-43500" fmla="*/ 4775556 h 5292022"/>
              <a:gd name="connsiteX62-43501" fmla="*/ 7027040 w 10693106"/>
              <a:gd name="connsiteY62-43502" fmla="*/ 4902556 h 5292022"/>
              <a:gd name="connsiteX63-43503" fmla="*/ 6883106 w 10693106"/>
              <a:gd name="connsiteY63-43504" fmla="*/ 4970289 h 5292022"/>
              <a:gd name="connsiteX64-43505" fmla="*/ 6815373 w 10693106"/>
              <a:gd name="connsiteY64-43506" fmla="*/ 5012622 h 5292022"/>
              <a:gd name="connsiteX65-43507" fmla="*/ 6646040 w 10693106"/>
              <a:gd name="connsiteY65-43508" fmla="*/ 5105756 h 5292022"/>
              <a:gd name="connsiteX66-43509" fmla="*/ 6527506 w 10693106"/>
              <a:gd name="connsiteY66-43510" fmla="*/ 5165022 h 5292022"/>
              <a:gd name="connsiteX67-43511" fmla="*/ 6298906 w 10693106"/>
              <a:gd name="connsiteY67-43512" fmla="*/ 5241222 h 5292022"/>
              <a:gd name="connsiteX68-43513" fmla="*/ 6197306 w 10693106"/>
              <a:gd name="connsiteY68-43514" fmla="*/ 5266622 h 5292022"/>
              <a:gd name="connsiteX69-43515" fmla="*/ 6061840 w 10693106"/>
              <a:gd name="connsiteY69-43516" fmla="*/ 5275089 h 5292022"/>
              <a:gd name="connsiteX70-43517" fmla="*/ 5917906 w 10693106"/>
              <a:gd name="connsiteY70-43518" fmla="*/ 5292022 h 5292022"/>
              <a:gd name="connsiteX71-43519" fmla="*/ 5748573 w 10693106"/>
              <a:gd name="connsiteY71-43520" fmla="*/ 5283556 h 5292022"/>
              <a:gd name="connsiteX72-43521" fmla="*/ 5282906 w 10693106"/>
              <a:gd name="connsiteY72-43522" fmla="*/ 5173489 h 5292022"/>
              <a:gd name="connsiteX73-43523" fmla="*/ 4959480 w 10693106"/>
              <a:gd name="connsiteY73-43524" fmla="*/ 4988069 h 5292022"/>
              <a:gd name="connsiteX74-43525" fmla="*/ 4686853 w 10693106"/>
              <a:gd name="connsiteY74-43526" fmla="*/ 4788256 h 5292022"/>
              <a:gd name="connsiteX75-43527" fmla="*/ 3977346 w 10693106"/>
              <a:gd name="connsiteY75-43528" fmla="*/ 4470544 h 5292022"/>
              <a:gd name="connsiteX76-43529" fmla="*/ 3741550 w 10693106"/>
              <a:gd name="connsiteY76-43530" fmla="*/ 4154102 h 5292022"/>
              <a:gd name="connsiteX77-43531" fmla="*/ 3562056 w 10693106"/>
              <a:gd name="connsiteY77-43532" fmla="*/ 3406919 h 5292022"/>
              <a:gd name="connsiteX78-43533" fmla="*/ 3242440 w 10693106"/>
              <a:gd name="connsiteY78-43534" fmla="*/ 3099156 h 5292022"/>
              <a:gd name="connsiteX79-43535" fmla="*/ 3123906 w 10693106"/>
              <a:gd name="connsiteY79-43536" fmla="*/ 2997556 h 5292022"/>
              <a:gd name="connsiteX80-43537" fmla="*/ 2988440 w 10693106"/>
              <a:gd name="connsiteY80-43538" fmla="*/ 2802822 h 5292022"/>
              <a:gd name="connsiteX81-43539" fmla="*/ 2971506 w 10693106"/>
              <a:gd name="connsiteY81-43540" fmla="*/ 2743556 h 5292022"/>
              <a:gd name="connsiteX82-43541" fmla="*/ 2996906 w 10693106"/>
              <a:gd name="connsiteY82-43542" fmla="*/ 2531889 h 5292022"/>
              <a:gd name="connsiteX83-43543" fmla="*/ 3013840 w 10693106"/>
              <a:gd name="connsiteY83-43544" fmla="*/ 2430289 h 5292022"/>
              <a:gd name="connsiteX84-43545" fmla="*/ 3005373 w 10693106"/>
              <a:gd name="connsiteY84-43546" fmla="*/ 2311756 h 5292022"/>
              <a:gd name="connsiteX85-43547" fmla="*/ 2988440 w 10693106"/>
              <a:gd name="connsiteY85-43548" fmla="*/ 2260956 h 5292022"/>
              <a:gd name="connsiteX86-43549" fmla="*/ 2802173 w 10693106"/>
              <a:gd name="connsiteY86-43550" fmla="*/ 2006956 h 5292022"/>
              <a:gd name="connsiteX87-43551" fmla="*/ 2641306 w 10693106"/>
              <a:gd name="connsiteY87-43552" fmla="*/ 1863022 h 5292022"/>
              <a:gd name="connsiteX88-43553" fmla="*/ 2590506 w 10693106"/>
              <a:gd name="connsiteY88-43554" fmla="*/ 1837622 h 5292022"/>
              <a:gd name="connsiteX89-43555" fmla="*/ 2531240 w 10693106"/>
              <a:gd name="connsiteY89-43556" fmla="*/ 1829156 h 5292022"/>
              <a:gd name="connsiteX90-43557" fmla="*/ 2446573 w 10693106"/>
              <a:gd name="connsiteY90-43558" fmla="*/ 1812222 h 5292022"/>
              <a:gd name="connsiteX91-43559" fmla="*/ 2251840 w 10693106"/>
              <a:gd name="connsiteY91-43560" fmla="*/ 1837622 h 5292022"/>
              <a:gd name="connsiteX92-43561" fmla="*/ 2167173 w 10693106"/>
              <a:gd name="connsiteY92-43562" fmla="*/ 1879956 h 5292022"/>
              <a:gd name="connsiteX93-43563" fmla="*/ 1980906 w 10693106"/>
              <a:gd name="connsiteY93-43564" fmla="*/ 1939222 h 5292022"/>
              <a:gd name="connsiteX94-43565" fmla="*/ 1904706 w 10693106"/>
              <a:gd name="connsiteY94-43566" fmla="*/ 1973089 h 5292022"/>
              <a:gd name="connsiteX95-43567" fmla="*/ 1828506 w 10693106"/>
              <a:gd name="connsiteY95-43568" fmla="*/ 1990022 h 5292022"/>
              <a:gd name="connsiteX96-43569" fmla="*/ 1726906 w 10693106"/>
              <a:gd name="connsiteY96-43570" fmla="*/ 2040822 h 5292022"/>
              <a:gd name="connsiteX97-43571" fmla="*/ 1659173 w 10693106"/>
              <a:gd name="connsiteY97-43572" fmla="*/ 2074689 h 5292022"/>
              <a:gd name="connsiteX98-43573" fmla="*/ 1498306 w 10693106"/>
              <a:gd name="connsiteY98-43574" fmla="*/ 2100089 h 5292022"/>
              <a:gd name="connsiteX99-43575" fmla="*/ 914106 w 10693106"/>
              <a:gd name="connsiteY99-43576" fmla="*/ 2032356 h 5292022"/>
              <a:gd name="connsiteX100-43577" fmla="*/ 617773 w 10693106"/>
              <a:gd name="connsiteY100-43578" fmla="*/ 1922289 h 5292022"/>
              <a:gd name="connsiteX101-43579" fmla="*/ 516173 w 10693106"/>
              <a:gd name="connsiteY101-43580" fmla="*/ 1837622 h 5292022"/>
              <a:gd name="connsiteX102-43581" fmla="*/ 355306 w 10693106"/>
              <a:gd name="connsiteY102-43582" fmla="*/ 1625956 h 5292022"/>
              <a:gd name="connsiteX103-43583" fmla="*/ 296040 w 10693106"/>
              <a:gd name="connsiteY103-43584" fmla="*/ 1524356 h 5292022"/>
              <a:gd name="connsiteX104-43585" fmla="*/ 253706 w 10693106"/>
              <a:gd name="connsiteY104-43586" fmla="*/ 1346556 h 5292022"/>
              <a:gd name="connsiteX105-43587" fmla="*/ 245240 w 10693106"/>
              <a:gd name="connsiteY105-43588" fmla="*/ 1219556 h 5292022"/>
              <a:gd name="connsiteX106-43589" fmla="*/ 236773 w 10693106"/>
              <a:gd name="connsiteY106-43590" fmla="*/ 1117956 h 5292022"/>
              <a:gd name="connsiteX107-43591" fmla="*/ 245240 w 10693106"/>
              <a:gd name="connsiteY107-43592" fmla="*/ 847022 h 5292022"/>
              <a:gd name="connsiteX108-43593" fmla="*/ 236773 w 10693106"/>
              <a:gd name="connsiteY108-43594" fmla="*/ 703089 h 5292022"/>
              <a:gd name="connsiteX109-43595" fmla="*/ 109773 w 10693106"/>
              <a:gd name="connsiteY109-43596" fmla="*/ 559156 h 5292022"/>
              <a:gd name="connsiteX110-43597" fmla="*/ 58973 w 10693106"/>
              <a:gd name="connsiteY110-43598" fmla="*/ 482956 h 5292022"/>
              <a:gd name="connsiteX111-43599" fmla="*/ 16640 w 10693106"/>
              <a:gd name="connsiteY111-43600" fmla="*/ 432156 h 5292022"/>
              <a:gd name="connsiteX112-43601" fmla="*/ 8173 w 10693106"/>
              <a:gd name="connsiteY112-43602" fmla="*/ 389822 h 5292022"/>
              <a:gd name="connsiteX113-43603" fmla="*/ 16640 w 10693106"/>
              <a:gd name="connsiteY113-43604" fmla="*/ 339022 h 5292022"/>
              <a:gd name="connsiteX0-43605" fmla="*/ 16640 w 10693106"/>
              <a:gd name="connsiteY0-43606" fmla="*/ 339022 h 5292022"/>
              <a:gd name="connsiteX1-43607" fmla="*/ 58973 w 10693106"/>
              <a:gd name="connsiteY1-43608" fmla="*/ 245889 h 5292022"/>
              <a:gd name="connsiteX2-43609" fmla="*/ 109773 w 10693106"/>
              <a:gd name="connsiteY2-43610" fmla="*/ 178156 h 5292022"/>
              <a:gd name="connsiteX3-43611" fmla="*/ 202906 w 10693106"/>
              <a:gd name="connsiteY3-43612" fmla="*/ 93489 h 5292022"/>
              <a:gd name="connsiteX4-43613" fmla="*/ 236773 w 10693106"/>
              <a:gd name="connsiteY4-43614" fmla="*/ 68089 h 5292022"/>
              <a:gd name="connsiteX5-43615" fmla="*/ 335410 w 10693106"/>
              <a:gd name="connsiteY5-43616" fmla="*/ 58352 h 5292022"/>
              <a:gd name="connsiteX6-43617" fmla="*/ 382400 w 10693106"/>
              <a:gd name="connsiteY6-43618" fmla="*/ 51156 h 5292022"/>
              <a:gd name="connsiteX7-43619" fmla="*/ 434912 w 10693106"/>
              <a:gd name="connsiteY7-43620" fmla="*/ 70071 h 5292022"/>
              <a:gd name="connsiteX8-43621" fmla="*/ 492697 w 10693106"/>
              <a:gd name="connsiteY8-43622" fmla="*/ 74247 h 5292022"/>
              <a:gd name="connsiteX9-43623" fmla="*/ 822897 w 10693106"/>
              <a:gd name="connsiteY9-43624" fmla="*/ 82713 h 5292022"/>
              <a:gd name="connsiteX10-43625" fmla="*/ 1091906 w 10693106"/>
              <a:gd name="connsiteY10-43626" fmla="*/ 356 h 5292022"/>
              <a:gd name="connsiteX11-43627" fmla="*/ 1235840 w 10693106"/>
              <a:gd name="connsiteY11-43628" fmla="*/ 59622 h 5292022"/>
              <a:gd name="connsiteX12-43629" fmla="*/ 1337440 w 10693106"/>
              <a:gd name="connsiteY12-43630" fmla="*/ 135822 h 5292022"/>
              <a:gd name="connsiteX13-43631" fmla="*/ 1422106 w 10693106"/>
              <a:gd name="connsiteY13-43632" fmla="*/ 245889 h 5292022"/>
              <a:gd name="connsiteX14-43633" fmla="*/ 1481373 w 10693106"/>
              <a:gd name="connsiteY14-43634" fmla="*/ 313622 h 5292022"/>
              <a:gd name="connsiteX15-43635" fmla="*/ 1532173 w 10693106"/>
              <a:gd name="connsiteY15-43636" fmla="*/ 347489 h 5292022"/>
              <a:gd name="connsiteX16-43637" fmla="*/ 1684573 w 10693106"/>
              <a:gd name="connsiteY16-43638" fmla="*/ 406756 h 5292022"/>
              <a:gd name="connsiteX17-43639" fmla="*/ 1760773 w 10693106"/>
              <a:gd name="connsiteY17-43640" fmla="*/ 423689 h 5292022"/>
              <a:gd name="connsiteX18-43641" fmla="*/ 2404240 w 10693106"/>
              <a:gd name="connsiteY18-43642" fmla="*/ 355956 h 5292022"/>
              <a:gd name="connsiteX19-43643" fmla="*/ 3398918 w 10693106"/>
              <a:gd name="connsiteY19-43644" fmla="*/ 72322 h 5292022"/>
              <a:gd name="connsiteX20-43645" fmla="*/ 4529373 w 10693106"/>
              <a:gd name="connsiteY20-43646" fmla="*/ 271289 h 5292022"/>
              <a:gd name="connsiteX21-43647" fmla="*/ 5630810 w 10693106"/>
              <a:gd name="connsiteY21-43648" fmla="*/ 1149898 h 5292022"/>
              <a:gd name="connsiteX22-43649" fmla="*/ 6881490 w 10693106"/>
              <a:gd name="connsiteY22-43650" fmla="*/ 1366452 h 5292022"/>
              <a:gd name="connsiteX23-43651" fmla="*/ 7839032 w 10693106"/>
              <a:gd name="connsiteY23-43652" fmla="*/ 1183996 h 5292022"/>
              <a:gd name="connsiteX24-43653" fmla="*/ 8652640 w 10693106"/>
              <a:gd name="connsiteY24-43654" fmla="*/ 677689 h 5292022"/>
              <a:gd name="connsiteX25-43655" fmla="*/ 8982840 w 10693106"/>
              <a:gd name="connsiteY25-43656" fmla="*/ 398289 h 5292022"/>
              <a:gd name="connsiteX26-43657" fmla="*/ 9380773 w 10693106"/>
              <a:gd name="connsiteY26-43658" fmla="*/ 355956 h 5292022"/>
              <a:gd name="connsiteX27-43659" fmla="*/ 9744840 w 10693106"/>
              <a:gd name="connsiteY27-43660" fmla="*/ 466022 h 5292022"/>
              <a:gd name="connsiteX28-43661" fmla="*/ 9888773 w 10693106"/>
              <a:gd name="connsiteY28-43662" fmla="*/ 508356 h 5292022"/>
              <a:gd name="connsiteX29-43663" fmla="*/ 9998840 w 10693106"/>
              <a:gd name="connsiteY29-43664" fmla="*/ 559156 h 5292022"/>
              <a:gd name="connsiteX30-43665" fmla="*/ 10083506 w 10693106"/>
              <a:gd name="connsiteY30-43666" fmla="*/ 618422 h 5292022"/>
              <a:gd name="connsiteX31-43667" fmla="*/ 10286706 w 10693106"/>
              <a:gd name="connsiteY31-43668" fmla="*/ 686156 h 5292022"/>
              <a:gd name="connsiteX32-43669" fmla="*/ 10388306 w 10693106"/>
              <a:gd name="connsiteY32-43670" fmla="*/ 889356 h 5292022"/>
              <a:gd name="connsiteX33-43671" fmla="*/ 10540706 w 10693106"/>
              <a:gd name="connsiteY33-43672" fmla="*/ 1261889 h 5292022"/>
              <a:gd name="connsiteX34-43673" fmla="*/ 10557640 w 10693106"/>
              <a:gd name="connsiteY34-43674" fmla="*/ 1346556 h 5292022"/>
              <a:gd name="connsiteX35-43675" fmla="*/ 10583040 w 10693106"/>
              <a:gd name="connsiteY35-43676" fmla="*/ 1448156 h 5292022"/>
              <a:gd name="connsiteX36-43677" fmla="*/ 10616906 w 10693106"/>
              <a:gd name="connsiteY36-43678" fmla="*/ 1651356 h 5292022"/>
              <a:gd name="connsiteX37-43679" fmla="*/ 10633840 w 10693106"/>
              <a:gd name="connsiteY37-43680" fmla="*/ 1736022 h 5292022"/>
              <a:gd name="connsiteX38-43681" fmla="*/ 10650773 w 10693106"/>
              <a:gd name="connsiteY38-43682" fmla="*/ 1769889 h 5292022"/>
              <a:gd name="connsiteX39-43683" fmla="*/ 10676173 w 10693106"/>
              <a:gd name="connsiteY39-43684" fmla="*/ 1854556 h 5292022"/>
              <a:gd name="connsiteX40-43685" fmla="*/ 10693106 w 10693106"/>
              <a:gd name="connsiteY40-43686" fmla="*/ 2006956 h 5292022"/>
              <a:gd name="connsiteX41-43687" fmla="*/ 10625373 w 10693106"/>
              <a:gd name="connsiteY41-43688" fmla="*/ 2227089 h 5292022"/>
              <a:gd name="connsiteX42-43689" fmla="*/ 10608440 w 10693106"/>
              <a:gd name="connsiteY42-43690" fmla="*/ 2252489 h 5292022"/>
              <a:gd name="connsiteX43-43691" fmla="*/ 10540706 w 10693106"/>
              <a:gd name="connsiteY43-43692" fmla="*/ 2396422 h 5292022"/>
              <a:gd name="connsiteX44-43693" fmla="*/ 10498373 w 10693106"/>
              <a:gd name="connsiteY44-43694" fmla="*/ 2481089 h 5292022"/>
              <a:gd name="connsiteX45-43695" fmla="*/ 10439106 w 10693106"/>
              <a:gd name="connsiteY45-43696" fmla="*/ 2667356 h 5292022"/>
              <a:gd name="connsiteX46-43697" fmla="*/ 10430640 w 10693106"/>
              <a:gd name="connsiteY46-43698" fmla="*/ 2709689 h 5292022"/>
              <a:gd name="connsiteX47-43699" fmla="*/ 10405240 w 10693106"/>
              <a:gd name="connsiteY47-43700" fmla="*/ 2785889 h 5292022"/>
              <a:gd name="connsiteX48-43701" fmla="*/ 10396773 w 10693106"/>
              <a:gd name="connsiteY48-43702" fmla="*/ 2819756 h 5292022"/>
              <a:gd name="connsiteX49-43703" fmla="*/ 10362906 w 10693106"/>
              <a:gd name="connsiteY49-43704" fmla="*/ 2912889 h 5292022"/>
              <a:gd name="connsiteX50-43705" fmla="*/ 10329040 w 10693106"/>
              <a:gd name="connsiteY50-43706" fmla="*/ 2955222 h 5292022"/>
              <a:gd name="connsiteX51-43707" fmla="*/ 10227440 w 10693106"/>
              <a:gd name="connsiteY51-43708" fmla="*/ 3056822 h 5292022"/>
              <a:gd name="connsiteX52-43709" fmla="*/ 10117373 w 10693106"/>
              <a:gd name="connsiteY52-43710" fmla="*/ 3175356 h 5292022"/>
              <a:gd name="connsiteX53-43711" fmla="*/ 9948040 w 10693106"/>
              <a:gd name="connsiteY53-43712" fmla="*/ 3336222 h 5292022"/>
              <a:gd name="connsiteX54-43713" fmla="*/ 9067506 w 10693106"/>
              <a:gd name="connsiteY54-43714" fmla="*/ 3861156 h 5292022"/>
              <a:gd name="connsiteX55-43715" fmla="*/ 8373240 w 10693106"/>
              <a:gd name="connsiteY55-43716" fmla="*/ 4140556 h 5292022"/>
              <a:gd name="connsiteX56-43717" fmla="*/ 7966840 w 10693106"/>
              <a:gd name="connsiteY56-43718" fmla="*/ 4233689 h 5292022"/>
              <a:gd name="connsiteX57-43719" fmla="*/ 7687440 w 10693106"/>
              <a:gd name="connsiteY57-43720" fmla="*/ 4394556 h 5292022"/>
              <a:gd name="connsiteX58-43721" fmla="*/ 7374173 w 10693106"/>
              <a:gd name="connsiteY58-43722" fmla="*/ 4657022 h 5292022"/>
              <a:gd name="connsiteX59-43723" fmla="*/ 7374173 w 10693106"/>
              <a:gd name="connsiteY59-43724" fmla="*/ 4657022 h 5292022"/>
              <a:gd name="connsiteX60-43725" fmla="*/ 7221773 w 10693106"/>
              <a:gd name="connsiteY60-43726" fmla="*/ 4775556 h 5292022"/>
              <a:gd name="connsiteX61-43727" fmla="*/ 7027040 w 10693106"/>
              <a:gd name="connsiteY61-43728" fmla="*/ 4902556 h 5292022"/>
              <a:gd name="connsiteX62-43729" fmla="*/ 6883106 w 10693106"/>
              <a:gd name="connsiteY62-43730" fmla="*/ 4970289 h 5292022"/>
              <a:gd name="connsiteX63-43731" fmla="*/ 6815373 w 10693106"/>
              <a:gd name="connsiteY63-43732" fmla="*/ 5012622 h 5292022"/>
              <a:gd name="connsiteX64-43733" fmla="*/ 6646040 w 10693106"/>
              <a:gd name="connsiteY64-43734" fmla="*/ 5105756 h 5292022"/>
              <a:gd name="connsiteX65-43735" fmla="*/ 6527506 w 10693106"/>
              <a:gd name="connsiteY65-43736" fmla="*/ 5165022 h 5292022"/>
              <a:gd name="connsiteX66-43737" fmla="*/ 6298906 w 10693106"/>
              <a:gd name="connsiteY66-43738" fmla="*/ 5241222 h 5292022"/>
              <a:gd name="connsiteX67-43739" fmla="*/ 6197306 w 10693106"/>
              <a:gd name="connsiteY67-43740" fmla="*/ 5266622 h 5292022"/>
              <a:gd name="connsiteX68-43741" fmla="*/ 6061840 w 10693106"/>
              <a:gd name="connsiteY68-43742" fmla="*/ 5275089 h 5292022"/>
              <a:gd name="connsiteX69-43743" fmla="*/ 5917906 w 10693106"/>
              <a:gd name="connsiteY69-43744" fmla="*/ 5292022 h 5292022"/>
              <a:gd name="connsiteX70-43745" fmla="*/ 5748573 w 10693106"/>
              <a:gd name="connsiteY70-43746" fmla="*/ 5283556 h 5292022"/>
              <a:gd name="connsiteX71-43747" fmla="*/ 5282906 w 10693106"/>
              <a:gd name="connsiteY71-43748" fmla="*/ 5173489 h 5292022"/>
              <a:gd name="connsiteX72-43749" fmla="*/ 4959480 w 10693106"/>
              <a:gd name="connsiteY72-43750" fmla="*/ 4988069 h 5292022"/>
              <a:gd name="connsiteX73-43751" fmla="*/ 4686853 w 10693106"/>
              <a:gd name="connsiteY73-43752" fmla="*/ 4788256 h 5292022"/>
              <a:gd name="connsiteX74-43753" fmla="*/ 3977346 w 10693106"/>
              <a:gd name="connsiteY74-43754" fmla="*/ 4470544 h 5292022"/>
              <a:gd name="connsiteX75-43755" fmla="*/ 3741550 w 10693106"/>
              <a:gd name="connsiteY75-43756" fmla="*/ 4154102 h 5292022"/>
              <a:gd name="connsiteX76-43757" fmla="*/ 3562056 w 10693106"/>
              <a:gd name="connsiteY76-43758" fmla="*/ 3406919 h 5292022"/>
              <a:gd name="connsiteX77-43759" fmla="*/ 3242440 w 10693106"/>
              <a:gd name="connsiteY77-43760" fmla="*/ 3099156 h 5292022"/>
              <a:gd name="connsiteX78-43761" fmla="*/ 3123906 w 10693106"/>
              <a:gd name="connsiteY78-43762" fmla="*/ 2997556 h 5292022"/>
              <a:gd name="connsiteX79-43763" fmla="*/ 2988440 w 10693106"/>
              <a:gd name="connsiteY79-43764" fmla="*/ 2802822 h 5292022"/>
              <a:gd name="connsiteX80-43765" fmla="*/ 2971506 w 10693106"/>
              <a:gd name="connsiteY80-43766" fmla="*/ 2743556 h 5292022"/>
              <a:gd name="connsiteX81-43767" fmla="*/ 2996906 w 10693106"/>
              <a:gd name="connsiteY81-43768" fmla="*/ 2531889 h 5292022"/>
              <a:gd name="connsiteX82-43769" fmla="*/ 3013840 w 10693106"/>
              <a:gd name="connsiteY82-43770" fmla="*/ 2430289 h 5292022"/>
              <a:gd name="connsiteX83-43771" fmla="*/ 3005373 w 10693106"/>
              <a:gd name="connsiteY83-43772" fmla="*/ 2311756 h 5292022"/>
              <a:gd name="connsiteX84-43773" fmla="*/ 2988440 w 10693106"/>
              <a:gd name="connsiteY84-43774" fmla="*/ 2260956 h 5292022"/>
              <a:gd name="connsiteX85-43775" fmla="*/ 2802173 w 10693106"/>
              <a:gd name="connsiteY85-43776" fmla="*/ 2006956 h 5292022"/>
              <a:gd name="connsiteX86-43777" fmla="*/ 2641306 w 10693106"/>
              <a:gd name="connsiteY86-43778" fmla="*/ 1863022 h 5292022"/>
              <a:gd name="connsiteX87-43779" fmla="*/ 2590506 w 10693106"/>
              <a:gd name="connsiteY87-43780" fmla="*/ 1837622 h 5292022"/>
              <a:gd name="connsiteX88-43781" fmla="*/ 2531240 w 10693106"/>
              <a:gd name="connsiteY88-43782" fmla="*/ 1829156 h 5292022"/>
              <a:gd name="connsiteX89-43783" fmla="*/ 2446573 w 10693106"/>
              <a:gd name="connsiteY89-43784" fmla="*/ 1812222 h 5292022"/>
              <a:gd name="connsiteX90-43785" fmla="*/ 2251840 w 10693106"/>
              <a:gd name="connsiteY90-43786" fmla="*/ 1837622 h 5292022"/>
              <a:gd name="connsiteX91-43787" fmla="*/ 2167173 w 10693106"/>
              <a:gd name="connsiteY91-43788" fmla="*/ 1879956 h 5292022"/>
              <a:gd name="connsiteX92-43789" fmla="*/ 1980906 w 10693106"/>
              <a:gd name="connsiteY92-43790" fmla="*/ 1939222 h 5292022"/>
              <a:gd name="connsiteX93-43791" fmla="*/ 1904706 w 10693106"/>
              <a:gd name="connsiteY93-43792" fmla="*/ 1973089 h 5292022"/>
              <a:gd name="connsiteX94-43793" fmla="*/ 1828506 w 10693106"/>
              <a:gd name="connsiteY94-43794" fmla="*/ 1990022 h 5292022"/>
              <a:gd name="connsiteX95-43795" fmla="*/ 1726906 w 10693106"/>
              <a:gd name="connsiteY95-43796" fmla="*/ 2040822 h 5292022"/>
              <a:gd name="connsiteX96-43797" fmla="*/ 1659173 w 10693106"/>
              <a:gd name="connsiteY96-43798" fmla="*/ 2074689 h 5292022"/>
              <a:gd name="connsiteX97-43799" fmla="*/ 1498306 w 10693106"/>
              <a:gd name="connsiteY97-43800" fmla="*/ 2100089 h 5292022"/>
              <a:gd name="connsiteX98-43801" fmla="*/ 914106 w 10693106"/>
              <a:gd name="connsiteY98-43802" fmla="*/ 2032356 h 5292022"/>
              <a:gd name="connsiteX99-43803" fmla="*/ 617773 w 10693106"/>
              <a:gd name="connsiteY99-43804" fmla="*/ 1922289 h 5292022"/>
              <a:gd name="connsiteX100-43805" fmla="*/ 516173 w 10693106"/>
              <a:gd name="connsiteY100-43806" fmla="*/ 1837622 h 5292022"/>
              <a:gd name="connsiteX101-43807" fmla="*/ 355306 w 10693106"/>
              <a:gd name="connsiteY101-43808" fmla="*/ 1625956 h 5292022"/>
              <a:gd name="connsiteX102-43809" fmla="*/ 296040 w 10693106"/>
              <a:gd name="connsiteY102-43810" fmla="*/ 1524356 h 5292022"/>
              <a:gd name="connsiteX103-43811" fmla="*/ 253706 w 10693106"/>
              <a:gd name="connsiteY103-43812" fmla="*/ 1346556 h 5292022"/>
              <a:gd name="connsiteX104-43813" fmla="*/ 245240 w 10693106"/>
              <a:gd name="connsiteY104-43814" fmla="*/ 1219556 h 5292022"/>
              <a:gd name="connsiteX105-43815" fmla="*/ 236773 w 10693106"/>
              <a:gd name="connsiteY105-43816" fmla="*/ 1117956 h 5292022"/>
              <a:gd name="connsiteX106-43817" fmla="*/ 245240 w 10693106"/>
              <a:gd name="connsiteY106-43818" fmla="*/ 847022 h 5292022"/>
              <a:gd name="connsiteX107-43819" fmla="*/ 236773 w 10693106"/>
              <a:gd name="connsiteY107-43820" fmla="*/ 703089 h 5292022"/>
              <a:gd name="connsiteX108-43821" fmla="*/ 109773 w 10693106"/>
              <a:gd name="connsiteY108-43822" fmla="*/ 559156 h 5292022"/>
              <a:gd name="connsiteX109-43823" fmla="*/ 58973 w 10693106"/>
              <a:gd name="connsiteY109-43824" fmla="*/ 482956 h 5292022"/>
              <a:gd name="connsiteX110-43825" fmla="*/ 16640 w 10693106"/>
              <a:gd name="connsiteY110-43826" fmla="*/ 432156 h 5292022"/>
              <a:gd name="connsiteX111-43827" fmla="*/ 8173 w 10693106"/>
              <a:gd name="connsiteY111-43828" fmla="*/ 389822 h 5292022"/>
              <a:gd name="connsiteX112-43829" fmla="*/ 16640 w 10693106"/>
              <a:gd name="connsiteY112-43830" fmla="*/ 339022 h 5292022"/>
              <a:gd name="connsiteX0-43831" fmla="*/ 16640 w 10693106"/>
              <a:gd name="connsiteY0-43832" fmla="*/ 339022 h 5292022"/>
              <a:gd name="connsiteX1-43833" fmla="*/ 58973 w 10693106"/>
              <a:gd name="connsiteY1-43834" fmla="*/ 245889 h 5292022"/>
              <a:gd name="connsiteX2-43835" fmla="*/ 109773 w 10693106"/>
              <a:gd name="connsiteY2-43836" fmla="*/ 178156 h 5292022"/>
              <a:gd name="connsiteX3-43837" fmla="*/ 202906 w 10693106"/>
              <a:gd name="connsiteY3-43838" fmla="*/ 93489 h 5292022"/>
              <a:gd name="connsiteX4-43839" fmla="*/ 236773 w 10693106"/>
              <a:gd name="connsiteY4-43840" fmla="*/ 68089 h 5292022"/>
              <a:gd name="connsiteX5-43841" fmla="*/ 335410 w 10693106"/>
              <a:gd name="connsiteY5-43842" fmla="*/ 58352 h 5292022"/>
              <a:gd name="connsiteX6-43843" fmla="*/ 382400 w 10693106"/>
              <a:gd name="connsiteY6-43844" fmla="*/ 51156 h 5292022"/>
              <a:gd name="connsiteX7-43845" fmla="*/ 434912 w 10693106"/>
              <a:gd name="connsiteY7-43846" fmla="*/ 70071 h 5292022"/>
              <a:gd name="connsiteX8-43847" fmla="*/ 492697 w 10693106"/>
              <a:gd name="connsiteY8-43848" fmla="*/ 74247 h 5292022"/>
              <a:gd name="connsiteX9-43849" fmla="*/ 822897 w 10693106"/>
              <a:gd name="connsiteY9-43850" fmla="*/ 82713 h 5292022"/>
              <a:gd name="connsiteX10-43851" fmla="*/ 1091906 w 10693106"/>
              <a:gd name="connsiteY10-43852" fmla="*/ 356 h 5292022"/>
              <a:gd name="connsiteX11-43853" fmla="*/ 1235840 w 10693106"/>
              <a:gd name="connsiteY11-43854" fmla="*/ 59622 h 5292022"/>
              <a:gd name="connsiteX12-43855" fmla="*/ 1337440 w 10693106"/>
              <a:gd name="connsiteY12-43856" fmla="*/ 135822 h 5292022"/>
              <a:gd name="connsiteX13-43857" fmla="*/ 1422106 w 10693106"/>
              <a:gd name="connsiteY13-43858" fmla="*/ 245889 h 5292022"/>
              <a:gd name="connsiteX14-43859" fmla="*/ 1481373 w 10693106"/>
              <a:gd name="connsiteY14-43860" fmla="*/ 313622 h 5292022"/>
              <a:gd name="connsiteX15-43861" fmla="*/ 1532173 w 10693106"/>
              <a:gd name="connsiteY15-43862" fmla="*/ 347489 h 5292022"/>
              <a:gd name="connsiteX16-43863" fmla="*/ 1684573 w 10693106"/>
              <a:gd name="connsiteY16-43864" fmla="*/ 406756 h 5292022"/>
              <a:gd name="connsiteX17-43865" fmla="*/ 1760773 w 10693106"/>
              <a:gd name="connsiteY17-43866" fmla="*/ 423689 h 5292022"/>
              <a:gd name="connsiteX18-43867" fmla="*/ 2404240 w 10693106"/>
              <a:gd name="connsiteY18-43868" fmla="*/ 355956 h 5292022"/>
              <a:gd name="connsiteX19-43869" fmla="*/ 3398918 w 10693106"/>
              <a:gd name="connsiteY19-43870" fmla="*/ 72322 h 5292022"/>
              <a:gd name="connsiteX20-43871" fmla="*/ 4529373 w 10693106"/>
              <a:gd name="connsiteY20-43872" fmla="*/ 271289 h 5292022"/>
              <a:gd name="connsiteX21-43873" fmla="*/ 5630810 w 10693106"/>
              <a:gd name="connsiteY21-43874" fmla="*/ 1149898 h 5292022"/>
              <a:gd name="connsiteX22-43875" fmla="*/ 6881490 w 10693106"/>
              <a:gd name="connsiteY22-43876" fmla="*/ 1366452 h 5292022"/>
              <a:gd name="connsiteX23-43877" fmla="*/ 7839032 w 10693106"/>
              <a:gd name="connsiteY23-43878" fmla="*/ 1183996 h 5292022"/>
              <a:gd name="connsiteX24-43879" fmla="*/ 8652640 w 10693106"/>
              <a:gd name="connsiteY24-43880" fmla="*/ 677689 h 5292022"/>
              <a:gd name="connsiteX25-43881" fmla="*/ 8982840 w 10693106"/>
              <a:gd name="connsiteY25-43882" fmla="*/ 398289 h 5292022"/>
              <a:gd name="connsiteX26-43883" fmla="*/ 9380773 w 10693106"/>
              <a:gd name="connsiteY26-43884" fmla="*/ 355956 h 5292022"/>
              <a:gd name="connsiteX27-43885" fmla="*/ 9744840 w 10693106"/>
              <a:gd name="connsiteY27-43886" fmla="*/ 466022 h 5292022"/>
              <a:gd name="connsiteX28-43887" fmla="*/ 9888773 w 10693106"/>
              <a:gd name="connsiteY28-43888" fmla="*/ 508356 h 5292022"/>
              <a:gd name="connsiteX29-43889" fmla="*/ 9998840 w 10693106"/>
              <a:gd name="connsiteY29-43890" fmla="*/ 559156 h 5292022"/>
              <a:gd name="connsiteX30-43891" fmla="*/ 10083506 w 10693106"/>
              <a:gd name="connsiteY30-43892" fmla="*/ 618422 h 5292022"/>
              <a:gd name="connsiteX31-43893" fmla="*/ 10286706 w 10693106"/>
              <a:gd name="connsiteY31-43894" fmla="*/ 686156 h 5292022"/>
              <a:gd name="connsiteX32-43895" fmla="*/ 10388306 w 10693106"/>
              <a:gd name="connsiteY32-43896" fmla="*/ 889356 h 5292022"/>
              <a:gd name="connsiteX33-43897" fmla="*/ 10540706 w 10693106"/>
              <a:gd name="connsiteY33-43898" fmla="*/ 1261889 h 5292022"/>
              <a:gd name="connsiteX34-43899" fmla="*/ 10557640 w 10693106"/>
              <a:gd name="connsiteY34-43900" fmla="*/ 1346556 h 5292022"/>
              <a:gd name="connsiteX35-43901" fmla="*/ 10583040 w 10693106"/>
              <a:gd name="connsiteY35-43902" fmla="*/ 1448156 h 5292022"/>
              <a:gd name="connsiteX36-43903" fmla="*/ 10616906 w 10693106"/>
              <a:gd name="connsiteY36-43904" fmla="*/ 1651356 h 5292022"/>
              <a:gd name="connsiteX37-43905" fmla="*/ 10633840 w 10693106"/>
              <a:gd name="connsiteY37-43906" fmla="*/ 1736022 h 5292022"/>
              <a:gd name="connsiteX38-43907" fmla="*/ 10650773 w 10693106"/>
              <a:gd name="connsiteY38-43908" fmla="*/ 1769889 h 5292022"/>
              <a:gd name="connsiteX39-43909" fmla="*/ 10676173 w 10693106"/>
              <a:gd name="connsiteY39-43910" fmla="*/ 1854556 h 5292022"/>
              <a:gd name="connsiteX40-43911" fmla="*/ 10693106 w 10693106"/>
              <a:gd name="connsiteY40-43912" fmla="*/ 2006956 h 5292022"/>
              <a:gd name="connsiteX41-43913" fmla="*/ 10625373 w 10693106"/>
              <a:gd name="connsiteY41-43914" fmla="*/ 2227089 h 5292022"/>
              <a:gd name="connsiteX42-43915" fmla="*/ 10608440 w 10693106"/>
              <a:gd name="connsiteY42-43916" fmla="*/ 2252489 h 5292022"/>
              <a:gd name="connsiteX43-43917" fmla="*/ 10540706 w 10693106"/>
              <a:gd name="connsiteY43-43918" fmla="*/ 2396422 h 5292022"/>
              <a:gd name="connsiteX44-43919" fmla="*/ 10498373 w 10693106"/>
              <a:gd name="connsiteY44-43920" fmla="*/ 2481089 h 5292022"/>
              <a:gd name="connsiteX45-43921" fmla="*/ 10439106 w 10693106"/>
              <a:gd name="connsiteY45-43922" fmla="*/ 2667356 h 5292022"/>
              <a:gd name="connsiteX46-43923" fmla="*/ 10430640 w 10693106"/>
              <a:gd name="connsiteY46-43924" fmla="*/ 2709689 h 5292022"/>
              <a:gd name="connsiteX47-43925" fmla="*/ 10405240 w 10693106"/>
              <a:gd name="connsiteY47-43926" fmla="*/ 2785889 h 5292022"/>
              <a:gd name="connsiteX48-43927" fmla="*/ 10362906 w 10693106"/>
              <a:gd name="connsiteY48-43928" fmla="*/ 2912889 h 5292022"/>
              <a:gd name="connsiteX49-43929" fmla="*/ 10329040 w 10693106"/>
              <a:gd name="connsiteY49-43930" fmla="*/ 2955222 h 5292022"/>
              <a:gd name="connsiteX50-43931" fmla="*/ 10227440 w 10693106"/>
              <a:gd name="connsiteY50-43932" fmla="*/ 3056822 h 5292022"/>
              <a:gd name="connsiteX51-43933" fmla="*/ 10117373 w 10693106"/>
              <a:gd name="connsiteY51-43934" fmla="*/ 3175356 h 5292022"/>
              <a:gd name="connsiteX52-43935" fmla="*/ 9948040 w 10693106"/>
              <a:gd name="connsiteY52-43936" fmla="*/ 3336222 h 5292022"/>
              <a:gd name="connsiteX53-43937" fmla="*/ 9067506 w 10693106"/>
              <a:gd name="connsiteY53-43938" fmla="*/ 3861156 h 5292022"/>
              <a:gd name="connsiteX54-43939" fmla="*/ 8373240 w 10693106"/>
              <a:gd name="connsiteY54-43940" fmla="*/ 4140556 h 5292022"/>
              <a:gd name="connsiteX55-43941" fmla="*/ 7966840 w 10693106"/>
              <a:gd name="connsiteY55-43942" fmla="*/ 4233689 h 5292022"/>
              <a:gd name="connsiteX56-43943" fmla="*/ 7687440 w 10693106"/>
              <a:gd name="connsiteY56-43944" fmla="*/ 4394556 h 5292022"/>
              <a:gd name="connsiteX57-43945" fmla="*/ 7374173 w 10693106"/>
              <a:gd name="connsiteY57-43946" fmla="*/ 4657022 h 5292022"/>
              <a:gd name="connsiteX58-43947" fmla="*/ 7374173 w 10693106"/>
              <a:gd name="connsiteY58-43948" fmla="*/ 4657022 h 5292022"/>
              <a:gd name="connsiteX59-43949" fmla="*/ 7221773 w 10693106"/>
              <a:gd name="connsiteY59-43950" fmla="*/ 4775556 h 5292022"/>
              <a:gd name="connsiteX60-43951" fmla="*/ 7027040 w 10693106"/>
              <a:gd name="connsiteY60-43952" fmla="*/ 4902556 h 5292022"/>
              <a:gd name="connsiteX61-43953" fmla="*/ 6883106 w 10693106"/>
              <a:gd name="connsiteY61-43954" fmla="*/ 4970289 h 5292022"/>
              <a:gd name="connsiteX62-43955" fmla="*/ 6815373 w 10693106"/>
              <a:gd name="connsiteY62-43956" fmla="*/ 5012622 h 5292022"/>
              <a:gd name="connsiteX63-43957" fmla="*/ 6646040 w 10693106"/>
              <a:gd name="connsiteY63-43958" fmla="*/ 5105756 h 5292022"/>
              <a:gd name="connsiteX64-43959" fmla="*/ 6527506 w 10693106"/>
              <a:gd name="connsiteY64-43960" fmla="*/ 5165022 h 5292022"/>
              <a:gd name="connsiteX65-43961" fmla="*/ 6298906 w 10693106"/>
              <a:gd name="connsiteY65-43962" fmla="*/ 5241222 h 5292022"/>
              <a:gd name="connsiteX66-43963" fmla="*/ 6197306 w 10693106"/>
              <a:gd name="connsiteY66-43964" fmla="*/ 5266622 h 5292022"/>
              <a:gd name="connsiteX67-43965" fmla="*/ 6061840 w 10693106"/>
              <a:gd name="connsiteY67-43966" fmla="*/ 5275089 h 5292022"/>
              <a:gd name="connsiteX68-43967" fmla="*/ 5917906 w 10693106"/>
              <a:gd name="connsiteY68-43968" fmla="*/ 5292022 h 5292022"/>
              <a:gd name="connsiteX69-43969" fmla="*/ 5748573 w 10693106"/>
              <a:gd name="connsiteY69-43970" fmla="*/ 5283556 h 5292022"/>
              <a:gd name="connsiteX70-43971" fmla="*/ 5282906 w 10693106"/>
              <a:gd name="connsiteY70-43972" fmla="*/ 5173489 h 5292022"/>
              <a:gd name="connsiteX71-43973" fmla="*/ 4959480 w 10693106"/>
              <a:gd name="connsiteY71-43974" fmla="*/ 4988069 h 5292022"/>
              <a:gd name="connsiteX72-43975" fmla="*/ 4686853 w 10693106"/>
              <a:gd name="connsiteY72-43976" fmla="*/ 4788256 h 5292022"/>
              <a:gd name="connsiteX73-43977" fmla="*/ 3977346 w 10693106"/>
              <a:gd name="connsiteY73-43978" fmla="*/ 4470544 h 5292022"/>
              <a:gd name="connsiteX74-43979" fmla="*/ 3741550 w 10693106"/>
              <a:gd name="connsiteY74-43980" fmla="*/ 4154102 h 5292022"/>
              <a:gd name="connsiteX75-43981" fmla="*/ 3562056 w 10693106"/>
              <a:gd name="connsiteY75-43982" fmla="*/ 3406919 h 5292022"/>
              <a:gd name="connsiteX76-43983" fmla="*/ 3242440 w 10693106"/>
              <a:gd name="connsiteY76-43984" fmla="*/ 3099156 h 5292022"/>
              <a:gd name="connsiteX77-43985" fmla="*/ 3123906 w 10693106"/>
              <a:gd name="connsiteY77-43986" fmla="*/ 2997556 h 5292022"/>
              <a:gd name="connsiteX78-43987" fmla="*/ 2988440 w 10693106"/>
              <a:gd name="connsiteY78-43988" fmla="*/ 2802822 h 5292022"/>
              <a:gd name="connsiteX79-43989" fmla="*/ 2971506 w 10693106"/>
              <a:gd name="connsiteY79-43990" fmla="*/ 2743556 h 5292022"/>
              <a:gd name="connsiteX80-43991" fmla="*/ 2996906 w 10693106"/>
              <a:gd name="connsiteY80-43992" fmla="*/ 2531889 h 5292022"/>
              <a:gd name="connsiteX81-43993" fmla="*/ 3013840 w 10693106"/>
              <a:gd name="connsiteY81-43994" fmla="*/ 2430289 h 5292022"/>
              <a:gd name="connsiteX82-43995" fmla="*/ 3005373 w 10693106"/>
              <a:gd name="connsiteY82-43996" fmla="*/ 2311756 h 5292022"/>
              <a:gd name="connsiteX83-43997" fmla="*/ 2988440 w 10693106"/>
              <a:gd name="connsiteY83-43998" fmla="*/ 2260956 h 5292022"/>
              <a:gd name="connsiteX84-43999" fmla="*/ 2802173 w 10693106"/>
              <a:gd name="connsiteY84-44000" fmla="*/ 2006956 h 5292022"/>
              <a:gd name="connsiteX85-44001" fmla="*/ 2641306 w 10693106"/>
              <a:gd name="connsiteY85-44002" fmla="*/ 1863022 h 5292022"/>
              <a:gd name="connsiteX86-44003" fmla="*/ 2590506 w 10693106"/>
              <a:gd name="connsiteY86-44004" fmla="*/ 1837622 h 5292022"/>
              <a:gd name="connsiteX87-44005" fmla="*/ 2531240 w 10693106"/>
              <a:gd name="connsiteY87-44006" fmla="*/ 1829156 h 5292022"/>
              <a:gd name="connsiteX88-44007" fmla="*/ 2446573 w 10693106"/>
              <a:gd name="connsiteY88-44008" fmla="*/ 1812222 h 5292022"/>
              <a:gd name="connsiteX89-44009" fmla="*/ 2251840 w 10693106"/>
              <a:gd name="connsiteY89-44010" fmla="*/ 1837622 h 5292022"/>
              <a:gd name="connsiteX90-44011" fmla="*/ 2167173 w 10693106"/>
              <a:gd name="connsiteY90-44012" fmla="*/ 1879956 h 5292022"/>
              <a:gd name="connsiteX91-44013" fmla="*/ 1980906 w 10693106"/>
              <a:gd name="connsiteY91-44014" fmla="*/ 1939222 h 5292022"/>
              <a:gd name="connsiteX92-44015" fmla="*/ 1904706 w 10693106"/>
              <a:gd name="connsiteY92-44016" fmla="*/ 1973089 h 5292022"/>
              <a:gd name="connsiteX93-44017" fmla="*/ 1828506 w 10693106"/>
              <a:gd name="connsiteY93-44018" fmla="*/ 1990022 h 5292022"/>
              <a:gd name="connsiteX94-44019" fmla="*/ 1726906 w 10693106"/>
              <a:gd name="connsiteY94-44020" fmla="*/ 2040822 h 5292022"/>
              <a:gd name="connsiteX95-44021" fmla="*/ 1659173 w 10693106"/>
              <a:gd name="connsiteY95-44022" fmla="*/ 2074689 h 5292022"/>
              <a:gd name="connsiteX96-44023" fmla="*/ 1498306 w 10693106"/>
              <a:gd name="connsiteY96-44024" fmla="*/ 2100089 h 5292022"/>
              <a:gd name="connsiteX97-44025" fmla="*/ 914106 w 10693106"/>
              <a:gd name="connsiteY97-44026" fmla="*/ 2032356 h 5292022"/>
              <a:gd name="connsiteX98-44027" fmla="*/ 617773 w 10693106"/>
              <a:gd name="connsiteY98-44028" fmla="*/ 1922289 h 5292022"/>
              <a:gd name="connsiteX99-44029" fmla="*/ 516173 w 10693106"/>
              <a:gd name="connsiteY99-44030" fmla="*/ 1837622 h 5292022"/>
              <a:gd name="connsiteX100-44031" fmla="*/ 355306 w 10693106"/>
              <a:gd name="connsiteY100-44032" fmla="*/ 1625956 h 5292022"/>
              <a:gd name="connsiteX101-44033" fmla="*/ 296040 w 10693106"/>
              <a:gd name="connsiteY101-44034" fmla="*/ 1524356 h 5292022"/>
              <a:gd name="connsiteX102-44035" fmla="*/ 253706 w 10693106"/>
              <a:gd name="connsiteY102-44036" fmla="*/ 1346556 h 5292022"/>
              <a:gd name="connsiteX103-44037" fmla="*/ 245240 w 10693106"/>
              <a:gd name="connsiteY103-44038" fmla="*/ 1219556 h 5292022"/>
              <a:gd name="connsiteX104-44039" fmla="*/ 236773 w 10693106"/>
              <a:gd name="connsiteY104-44040" fmla="*/ 1117956 h 5292022"/>
              <a:gd name="connsiteX105-44041" fmla="*/ 245240 w 10693106"/>
              <a:gd name="connsiteY105-44042" fmla="*/ 847022 h 5292022"/>
              <a:gd name="connsiteX106-44043" fmla="*/ 236773 w 10693106"/>
              <a:gd name="connsiteY106-44044" fmla="*/ 703089 h 5292022"/>
              <a:gd name="connsiteX107-44045" fmla="*/ 109773 w 10693106"/>
              <a:gd name="connsiteY107-44046" fmla="*/ 559156 h 5292022"/>
              <a:gd name="connsiteX108-44047" fmla="*/ 58973 w 10693106"/>
              <a:gd name="connsiteY108-44048" fmla="*/ 482956 h 5292022"/>
              <a:gd name="connsiteX109-44049" fmla="*/ 16640 w 10693106"/>
              <a:gd name="connsiteY109-44050" fmla="*/ 432156 h 5292022"/>
              <a:gd name="connsiteX110-44051" fmla="*/ 8173 w 10693106"/>
              <a:gd name="connsiteY110-44052" fmla="*/ 389822 h 5292022"/>
              <a:gd name="connsiteX111-44053" fmla="*/ 16640 w 10693106"/>
              <a:gd name="connsiteY111-44054" fmla="*/ 339022 h 5292022"/>
              <a:gd name="connsiteX0-44055" fmla="*/ 16640 w 10693106"/>
              <a:gd name="connsiteY0-44056" fmla="*/ 339022 h 5292022"/>
              <a:gd name="connsiteX1-44057" fmla="*/ 58973 w 10693106"/>
              <a:gd name="connsiteY1-44058" fmla="*/ 245889 h 5292022"/>
              <a:gd name="connsiteX2-44059" fmla="*/ 109773 w 10693106"/>
              <a:gd name="connsiteY2-44060" fmla="*/ 178156 h 5292022"/>
              <a:gd name="connsiteX3-44061" fmla="*/ 202906 w 10693106"/>
              <a:gd name="connsiteY3-44062" fmla="*/ 93489 h 5292022"/>
              <a:gd name="connsiteX4-44063" fmla="*/ 236773 w 10693106"/>
              <a:gd name="connsiteY4-44064" fmla="*/ 68089 h 5292022"/>
              <a:gd name="connsiteX5-44065" fmla="*/ 335410 w 10693106"/>
              <a:gd name="connsiteY5-44066" fmla="*/ 58352 h 5292022"/>
              <a:gd name="connsiteX6-44067" fmla="*/ 382400 w 10693106"/>
              <a:gd name="connsiteY6-44068" fmla="*/ 51156 h 5292022"/>
              <a:gd name="connsiteX7-44069" fmla="*/ 434912 w 10693106"/>
              <a:gd name="connsiteY7-44070" fmla="*/ 70071 h 5292022"/>
              <a:gd name="connsiteX8-44071" fmla="*/ 492697 w 10693106"/>
              <a:gd name="connsiteY8-44072" fmla="*/ 74247 h 5292022"/>
              <a:gd name="connsiteX9-44073" fmla="*/ 822897 w 10693106"/>
              <a:gd name="connsiteY9-44074" fmla="*/ 82713 h 5292022"/>
              <a:gd name="connsiteX10-44075" fmla="*/ 1091906 w 10693106"/>
              <a:gd name="connsiteY10-44076" fmla="*/ 356 h 5292022"/>
              <a:gd name="connsiteX11-44077" fmla="*/ 1235840 w 10693106"/>
              <a:gd name="connsiteY11-44078" fmla="*/ 59622 h 5292022"/>
              <a:gd name="connsiteX12-44079" fmla="*/ 1337440 w 10693106"/>
              <a:gd name="connsiteY12-44080" fmla="*/ 135822 h 5292022"/>
              <a:gd name="connsiteX13-44081" fmla="*/ 1422106 w 10693106"/>
              <a:gd name="connsiteY13-44082" fmla="*/ 245889 h 5292022"/>
              <a:gd name="connsiteX14-44083" fmla="*/ 1481373 w 10693106"/>
              <a:gd name="connsiteY14-44084" fmla="*/ 313622 h 5292022"/>
              <a:gd name="connsiteX15-44085" fmla="*/ 1532173 w 10693106"/>
              <a:gd name="connsiteY15-44086" fmla="*/ 347489 h 5292022"/>
              <a:gd name="connsiteX16-44087" fmla="*/ 1684573 w 10693106"/>
              <a:gd name="connsiteY16-44088" fmla="*/ 406756 h 5292022"/>
              <a:gd name="connsiteX17-44089" fmla="*/ 1760773 w 10693106"/>
              <a:gd name="connsiteY17-44090" fmla="*/ 423689 h 5292022"/>
              <a:gd name="connsiteX18-44091" fmla="*/ 2404240 w 10693106"/>
              <a:gd name="connsiteY18-44092" fmla="*/ 355956 h 5292022"/>
              <a:gd name="connsiteX19-44093" fmla="*/ 3398918 w 10693106"/>
              <a:gd name="connsiteY19-44094" fmla="*/ 72322 h 5292022"/>
              <a:gd name="connsiteX20-44095" fmla="*/ 4529373 w 10693106"/>
              <a:gd name="connsiteY20-44096" fmla="*/ 271289 h 5292022"/>
              <a:gd name="connsiteX21-44097" fmla="*/ 5630810 w 10693106"/>
              <a:gd name="connsiteY21-44098" fmla="*/ 1149898 h 5292022"/>
              <a:gd name="connsiteX22-44099" fmla="*/ 6881490 w 10693106"/>
              <a:gd name="connsiteY22-44100" fmla="*/ 1366452 h 5292022"/>
              <a:gd name="connsiteX23-44101" fmla="*/ 7839032 w 10693106"/>
              <a:gd name="connsiteY23-44102" fmla="*/ 1183996 h 5292022"/>
              <a:gd name="connsiteX24-44103" fmla="*/ 8652640 w 10693106"/>
              <a:gd name="connsiteY24-44104" fmla="*/ 677689 h 5292022"/>
              <a:gd name="connsiteX25-44105" fmla="*/ 8982840 w 10693106"/>
              <a:gd name="connsiteY25-44106" fmla="*/ 398289 h 5292022"/>
              <a:gd name="connsiteX26-44107" fmla="*/ 9380773 w 10693106"/>
              <a:gd name="connsiteY26-44108" fmla="*/ 355956 h 5292022"/>
              <a:gd name="connsiteX27-44109" fmla="*/ 9744840 w 10693106"/>
              <a:gd name="connsiteY27-44110" fmla="*/ 466022 h 5292022"/>
              <a:gd name="connsiteX28-44111" fmla="*/ 9888773 w 10693106"/>
              <a:gd name="connsiteY28-44112" fmla="*/ 508356 h 5292022"/>
              <a:gd name="connsiteX29-44113" fmla="*/ 9998840 w 10693106"/>
              <a:gd name="connsiteY29-44114" fmla="*/ 559156 h 5292022"/>
              <a:gd name="connsiteX30-44115" fmla="*/ 10083506 w 10693106"/>
              <a:gd name="connsiteY30-44116" fmla="*/ 618422 h 5292022"/>
              <a:gd name="connsiteX31-44117" fmla="*/ 10286706 w 10693106"/>
              <a:gd name="connsiteY31-44118" fmla="*/ 686156 h 5292022"/>
              <a:gd name="connsiteX32-44119" fmla="*/ 10388306 w 10693106"/>
              <a:gd name="connsiteY32-44120" fmla="*/ 889356 h 5292022"/>
              <a:gd name="connsiteX33-44121" fmla="*/ 10540706 w 10693106"/>
              <a:gd name="connsiteY33-44122" fmla="*/ 1261889 h 5292022"/>
              <a:gd name="connsiteX34-44123" fmla="*/ 10557640 w 10693106"/>
              <a:gd name="connsiteY34-44124" fmla="*/ 1346556 h 5292022"/>
              <a:gd name="connsiteX35-44125" fmla="*/ 10583040 w 10693106"/>
              <a:gd name="connsiteY35-44126" fmla="*/ 1448156 h 5292022"/>
              <a:gd name="connsiteX36-44127" fmla="*/ 10616906 w 10693106"/>
              <a:gd name="connsiteY36-44128" fmla="*/ 1651356 h 5292022"/>
              <a:gd name="connsiteX37-44129" fmla="*/ 10633840 w 10693106"/>
              <a:gd name="connsiteY37-44130" fmla="*/ 1736022 h 5292022"/>
              <a:gd name="connsiteX38-44131" fmla="*/ 10650773 w 10693106"/>
              <a:gd name="connsiteY38-44132" fmla="*/ 1769889 h 5292022"/>
              <a:gd name="connsiteX39-44133" fmla="*/ 10676173 w 10693106"/>
              <a:gd name="connsiteY39-44134" fmla="*/ 1854556 h 5292022"/>
              <a:gd name="connsiteX40-44135" fmla="*/ 10693106 w 10693106"/>
              <a:gd name="connsiteY40-44136" fmla="*/ 2006956 h 5292022"/>
              <a:gd name="connsiteX41-44137" fmla="*/ 10625373 w 10693106"/>
              <a:gd name="connsiteY41-44138" fmla="*/ 2227089 h 5292022"/>
              <a:gd name="connsiteX42-44139" fmla="*/ 10608440 w 10693106"/>
              <a:gd name="connsiteY42-44140" fmla="*/ 2252489 h 5292022"/>
              <a:gd name="connsiteX43-44141" fmla="*/ 10540706 w 10693106"/>
              <a:gd name="connsiteY43-44142" fmla="*/ 2396422 h 5292022"/>
              <a:gd name="connsiteX44-44143" fmla="*/ 10498373 w 10693106"/>
              <a:gd name="connsiteY44-44144" fmla="*/ 2481089 h 5292022"/>
              <a:gd name="connsiteX45-44145" fmla="*/ 10439106 w 10693106"/>
              <a:gd name="connsiteY45-44146" fmla="*/ 2667356 h 5292022"/>
              <a:gd name="connsiteX46-44147" fmla="*/ 10430640 w 10693106"/>
              <a:gd name="connsiteY46-44148" fmla="*/ 2709689 h 5292022"/>
              <a:gd name="connsiteX47-44149" fmla="*/ 10405240 w 10693106"/>
              <a:gd name="connsiteY47-44150" fmla="*/ 2785889 h 5292022"/>
              <a:gd name="connsiteX48-44151" fmla="*/ 10362906 w 10693106"/>
              <a:gd name="connsiteY48-44152" fmla="*/ 2912889 h 5292022"/>
              <a:gd name="connsiteX49-44153" fmla="*/ 10329040 w 10693106"/>
              <a:gd name="connsiteY49-44154" fmla="*/ 2955222 h 5292022"/>
              <a:gd name="connsiteX50-44155" fmla="*/ 10117373 w 10693106"/>
              <a:gd name="connsiteY50-44156" fmla="*/ 3175356 h 5292022"/>
              <a:gd name="connsiteX51-44157" fmla="*/ 9948040 w 10693106"/>
              <a:gd name="connsiteY51-44158" fmla="*/ 3336222 h 5292022"/>
              <a:gd name="connsiteX52-44159" fmla="*/ 9067506 w 10693106"/>
              <a:gd name="connsiteY52-44160" fmla="*/ 3861156 h 5292022"/>
              <a:gd name="connsiteX53-44161" fmla="*/ 8373240 w 10693106"/>
              <a:gd name="connsiteY53-44162" fmla="*/ 4140556 h 5292022"/>
              <a:gd name="connsiteX54-44163" fmla="*/ 7966840 w 10693106"/>
              <a:gd name="connsiteY54-44164" fmla="*/ 4233689 h 5292022"/>
              <a:gd name="connsiteX55-44165" fmla="*/ 7687440 w 10693106"/>
              <a:gd name="connsiteY55-44166" fmla="*/ 4394556 h 5292022"/>
              <a:gd name="connsiteX56-44167" fmla="*/ 7374173 w 10693106"/>
              <a:gd name="connsiteY56-44168" fmla="*/ 4657022 h 5292022"/>
              <a:gd name="connsiteX57-44169" fmla="*/ 7374173 w 10693106"/>
              <a:gd name="connsiteY57-44170" fmla="*/ 4657022 h 5292022"/>
              <a:gd name="connsiteX58-44171" fmla="*/ 7221773 w 10693106"/>
              <a:gd name="connsiteY58-44172" fmla="*/ 4775556 h 5292022"/>
              <a:gd name="connsiteX59-44173" fmla="*/ 7027040 w 10693106"/>
              <a:gd name="connsiteY59-44174" fmla="*/ 4902556 h 5292022"/>
              <a:gd name="connsiteX60-44175" fmla="*/ 6883106 w 10693106"/>
              <a:gd name="connsiteY60-44176" fmla="*/ 4970289 h 5292022"/>
              <a:gd name="connsiteX61-44177" fmla="*/ 6815373 w 10693106"/>
              <a:gd name="connsiteY61-44178" fmla="*/ 5012622 h 5292022"/>
              <a:gd name="connsiteX62-44179" fmla="*/ 6646040 w 10693106"/>
              <a:gd name="connsiteY62-44180" fmla="*/ 5105756 h 5292022"/>
              <a:gd name="connsiteX63-44181" fmla="*/ 6527506 w 10693106"/>
              <a:gd name="connsiteY63-44182" fmla="*/ 5165022 h 5292022"/>
              <a:gd name="connsiteX64-44183" fmla="*/ 6298906 w 10693106"/>
              <a:gd name="connsiteY64-44184" fmla="*/ 5241222 h 5292022"/>
              <a:gd name="connsiteX65-44185" fmla="*/ 6197306 w 10693106"/>
              <a:gd name="connsiteY65-44186" fmla="*/ 5266622 h 5292022"/>
              <a:gd name="connsiteX66-44187" fmla="*/ 6061840 w 10693106"/>
              <a:gd name="connsiteY66-44188" fmla="*/ 5275089 h 5292022"/>
              <a:gd name="connsiteX67-44189" fmla="*/ 5917906 w 10693106"/>
              <a:gd name="connsiteY67-44190" fmla="*/ 5292022 h 5292022"/>
              <a:gd name="connsiteX68-44191" fmla="*/ 5748573 w 10693106"/>
              <a:gd name="connsiteY68-44192" fmla="*/ 5283556 h 5292022"/>
              <a:gd name="connsiteX69-44193" fmla="*/ 5282906 w 10693106"/>
              <a:gd name="connsiteY69-44194" fmla="*/ 5173489 h 5292022"/>
              <a:gd name="connsiteX70-44195" fmla="*/ 4959480 w 10693106"/>
              <a:gd name="connsiteY70-44196" fmla="*/ 4988069 h 5292022"/>
              <a:gd name="connsiteX71-44197" fmla="*/ 4686853 w 10693106"/>
              <a:gd name="connsiteY71-44198" fmla="*/ 4788256 h 5292022"/>
              <a:gd name="connsiteX72-44199" fmla="*/ 3977346 w 10693106"/>
              <a:gd name="connsiteY72-44200" fmla="*/ 4470544 h 5292022"/>
              <a:gd name="connsiteX73-44201" fmla="*/ 3741550 w 10693106"/>
              <a:gd name="connsiteY73-44202" fmla="*/ 4154102 h 5292022"/>
              <a:gd name="connsiteX74-44203" fmla="*/ 3562056 w 10693106"/>
              <a:gd name="connsiteY74-44204" fmla="*/ 3406919 h 5292022"/>
              <a:gd name="connsiteX75-44205" fmla="*/ 3242440 w 10693106"/>
              <a:gd name="connsiteY75-44206" fmla="*/ 3099156 h 5292022"/>
              <a:gd name="connsiteX76-44207" fmla="*/ 3123906 w 10693106"/>
              <a:gd name="connsiteY76-44208" fmla="*/ 2997556 h 5292022"/>
              <a:gd name="connsiteX77-44209" fmla="*/ 2988440 w 10693106"/>
              <a:gd name="connsiteY77-44210" fmla="*/ 2802822 h 5292022"/>
              <a:gd name="connsiteX78-44211" fmla="*/ 2971506 w 10693106"/>
              <a:gd name="connsiteY78-44212" fmla="*/ 2743556 h 5292022"/>
              <a:gd name="connsiteX79-44213" fmla="*/ 2996906 w 10693106"/>
              <a:gd name="connsiteY79-44214" fmla="*/ 2531889 h 5292022"/>
              <a:gd name="connsiteX80-44215" fmla="*/ 3013840 w 10693106"/>
              <a:gd name="connsiteY80-44216" fmla="*/ 2430289 h 5292022"/>
              <a:gd name="connsiteX81-44217" fmla="*/ 3005373 w 10693106"/>
              <a:gd name="connsiteY81-44218" fmla="*/ 2311756 h 5292022"/>
              <a:gd name="connsiteX82-44219" fmla="*/ 2988440 w 10693106"/>
              <a:gd name="connsiteY82-44220" fmla="*/ 2260956 h 5292022"/>
              <a:gd name="connsiteX83-44221" fmla="*/ 2802173 w 10693106"/>
              <a:gd name="connsiteY83-44222" fmla="*/ 2006956 h 5292022"/>
              <a:gd name="connsiteX84-44223" fmla="*/ 2641306 w 10693106"/>
              <a:gd name="connsiteY84-44224" fmla="*/ 1863022 h 5292022"/>
              <a:gd name="connsiteX85-44225" fmla="*/ 2590506 w 10693106"/>
              <a:gd name="connsiteY85-44226" fmla="*/ 1837622 h 5292022"/>
              <a:gd name="connsiteX86-44227" fmla="*/ 2531240 w 10693106"/>
              <a:gd name="connsiteY86-44228" fmla="*/ 1829156 h 5292022"/>
              <a:gd name="connsiteX87-44229" fmla="*/ 2446573 w 10693106"/>
              <a:gd name="connsiteY87-44230" fmla="*/ 1812222 h 5292022"/>
              <a:gd name="connsiteX88-44231" fmla="*/ 2251840 w 10693106"/>
              <a:gd name="connsiteY88-44232" fmla="*/ 1837622 h 5292022"/>
              <a:gd name="connsiteX89-44233" fmla="*/ 2167173 w 10693106"/>
              <a:gd name="connsiteY89-44234" fmla="*/ 1879956 h 5292022"/>
              <a:gd name="connsiteX90-44235" fmla="*/ 1980906 w 10693106"/>
              <a:gd name="connsiteY90-44236" fmla="*/ 1939222 h 5292022"/>
              <a:gd name="connsiteX91-44237" fmla="*/ 1904706 w 10693106"/>
              <a:gd name="connsiteY91-44238" fmla="*/ 1973089 h 5292022"/>
              <a:gd name="connsiteX92-44239" fmla="*/ 1828506 w 10693106"/>
              <a:gd name="connsiteY92-44240" fmla="*/ 1990022 h 5292022"/>
              <a:gd name="connsiteX93-44241" fmla="*/ 1726906 w 10693106"/>
              <a:gd name="connsiteY93-44242" fmla="*/ 2040822 h 5292022"/>
              <a:gd name="connsiteX94-44243" fmla="*/ 1659173 w 10693106"/>
              <a:gd name="connsiteY94-44244" fmla="*/ 2074689 h 5292022"/>
              <a:gd name="connsiteX95-44245" fmla="*/ 1498306 w 10693106"/>
              <a:gd name="connsiteY95-44246" fmla="*/ 2100089 h 5292022"/>
              <a:gd name="connsiteX96-44247" fmla="*/ 914106 w 10693106"/>
              <a:gd name="connsiteY96-44248" fmla="*/ 2032356 h 5292022"/>
              <a:gd name="connsiteX97-44249" fmla="*/ 617773 w 10693106"/>
              <a:gd name="connsiteY97-44250" fmla="*/ 1922289 h 5292022"/>
              <a:gd name="connsiteX98-44251" fmla="*/ 516173 w 10693106"/>
              <a:gd name="connsiteY98-44252" fmla="*/ 1837622 h 5292022"/>
              <a:gd name="connsiteX99-44253" fmla="*/ 355306 w 10693106"/>
              <a:gd name="connsiteY99-44254" fmla="*/ 1625956 h 5292022"/>
              <a:gd name="connsiteX100-44255" fmla="*/ 296040 w 10693106"/>
              <a:gd name="connsiteY100-44256" fmla="*/ 1524356 h 5292022"/>
              <a:gd name="connsiteX101-44257" fmla="*/ 253706 w 10693106"/>
              <a:gd name="connsiteY101-44258" fmla="*/ 1346556 h 5292022"/>
              <a:gd name="connsiteX102-44259" fmla="*/ 245240 w 10693106"/>
              <a:gd name="connsiteY102-44260" fmla="*/ 1219556 h 5292022"/>
              <a:gd name="connsiteX103-44261" fmla="*/ 236773 w 10693106"/>
              <a:gd name="connsiteY103-44262" fmla="*/ 1117956 h 5292022"/>
              <a:gd name="connsiteX104-44263" fmla="*/ 245240 w 10693106"/>
              <a:gd name="connsiteY104-44264" fmla="*/ 847022 h 5292022"/>
              <a:gd name="connsiteX105-44265" fmla="*/ 236773 w 10693106"/>
              <a:gd name="connsiteY105-44266" fmla="*/ 703089 h 5292022"/>
              <a:gd name="connsiteX106-44267" fmla="*/ 109773 w 10693106"/>
              <a:gd name="connsiteY106-44268" fmla="*/ 559156 h 5292022"/>
              <a:gd name="connsiteX107-44269" fmla="*/ 58973 w 10693106"/>
              <a:gd name="connsiteY107-44270" fmla="*/ 482956 h 5292022"/>
              <a:gd name="connsiteX108-44271" fmla="*/ 16640 w 10693106"/>
              <a:gd name="connsiteY108-44272" fmla="*/ 432156 h 5292022"/>
              <a:gd name="connsiteX109-44273" fmla="*/ 8173 w 10693106"/>
              <a:gd name="connsiteY109-44274" fmla="*/ 389822 h 5292022"/>
              <a:gd name="connsiteX110-44275" fmla="*/ 16640 w 10693106"/>
              <a:gd name="connsiteY110-44276" fmla="*/ 339022 h 5292022"/>
              <a:gd name="connsiteX0-44277" fmla="*/ 16640 w 10693106"/>
              <a:gd name="connsiteY0-44278" fmla="*/ 339022 h 5292022"/>
              <a:gd name="connsiteX1-44279" fmla="*/ 58973 w 10693106"/>
              <a:gd name="connsiteY1-44280" fmla="*/ 245889 h 5292022"/>
              <a:gd name="connsiteX2-44281" fmla="*/ 109773 w 10693106"/>
              <a:gd name="connsiteY2-44282" fmla="*/ 178156 h 5292022"/>
              <a:gd name="connsiteX3-44283" fmla="*/ 202906 w 10693106"/>
              <a:gd name="connsiteY3-44284" fmla="*/ 93489 h 5292022"/>
              <a:gd name="connsiteX4-44285" fmla="*/ 236773 w 10693106"/>
              <a:gd name="connsiteY4-44286" fmla="*/ 68089 h 5292022"/>
              <a:gd name="connsiteX5-44287" fmla="*/ 335410 w 10693106"/>
              <a:gd name="connsiteY5-44288" fmla="*/ 58352 h 5292022"/>
              <a:gd name="connsiteX6-44289" fmla="*/ 382400 w 10693106"/>
              <a:gd name="connsiteY6-44290" fmla="*/ 51156 h 5292022"/>
              <a:gd name="connsiteX7-44291" fmla="*/ 434912 w 10693106"/>
              <a:gd name="connsiteY7-44292" fmla="*/ 70071 h 5292022"/>
              <a:gd name="connsiteX8-44293" fmla="*/ 492697 w 10693106"/>
              <a:gd name="connsiteY8-44294" fmla="*/ 74247 h 5292022"/>
              <a:gd name="connsiteX9-44295" fmla="*/ 822897 w 10693106"/>
              <a:gd name="connsiteY9-44296" fmla="*/ 82713 h 5292022"/>
              <a:gd name="connsiteX10-44297" fmla="*/ 1091906 w 10693106"/>
              <a:gd name="connsiteY10-44298" fmla="*/ 356 h 5292022"/>
              <a:gd name="connsiteX11-44299" fmla="*/ 1235840 w 10693106"/>
              <a:gd name="connsiteY11-44300" fmla="*/ 59622 h 5292022"/>
              <a:gd name="connsiteX12-44301" fmla="*/ 1337440 w 10693106"/>
              <a:gd name="connsiteY12-44302" fmla="*/ 135822 h 5292022"/>
              <a:gd name="connsiteX13-44303" fmla="*/ 1422106 w 10693106"/>
              <a:gd name="connsiteY13-44304" fmla="*/ 245889 h 5292022"/>
              <a:gd name="connsiteX14-44305" fmla="*/ 1481373 w 10693106"/>
              <a:gd name="connsiteY14-44306" fmla="*/ 313622 h 5292022"/>
              <a:gd name="connsiteX15-44307" fmla="*/ 1532173 w 10693106"/>
              <a:gd name="connsiteY15-44308" fmla="*/ 347489 h 5292022"/>
              <a:gd name="connsiteX16-44309" fmla="*/ 1684573 w 10693106"/>
              <a:gd name="connsiteY16-44310" fmla="*/ 406756 h 5292022"/>
              <a:gd name="connsiteX17-44311" fmla="*/ 1760773 w 10693106"/>
              <a:gd name="connsiteY17-44312" fmla="*/ 423689 h 5292022"/>
              <a:gd name="connsiteX18-44313" fmla="*/ 2404240 w 10693106"/>
              <a:gd name="connsiteY18-44314" fmla="*/ 355956 h 5292022"/>
              <a:gd name="connsiteX19-44315" fmla="*/ 3398918 w 10693106"/>
              <a:gd name="connsiteY19-44316" fmla="*/ 72322 h 5292022"/>
              <a:gd name="connsiteX20-44317" fmla="*/ 4529373 w 10693106"/>
              <a:gd name="connsiteY20-44318" fmla="*/ 271289 h 5292022"/>
              <a:gd name="connsiteX21-44319" fmla="*/ 5630810 w 10693106"/>
              <a:gd name="connsiteY21-44320" fmla="*/ 1149898 h 5292022"/>
              <a:gd name="connsiteX22-44321" fmla="*/ 6881490 w 10693106"/>
              <a:gd name="connsiteY22-44322" fmla="*/ 1366452 h 5292022"/>
              <a:gd name="connsiteX23-44323" fmla="*/ 7839032 w 10693106"/>
              <a:gd name="connsiteY23-44324" fmla="*/ 1183996 h 5292022"/>
              <a:gd name="connsiteX24-44325" fmla="*/ 8652640 w 10693106"/>
              <a:gd name="connsiteY24-44326" fmla="*/ 677689 h 5292022"/>
              <a:gd name="connsiteX25-44327" fmla="*/ 8982840 w 10693106"/>
              <a:gd name="connsiteY25-44328" fmla="*/ 398289 h 5292022"/>
              <a:gd name="connsiteX26-44329" fmla="*/ 9380773 w 10693106"/>
              <a:gd name="connsiteY26-44330" fmla="*/ 355956 h 5292022"/>
              <a:gd name="connsiteX27-44331" fmla="*/ 9744840 w 10693106"/>
              <a:gd name="connsiteY27-44332" fmla="*/ 466022 h 5292022"/>
              <a:gd name="connsiteX28-44333" fmla="*/ 9888773 w 10693106"/>
              <a:gd name="connsiteY28-44334" fmla="*/ 508356 h 5292022"/>
              <a:gd name="connsiteX29-44335" fmla="*/ 9998840 w 10693106"/>
              <a:gd name="connsiteY29-44336" fmla="*/ 559156 h 5292022"/>
              <a:gd name="connsiteX30-44337" fmla="*/ 10083506 w 10693106"/>
              <a:gd name="connsiteY30-44338" fmla="*/ 618422 h 5292022"/>
              <a:gd name="connsiteX31-44339" fmla="*/ 10286706 w 10693106"/>
              <a:gd name="connsiteY31-44340" fmla="*/ 686156 h 5292022"/>
              <a:gd name="connsiteX32-44341" fmla="*/ 10388306 w 10693106"/>
              <a:gd name="connsiteY32-44342" fmla="*/ 889356 h 5292022"/>
              <a:gd name="connsiteX33-44343" fmla="*/ 10540706 w 10693106"/>
              <a:gd name="connsiteY33-44344" fmla="*/ 1261889 h 5292022"/>
              <a:gd name="connsiteX34-44345" fmla="*/ 10557640 w 10693106"/>
              <a:gd name="connsiteY34-44346" fmla="*/ 1346556 h 5292022"/>
              <a:gd name="connsiteX35-44347" fmla="*/ 10583040 w 10693106"/>
              <a:gd name="connsiteY35-44348" fmla="*/ 1448156 h 5292022"/>
              <a:gd name="connsiteX36-44349" fmla="*/ 10616906 w 10693106"/>
              <a:gd name="connsiteY36-44350" fmla="*/ 1651356 h 5292022"/>
              <a:gd name="connsiteX37-44351" fmla="*/ 10633840 w 10693106"/>
              <a:gd name="connsiteY37-44352" fmla="*/ 1736022 h 5292022"/>
              <a:gd name="connsiteX38-44353" fmla="*/ 10650773 w 10693106"/>
              <a:gd name="connsiteY38-44354" fmla="*/ 1769889 h 5292022"/>
              <a:gd name="connsiteX39-44355" fmla="*/ 10676173 w 10693106"/>
              <a:gd name="connsiteY39-44356" fmla="*/ 1854556 h 5292022"/>
              <a:gd name="connsiteX40-44357" fmla="*/ 10693106 w 10693106"/>
              <a:gd name="connsiteY40-44358" fmla="*/ 2006956 h 5292022"/>
              <a:gd name="connsiteX41-44359" fmla="*/ 10625373 w 10693106"/>
              <a:gd name="connsiteY41-44360" fmla="*/ 2227089 h 5292022"/>
              <a:gd name="connsiteX42-44361" fmla="*/ 10608440 w 10693106"/>
              <a:gd name="connsiteY42-44362" fmla="*/ 2252489 h 5292022"/>
              <a:gd name="connsiteX43-44363" fmla="*/ 10540706 w 10693106"/>
              <a:gd name="connsiteY43-44364" fmla="*/ 2396422 h 5292022"/>
              <a:gd name="connsiteX44-44365" fmla="*/ 10498373 w 10693106"/>
              <a:gd name="connsiteY44-44366" fmla="*/ 2481089 h 5292022"/>
              <a:gd name="connsiteX45-44367" fmla="*/ 10439106 w 10693106"/>
              <a:gd name="connsiteY45-44368" fmla="*/ 2667356 h 5292022"/>
              <a:gd name="connsiteX46-44369" fmla="*/ 10430640 w 10693106"/>
              <a:gd name="connsiteY46-44370" fmla="*/ 2709689 h 5292022"/>
              <a:gd name="connsiteX47-44371" fmla="*/ 10405240 w 10693106"/>
              <a:gd name="connsiteY47-44372" fmla="*/ 2785889 h 5292022"/>
              <a:gd name="connsiteX48-44373" fmla="*/ 10362906 w 10693106"/>
              <a:gd name="connsiteY48-44374" fmla="*/ 2912889 h 5292022"/>
              <a:gd name="connsiteX49-44375" fmla="*/ 10329040 w 10693106"/>
              <a:gd name="connsiteY49-44376" fmla="*/ 2955222 h 5292022"/>
              <a:gd name="connsiteX50-44377" fmla="*/ 9948040 w 10693106"/>
              <a:gd name="connsiteY50-44378" fmla="*/ 3336222 h 5292022"/>
              <a:gd name="connsiteX51-44379" fmla="*/ 9067506 w 10693106"/>
              <a:gd name="connsiteY51-44380" fmla="*/ 3861156 h 5292022"/>
              <a:gd name="connsiteX52-44381" fmla="*/ 8373240 w 10693106"/>
              <a:gd name="connsiteY52-44382" fmla="*/ 4140556 h 5292022"/>
              <a:gd name="connsiteX53-44383" fmla="*/ 7966840 w 10693106"/>
              <a:gd name="connsiteY53-44384" fmla="*/ 4233689 h 5292022"/>
              <a:gd name="connsiteX54-44385" fmla="*/ 7687440 w 10693106"/>
              <a:gd name="connsiteY54-44386" fmla="*/ 4394556 h 5292022"/>
              <a:gd name="connsiteX55-44387" fmla="*/ 7374173 w 10693106"/>
              <a:gd name="connsiteY55-44388" fmla="*/ 4657022 h 5292022"/>
              <a:gd name="connsiteX56-44389" fmla="*/ 7374173 w 10693106"/>
              <a:gd name="connsiteY56-44390" fmla="*/ 4657022 h 5292022"/>
              <a:gd name="connsiteX57-44391" fmla="*/ 7221773 w 10693106"/>
              <a:gd name="connsiteY57-44392" fmla="*/ 4775556 h 5292022"/>
              <a:gd name="connsiteX58-44393" fmla="*/ 7027040 w 10693106"/>
              <a:gd name="connsiteY58-44394" fmla="*/ 4902556 h 5292022"/>
              <a:gd name="connsiteX59-44395" fmla="*/ 6883106 w 10693106"/>
              <a:gd name="connsiteY59-44396" fmla="*/ 4970289 h 5292022"/>
              <a:gd name="connsiteX60-44397" fmla="*/ 6815373 w 10693106"/>
              <a:gd name="connsiteY60-44398" fmla="*/ 5012622 h 5292022"/>
              <a:gd name="connsiteX61-44399" fmla="*/ 6646040 w 10693106"/>
              <a:gd name="connsiteY61-44400" fmla="*/ 5105756 h 5292022"/>
              <a:gd name="connsiteX62-44401" fmla="*/ 6527506 w 10693106"/>
              <a:gd name="connsiteY62-44402" fmla="*/ 5165022 h 5292022"/>
              <a:gd name="connsiteX63-44403" fmla="*/ 6298906 w 10693106"/>
              <a:gd name="connsiteY63-44404" fmla="*/ 5241222 h 5292022"/>
              <a:gd name="connsiteX64-44405" fmla="*/ 6197306 w 10693106"/>
              <a:gd name="connsiteY64-44406" fmla="*/ 5266622 h 5292022"/>
              <a:gd name="connsiteX65-44407" fmla="*/ 6061840 w 10693106"/>
              <a:gd name="connsiteY65-44408" fmla="*/ 5275089 h 5292022"/>
              <a:gd name="connsiteX66-44409" fmla="*/ 5917906 w 10693106"/>
              <a:gd name="connsiteY66-44410" fmla="*/ 5292022 h 5292022"/>
              <a:gd name="connsiteX67-44411" fmla="*/ 5748573 w 10693106"/>
              <a:gd name="connsiteY67-44412" fmla="*/ 5283556 h 5292022"/>
              <a:gd name="connsiteX68-44413" fmla="*/ 5282906 w 10693106"/>
              <a:gd name="connsiteY68-44414" fmla="*/ 5173489 h 5292022"/>
              <a:gd name="connsiteX69-44415" fmla="*/ 4959480 w 10693106"/>
              <a:gd name="connsiteY69-44416" fmla="*/ 4988069 h 5292022"/>
              <a:gd name="connsiteX70-44417" fmla="*/ 4686853 w 10693106"/>
              <a:gd name="connsiteY70-44418" fmla="*/ 4788256 h 5292022"/>
              <a:gd name="connsiteX71-44419" fmla="*/ 3977346 w 10693106"/>
              <a:gd name="connsiteY71-44420" fmla="*/ 4470544 h 5292022"/>
              <a:gd name="connsiteX72-44421" fmla="*/ 3741550 w 10693106"/>
              <a:gd name="connsiteY72-44422" fmla="*/ 4154102 h 5292022"/>
              <a:gd name="connsiteX73-44423" fmla="*/ 3562056 w 10693106"/>
              <a:gd name="connsiteY73-44424" fmla="*/ 3406919 h 5292022"/>
              <a:gd name="connsiteX74-44425" fmla="*/ 3242440 w 10693106"/>
              <a:gd name="connsiteY74-44426" fmla="*/ 3099156 h 5292022"/>
              <a:gd name="connsiteX75-44427" fmla="*/ 3123906 w 10693106"/>
              <a:gd name="connsiteY75-44428" fmla="*/ 2997556 h 5292022"/>
              <a:gd name="connsiteX76-44429" fmla="*/ 2988440 w 10693106"/>
              <a:gd name="connsiteY76-44430" fmla="*/ 2802822 h 5292022"/>
              <a:gd name="connsiteX77-44431" fmla="*/ 2971506 w 10693106"/>
              <a:gd name="connsiteY77-44432" fmla="*/ 2743556 h 5292022"/>
              <a:gd name="connsiteX78-44433" fmla="*/ 2996906 w 10693106"/>
              <a:gd name="connsiteY78-44434" fmla="*/ 2531889 h 5292022"/>
              <a:gd name="connsiteX79-44435" fmla="*/ 3013840 w 10693106"/>
              <a:gd name="connsiteY79-44436" fmla="*/ 2430289 h 5292022"/>
              <a:gd name="connsiteX80-44437" fmla="*/ 3005373 w 10693106"/>
              <a:gd name="connsiteY80-44438" fmla="*/ 2311756 h 5292022"/>
              <a:gd name="connsiteX81-44439" fmla="*/ 2988440 w 10693106"/>
              <a:gd name="connsiteY81-44440" fmla="*/ 2260956 h 5292022"/>
              <a:gd name="connsiteX82-44441" fmla="*/ 2802173 w 10693106"/>
              <a:gd name="connsiteY82-44442" fmla="*/ 2006956 h 5292022"/>
              <a:gd name="connsiteX83-44443" fmla="*/ 2641306 w 10693106"/>
              <a:gd name="connsiteY83-44444" fmla="*/ 1863022 h 5292022"/>
              <a:gd name="connsiteX84-44445" fmla="*/ 2590506 w 10693106"/>
              <a:gd name="connsiteY84-44446" fmla="*/ 1837622 h 5292022"/>
              <a:gd name="connsiteX85-44447" fmla="*/ 2531240 w 10693106"/>
              <a:gd name="connsiteY85-44448" fmla="*/ 1829156 h 5292022"/>
              <a:gd name="connsiteX86-44449" fmla="*/ 2446573 w 10693106"/>
              <a:gd name="connsiteY86-44450" fmla="*/ 1812222 h 5292022"/>
              <a:gd name="connsiteX87-44451" fmla="*/ 2251840 w 10693106"/>
              <a:gd name="connsiteY87-44452" fmla="*/ 1837622 h 5292022"/>
              <a:gd name="connsiteX88-44453" fmla="*/ 2167173 w 10693106"/>
              <a:gd name="connsiteY88-44454" fmla="*/ 1879956 h 5292022"/>
              <a:gd name="connsiteX89-44455" fmla="*/ 1980906 w 10693106"/>
              <a:gd name="connsiteY89-44456" fmla="*/ 1939222 h 5292022"/>
              <a:gd name="connsiteX90-44457" fmla="*/ 1904706 w 10693106"/>
              <a:gd name="connsiteY90-44458" fmla="*/ 1973089 h 5292022"/>
              <a:gd name="connsiteX91-44459" fmla="*/ 1828506 w 10693106"/>
              <a:gd name="connsiteY91-44460" fmla="*/ 1990022 h 5292022"/>
              <a:gd name="connsiteX92-44461" fmla="*/ 1726906 w 10693106"/>
              <a:gd name="connsiteY92-44462" fmla="*/ 2040822 h 5292022"/>
              <a:gd name="connsiteX93-44463" fmla="*/ 1659173 w 10693106"/>
              <a:gd name="connsiteY93-44464" fmla="*/ 2074689 h 5292022"/>
              <a:gd name="connsiteX94-44465" fmla="*/ 1498306 w 10693106"/>
              <a:gd name="connsiteY94-44466" fmla="*/ 2100089 h 5292022"/>
              <a:gd name="connsiteX95-44467" fmla="*/ 914106 w 10693106"/>
              <a:gd name="connsiteY95-44468" fmla="*/ 2032356 h 5292022"/>
              <a:gd name="connsiteX96-44469" fmla="*/ 617773 w 10693106"/>
              <a:gd name="connsiteY96-44470" fmla="*/ 1922289 h 5292022"/>
              <a:gd name="connsiteX97-44471" fmla="*/ 516173 w 10693106"/>
              <a:gd name="connsiteY97-44472" fmla="*/ 1837622 h 5292022"/>
              <a:gd name="connsiteX98-44473" fmla="*/ 355306 w 10693106"/>
              <a:gd name="connsiteY98-44474" fmla="*/ 1625956 h 5292022"/>
              <a:gd name="connsiteX99-44475" fmla="*/ 296040 w 10693106"/>
              <a:gd name="connsiteY99-44476" fmla="*/ 1524356 h 5292022"/>
              <a:gd name="connsiteX100-44477" fmla="*/ 253706 w 10693106"/>
              <a:gd name="connsiteY100-44478" fmla="*/ 1346556 h 5292022"/>
              <a:gd name="connsiteX101-44479" fmla="*/ 245240 w 10693106"/>
              <a:gd name="connsiteY101-44480" fmla="*/ 1219556 h 5292022"/>
              <a:gd name="connsiteX102-44481" fmla="*/ 236773 w 10693106"/>
              <a:gd name="connsiteY102-44482" fmla="*/ 1117956 h 5292022"/>
              <a:gd name="connsiteX103-44483" fmla="*/ 245240 w 10693106"/>
              <a:gd name="connsiteY103-44484" fmla="*/ 847022 h 5292022"/>
              <a:gd name="connsiteX104-44485" fmla="*/ 236773 w 10693106"/>
              <a:gd name="connsiteY104-44486" fmla="*/ 703089 h 5292022"/>
              <a:gd name="connsiteX105-44487" fmla="*/ 109773 w 10693106"/>
              <a:gd name="connsiteY105-44488" fmla="*/ 559156 h 5292022"/>
              <a:gd name="connsiteX106-44489" fmla="*/ 58973 w 10693106"/>
              <a:gd name="connsiteY106-44490" fmla="*/ 482956 h 5292022"/>
              <a:gd name="connsiteX107-44491" fmla="*/ 16640 w 10693106"/>
              <a:gd name="connsiteY107-44492" fmla="*/ 432156 h 5292022"/>
              <a:gd name="connsiteX108-44493" fmla="*/ 8173 w 10693106"/>
              <a:gd name="connsiteY108-44494" fmla="*/ 389822 h 5292022"/>
              <a:gd name="connsiteX109-44495" fmla="*/ 16640 w 10693106"/>
              <a:gd name="connsiteY109-44496" fmla="*/ 339022 h 5292022"/>
              <a:gd name="connsiteX0-44497" fmla="*/ 16640 w 10693106"/>
              <a:gd name="connsiteY0-44498" fmla="*/ 339022 h 5292022"/>
              <a:gd name="connsiteX1-44499" fmla="*/ 58973 w 10693106"/>
              <a:gd name="connsiteY1-44500" fmla="*/ 245889 h 5292022"/>
              <a:gd name="connsiteX2-44501" fmla="*/ 109773 w 10693106"/>
              <a:gd name="connsiteY2-44502" fmla="*/ 178156 h 5292022"/>
              <a:gd name="connsiteX3-44503" fmla="*/ 202906 w 10693106"/>
              <a:gd name="connsiteY3-44504" fmla="*/ 93489 h 5292022"/>
              <a:gd name="connsiteX4-44505" fmla="*/ 236773 w 10693106"/>
              <a:gd name="connsiteY4-44506" fmla="*/ 68089 h 5292022"/>
              <a:gd name="connsiteX5-44507" fmla="*/ 335410 w 10693106"/>
              <a:gd name="connsiteY5-44508" fmla="*/ 58352 h 5292022"/>
              <a:gd name="connsiteX6-44509" fmla="*/ 382400 w 10693106"/>
              <a:gd name="connsiteY6-44510" fmla="*/ 51156 h 5292022"/>
              <a:gd name="connsiteX7-44511" fmla="*/ 434912 w 10693106"/>
              <a:gd name="connsiteY7-44512" fmla="*/ 70071 h 5292022"/>
              <a:gd name="connsiteX8-44513" fmla="*/ 492697 w 10693106"/>
              <a:gd name="connsiteY8-44514" fmla="*/ 74247 h 5292022"/>
              <a:gd name="connsiteX9-44515" fmla="*/ 822897 w 10693106"/>
              <a:gd name="connsiteY9-44516" fmla="*/ 82713 h 5292022"/>
              <a:gd name="connsiteX10-44517" fmla="*/ 1091906 w 10693106"/>
              <a:gd name="connsiteY10-44518" fmla="*/ 356 h 5292022"/>
              <a:gd name="connsiteX11-44519" fmla="*/ 1235840 w 10693106"/>
              <a:gd name="connsiteY11-44520" fmla="*/ 59622 h 5292022"/>
              <a:gd name="connsiteX12-44521" fmla="*/ 1337440 w 10693106"/>
              <a:gd name="connsiteY12-44522" fmla="*/ 135822 h 5292022"/>
              <a:gd name="connsiteX13-44523" fmla="*/ 1422106 w 10693106"/>
              <a:gd name="connsiteY13-44524" fmla="*/ 245889 h 5292022"/>
              <a:gd name="connsiteX14-44525" fmla="*/ 1481373 w 10693106"/>
              <a:gd name="connsiteY14-44526" fmla="*/ 313622 h 5292022"/>
              <a:gd name="connsiteX15-44527" fmla="*/ 1532173 w 10693106"/>
              <a:gd name="connsiteY15-44528" fmla="*/ 347489 h 5292022"/>
              <a:gd name="connsiteX16-44529" fmla="*/ 1684573 w 10693106"/>
              <a:gd name="connsiteY16-44530" fmla="*/ 406756 h 5292022"/>
              <a:gd name="connsiteX17-44531" fmla="*/ 1760773 w 10693106"/>
              <a:gd name="connsiteY17-44532" fmla="*/ 423689 h 5292022"/>
              <a:gd name="connsiteX18-44533" fmla="*/ 2404240 w 10693106"/>
              <a:gd name="connsiteY18-44534" fmla="*/ 355956 h 5292022"/>
              <a:gd name="connsiteX19-44535" fmla="*/ 3398918 w 10693106"/>
              <a:gd name="connsiteY19-44536" fmla="*/ 72322 h 5292022"/>
              <a:gd name="connsiteX20-44537" fmla="*/ 4529373 w 10693106"/>
              <a:gd name="connsiteY20-44538" fmla="*/ 271289 h 5292022"/>
              <a:gd name="connsiteX21-44539" fmla="*/ 5630810 w 10693106"/>
              <a:gd name="connsiteY21-44540" fmla="*/ 1149898 h 5292022"/>
              <a:gd name="connsiteX22-44541" fmla="*/ 6881490 w 10693106"/>
              <a:gd name="connsiteY22-44542" fmla="*/ 1366452 h 5292022"/>
              <a:gd name="connsiteX23-44543" fmla="*/ 7839032 w 10693106"/>
              <a:gd name="connsiteY23-44544" fmla="*/ 1183996 h 5292022"/>
              <a:gd name="connsiteX24-44545" fmla="*/ 8652640 w 10693106"/>
              <a:gd name="connsiteY24-44546" fmla="*/ 677689 h 5292022"/>
              <a:gd name="connsiteX25-44547" fmla="*/ 8982840 w 10693106"/>
              <a:gd name="connsiteY25-44548" fmla="*/ 398289 h 5292022"/>
              <a:gd name="connsiteX26-44549" fmla="*/ 9380773 w 10693106"/>
              <a:gd name="connsiteY26-44550" fmla="*/ 355956 h 5292022"/>
              <a:gd name="connsiteX27-44551" fmla="*/ 9744840 w 10693106"/>
              <a:gd name="connsiteY27-44552" fmla="*/ 466022 h 5292022"/>
              <a:gd name="connsiteX28-44553" fmla="*/ 9888773 w 10693106"/>
              <a:gd name="connsiteY28-44554" fmla="*/ 508356 h 5292022"/>
              <a:gd name="connsiteX29-44555" fmla="*/ 9998840 w 10693106"/>
              <a:gd name="connsiteY29-44556" fmla="*/ 559156 h 5292022"/>
              <a:gd name="connsiteX30-44557" fmla="*/ 10083506 w 10693106"/>
              <a:gd name="connsiteY30-44558" fmla="*/ 618422 h 5292022"/>
              <a:gd name="connsiteX31-44559" fmla="*/ 10286706 w 10693106"/>
              <a:gd name="connsiteY31-44560" fmla="*/ 686156 h 5292022"/>
              <a:gd name="connsiteX32-44561" fmla="*/ 10388306 w 10693106"/>
              <a:gd name="connsiteY32-44562" fmla="*/ 889356 h 5292022"/>
              <a:gd name="connsiteX33-44563" fmla="*/ 10540706 w 10693106"/>
              <a:gd name="connsiteY33-44564" fmla="*/ 1261889 h 5292022"/>
              <a:gd name="connsiteX34-44565" fmla="*/ 10557640 w 10693106"/>
              <a:gd name="connsiteY34-44566" fmla="*/ 1346556 h 5292022"/>
              <a:gd name="connsiteX35-44567" fmla="*/ 10583040 w 10693106"/>
              <a:gd name="connsiteY35-44568" fmla="*/ 1448156 h 5292022"/>
              <a:gd name="connsiteX36-44569" fmla="*/ 10616906 w 10693106"/>
              <a:gd name="connsiteY36-44570" fmla="*/ 1651356 h 5292022"/>
              <a:gd name="connsiteX37-44571" fmla="*/ 10633840 w 10693106"/>
              <a:gd name="connsiteY37-44572" fmla="*/ 1736022 h 5292022"/>
              <a:gd name="connsiteX38-44573" fmla="*/ 10650773 w 10693106"/>
              <a:gd name="connsiteY38-44574" fmla="*/ 1769889 h 5292022"/>
              <a:gd name="connsiteX39-44575" fmla="*/ 10676173 w 10693106"/>
              <a:gd name="connsiteY39-44576" fmla="*/ 1854556 h 5292022"/>
              <a:gd name="connsiteX40-44577" fmla="*/ 10693106 w 10693106"/>
              <a:gd name="connsiteY40-44578" fmla="*/ 2006956 h 5292022"/>
              <a:gd name="connsiteX41-44579" fmla="*/ 10625373 w 10693106"/>
              <a:gd name="connsiteY41-44580" fmla="*/ 2227089 h 5292022"/>
              <a:gd name="connsiteX42-44581" fmla="*/ 10608440 w 10693106"/>
              <a:gd name="connsiteY42-44582" fmla="*/ 2252489 h 5292022"/>
              <a:gd name="connsiteX43-44583" fmla="*/ 10540706 w 10693106"/>
              <a:gd name="connsiteY43-44584" fmla="*/ 2396422 h 5292022"/>
              <a:gd name="connsiteX44-44585" fmla="*/ 10498373 w 10693106"/>
              <a:gd name="connsiteY44-44586" fmla="*/ 2481089 h 5292022"/>
              <a:gd name="connsiteX45-44587" fmla="*/ 10430640 w 10693106"/>
              <a:gd name="connsiteY45-44588" fmla="*/ 2709689 h 5292022"/>
              <a:gd name="connsiteX46-44589" fmla="*/ 10405240 w 10693106"/>
              <a:gd name="connsiteY46-44590" fmla="*/ 2785889 h 5292022"/>
              <a:gd name="connsiteX47-44591" fmla="*/ 10362906 w 10693106"/>
              <a:gd name="connsiteY47-44592" fmla="*/ 2912889 h 5292022"/>
              <a:gd name="connsiteX48-44593" fmla="*/ 10329040 w 10693106"/>
              <a:gd name="connsiteY48-44594" fmla="*/ 2955222 h 5292022"/>
              <a:gd name="connsiteX49-44595" fmla="*/ 9948040 w 10693106"/>
              <a:gd name="connsiteY49-44596" fmla="*/ 3336222 h 5292022"/>
              <a:gd name="connsiteX50-44597" fmla="*/ 9067506 w 10693106"/>
              <a:gd name="connsiteY50-44598" fmla="*/ 3861156 h 5292022"/>
              <a:gd name="connsiteX51-44599" fmla="*/ 8373240 w 10693106"/>
              <a:gd name="connsiteY51-44600" fmla="*/ 4140556 h 5292022"/>
              <a:gd name="connsiteX52-44601" fmla="*/ 7966840 w 10693106"/>
              <a:gd name="connsiteY52-44602" fmla="*/ 4233689 h 5292022"/>
              <a:gd name="connsiteX53-44603" fmla="*/ 7687440 w 10693106"/>
              <a:gd name="connsiteY53-44604" fmla="*/ 4394556 h 5292022"/>
              <a:gd name="connsiteX54-44605" fmla="*/ 7374173 w 10693106"/>
              <a:gd name="connsiteY54-44606" fmla="*/ 4657022 h 5292022"/>
              <a:gd name="connsiteX55-44607" fmla="*/ 7374173 w 10693106"/>
              <a:gd name="connsiteY55-44608" fmla="*/ 4657022 h 5292022"/>
              <a:gd name="connsiteX56-44609" fmla="*/ 7221773 w 10693106"/>
              <a:gd name="connsiteY56-44610" fmla="*/ 4775556 h 5292022"/>
              <a:gd name="connsiteX57-44611" fmla="*/ 7027040 w 10693106"/>
              <a:gd name="connsiteY57-44612" fmla="*/ 4902556 h 5292022"/>
              <a:gd name="connsiteX58-44613" fmla="*/ 6883106 w 10693106"/>
              <a:gd name="connsiteY58-44614" fmla="*/ 4970289 h 5292022"/>
              <a:gd name="connsiteX59-44615" fmla="*/ 6815373 w 10693106"/>
              <a:gd name="connsiteY59-44616" fmla="*/ 5012622 h 5292022"/>
              <a:gd name="connsiteX60-44617" fmla="*/ 6646040 w 10693106"/>
              <a:gd name="connsiteY60-44618" fmla="*/ 5105756 h 5292022"/>
              <a:gd name="connsiteX61-44619" fmla="*/ 6527506 w 10693106"/>
              <a:gd name="connsiteY61-44620" fmla="*/ 5165022 h 5292022"/>
              <a:gd name="connsiteX62-44621" fmla="*/ 6298906 w 10693106"/>
              <a:gd name="connsiteY62-44622" fmla="*/ 5241222 h 5292022"/>
              <a:gd name="connsiteX63-44623" fmla="*/ 6197306 w 10693106"/>
              <a:gd name="connsiteY63-44624" fmla="*/ 5266622 h 5292022"/>
              <a:gd name="connsiteX64-44625" fmla="*/ 6061840 w 10693106"/>
              <a:gd name="connsiteY64-44626" fmla="*/ 5275089 h 5292022"/>
              <a:gd name="connsiteX65-44627" fmla="*/ 5917906 w 10693106"/>
              <a:gd name="connsiteY65-44628" fmla="*/ 5292022 h 5292022"/>
              <a:gd name="connsiteX66-44629" fmla="*/ 5748573 w 10693106"/>
              <a:gd name="connsiteY66-44630" fmla="*/ 5283556 h 5292022"/>
              <a:gd name="connsiteX67-44631" fmla="*/ 5282906 w 10693106"/>
              <a:gd name="connsiteY67-44632" fmla="*/ 5173489 h 5292022"/>
              <a:gd name="connsiteX68-44633" fmla="*/ 4959480 w 10693106"/>
              <a:gd name="connsiteY68-44634" fmla="*/ 4988069 h 5292022"/>
              <a:gd name="connsiteX69-44635" fmla="*/ 4686853 w 10693106"/>
              <a:gd name="connsiteY69-44636" fmla="*/ 4788256 h 5292022"/>
              <a:gd name="connsiteX70-44637" fmla="*/ 3977346 w 10693106"/>
              <a:gd name="connsiteY70-44638" fmla="*/ 4470544 h 5292022"/>
              <a:gd name="connsiteX71-44639" fmla="*/ 3741550 w 10693106"/>
              <a:gd name="connsiteY71-44640" fmla="*/ 4154102 h 5292022"/>
              <a:gd name="connsiteX72-44641" fmla="*/ 3562056 w 10693106"/>
              <a:gd name="connsiteY72-44642" fmla="*/ 3406919 h 5292022"/>
              <a:gd name="connsiteX73-44643" fmla="*/ 3242440 w 10693106"/>
              <a:gd name="connsiteY73-44644" fmla="*/ 3099156 h 5292022"/>
              <a:gd name="connsiteX74-44645" fmla="*/ 3123906 w 10693106"/>
              <a:gd name="connsiteY74-44646" fmla="*/ 2997556 h 5292022"/>
              <a:gd name="connsiteX75-44647" fmla="*/ 2988440 w 10693106"/>
              <a:gd name="connsiteY75-44648" fmla="*/ 2802822 h 5292022"/>
              <a:gd name="connsiteX76-44649" fmla="*/ 2971506 w 10693106"/>
              <a:gd name="connsiteY76-44650" fmla="*/ 2743556 h 5292022"/>
              <a:gd name="connsiteX77-44651" fmla="*/ 2996906 w 10693106"/>
              <a:gd name="connsiteY77-44652" fmla="*/ 2531889 h 5292022"/>
              <a:gd name="connsiteX78-44653" fmla="*/ 3013840 w 10693106"/>
              <a:gd name="connsiteY78-44654" fmla="*/ 2430289 h 5292022"/>
              <a:gd name="connsiteX79-44655" fmla="*/ 3005373 w 10693106"/>
              <a:gd name="connsiteY79-44656" fmla="*/ 2311756 h 5292022"/>
              <a:gd name="connsiteX80-44657" fmla="*/ 2988440 w 10693106"/>
              <a:gd name="connsiteY80-44658" fmla="*/ 2260956 h 5292022"/>
              <a:gd name="connsiteX81-44659" fmla="*/ 2802173 w 10693106"/>
              <a:gd name="connsiteY81-44660" fmla="*/ 2006956 h 5292022"/>
              <a:gd name="connsiteX82-44661" fmla="*/ 2641306 w 10693106"/>
              <a:gd name="connsiteY82-44662" fmla="*/ 1863022 h 5292022"/>
              <a:gd name="connsiteX83-44663" fmla="*/ 2590506 w 10693106"/>
              <a:gd name="connsiteY83-44664" fmla="*/ 1837622 h 5292022"/>
              <a:gd name="connsiteX84-44665" fmla="*/ 2531240 w 10693106"/>
              <a:gd name="connsiteY84-44666" fmla="*/ 1829156 h 5292022"/>
              <a:gd name="connsiteX85-44667" fmla="*/ 2446573 w 10693106"/>
              <a:gd name="connsiteY85-44668" fmla="*/ 1812222 h 5292022"/>
              <a:gd name="connsiteX86-44669" fmla="*/ 2251840 w 10693106"/>
              <a:gd name="connsiteY86-44670" fmla="*/ 1837622 h 5292022"/>
              <a:gd name="connsiteX87-44671" fmla="*/ 2167173 w 10693106"/>
              <a:gd name="connsiteY87-44672" fmla="*/ 1879956 h 5292022"/>
              <a:gd name="connsiteX88-44673" fmla="*/ 1980906 w 10693106"/>
              <a:gd name="connsiteY88-44674" fmla="*/ 1939222 h 5292022"/>
              <a:gd name="connsiteX89-44675" fmla="*/ 1904706 w 10693106"/>
              <a:gd name="connsiteY89-44676" fmla="*/ 1973089 h 5292022"/>
              <a:gd name="connsiteX90-44677" fmla="*/ 1828506 w 10693106"/>
              <a:gd name="connsiteY90-44678" fmla="*/ 1990022 h 5292022"/>
              <a:gd name="connsiteX91-44679" fmla="*/ 1726906 w 10693106"/>
              <a:gd name="connsiteY91-44680" fmla="*/ 2040822 h 5292022"/>
              <a:gd name="connsiteX92-44681" fmla="*/ 1659173 w 10693106"/>
              <a:gd name="connsiteY92-44682" fmla="*/ 2074689 h 5292022"/>
              <a:gd name="connsiteX93-44683" fmla="*/ 1498306 w 10693106"/>
              <a:gd name="connsiteY93-44684" fmla="*/ 2100089 h 5292022"/>
              <a:gd name="connsiteX94-44685" fmla="*/ 914106 w 10693106"/>
              <a:gd name="connsiteY94-44686" fmla="*/ 2032356 h 5292022"/>
              <a:gd name="connsiteX95-44687" fmla="*/ 617773 w 10693106"/>
              <a:gd name="connsiteY95-44688" fmla="*/ 1922289 h 5292022"/>
              <a:gd name="connsiteX96-44689" fmla="*/ 516173 w 10693106"/>
              <a:gd name="connsiteY96-44690" fmla="*/ 1837622 h 5292022"/>
              <a:gd name="connsiteX97-44691" fmla="*/ 355306 w 10693106"/>
              <a:gd name="connsiteY97-44692" fmla="*/ 1625956 h 5292022"/>
              <a:gd name="connsiteX98-44693" fmla="*/ 296040 w 10693106"/>
              <a:gd name="connsiteY98-44694" fmla="*/ 1524356 h 5292022"/>
              <a:gd name="connsiteX99-44695" fmla="*/ 253706 w 10693106"/>
              <a:gd name="connsiteY99-44696" fmla="*/ 1346556 h 5292022"/>
              <a:gd name="connsiteX100-44697" fmla="*/ 245240 w 10693106"/>
              <a:gd name="connsiteY100-44698" fmla="*/ 1219556 h 5292022"/>
              <a:gd name="connsiteX101-44699" fmla="*/ 236773 w 10693106"/>
              <a:gd name="connsiteY101-44700" fmla="*/ 1117956 h 5292022"/>
              <a:gd name="connsiteX102-44701" fmla="*/ 245240 w 10693106"/>
              <a:gd name="connsiteY102-44702" fmla="*/ 847022 h 5292022"/>
              <a:gd name="connsiteX103-44703" fmla="*/ 236773 w 10693106"/>
              <a:gd name="connsiteY103-44704" fmla="*/ 703089 h 5292022"/>
              <a:gd name="connsiteX104-44705" fmla="*/ 109773 w 10693106"/>
              <a:gd name="connsiteY104-44706" fmla="*/ 559156 h 5292022"/>
              <a:gd name="connsiteX105-44707" fmla="*/ 58973 w 10693106"/>
              <a:gd name="connsiteY105-44708" fmla="*/ 482956 h 5292022"/>
              <a:gd name="connsiteX106-44709" fmla="*/ 16640 w 10693106"/>
              <a:gd name="connsiteY106-44710" fmla="*/ 432156 h 5292022"/>
              <a:gd name="connsiteX107-44711" fmla="*/ 8173 w 10693106"/>
              <a:gd name="connsiteY107-44712" fmla="*/ 389822 h 5292022"/>
              <a:gd name="connsiteX108-44713" fmla="*/ 16640 w 10693106"/>
              <a:gd name="connsiteY108-44714" fmla="*/ 339022 h 5292022"/>
              <a:gd name="connsiteX0-44715" fmla="*/ 16640 w 10693106"/>
              <a:gd name="connsiteY0-44716" fmla="*/ 339022 h 5292022"/>
              <a:gd name="connsiteX1-44717" fmla="*/ 58973 w 10693106"/>
              <a:gd name="connsiteY1-44718" fmla="*/ 245889 h 5292022"/>
              <a:gd name="connsiteX2-44719" fmla="*/ 109773 w 10693106"/>
              <a:gd name="connsiteY2-44720" fmla="*/ 178156 h 5292022"/>
              <a:gd name="connsiteX3-44721" fmla="*/ 202906 w 10693106"/>
              <a:gd name="connsiteY3-44722" fmla="*/ 93489 h 5292022"/>
              <a:gd name="connsiteX4-44723" fmla="*/ 236773 w 10693106"/>
              <a:gd name="connsiteY4-44724" fmla="*/ 68089 h 5292022"/>
              <a:gd name="connsiteX5-44725" fmla="*/ 335410 w 10693106"/>
              <a:gd name="connsiteY5-44726" fmla="*/ 58352 h 5292022"/>
              <a:gd name="connsiteX6-44727" fmla="*/ 382400 w 10693106"/>
              <a:gd name="connsiteY6-44728" fmla="*/ 51156 h 5292022"/>
              <a:gd name="connsiteX7-44729" fmla="*/ 434912 w 10693106"/>
              <a:gd name="connsiteY7-44730" fmla="*/ 70071 h 5292022"/>
              <a:gd name="connsiteX8-44731" fmla="*/ 492697 w 10693106"/>
              <a:gd name="connsiteY8-44732" fmla="*/ 74247 h 5292022"/>
              <a:gd name="connsiteX9-44733" fmla="*/ 822897 w 10693106"/>
              <a:gd name="connsiteY9-44734" fmla="*/ 82713 h 5292022"/>
              <a:gd name="connsiteX10-44735" fmla="*/ 1091906 w 10693106"/>
              <a:gd name="connsiteY10-44736" fmla="*/ 356 h 5292022"/>
              <a:gd name="connsiteX11-44737" fmla="*/ 1235840 w 10693106"/>
              <a:gd name="connsiteY11-44738" fmla="*/ 59622 h 5292022"/>
              <a:gd name="connsiteX12-44739" fmla="*/ 1337440 w 10693106"/>
              <a:gd name="connsiteY12-44740" fmla="*/ 135822 h 5292022"/>
              <a:gd name="connsiteX13-44741" fmla="*/ 1422106 w 10693106"/>
              <a:gd name="connsiteY13-44742" fmla="*/ 245889 h 5292022"/>
              <a:gd name="connsiteX14-44743" fmla="*/ 1481373 w 10693106"/>
              <a:gd name="connsiteY14-44744" fmla="*/ 313622 h 5292022"/>
              <a:gd name="connsiteX15-44745" fmla="*/ 1532173 w 10693106"/>
              <a:gd name="connsiteY15-44746" fmla="*/ 347489 h 5292022"/>
              <a:gd name="connsiteX16-44747" fmla="*/ 1684573 w 10693106"/>
              <a:gd name="connsiteY16-44748" fmla="*/ 406756 h 5292022"/>
              <a:gd name="connsiteX17-44749" fmla="*/ 1760773 w 10693106"/>
              <a:gd name="connsiteY17-44750" fmla="*/ 423689 h 5292022"/>
              <a:gd name="connsiteX18-44751" fmla="*/ 2404240 w 10693106"/>
              <a:gd name="connsiteY18-44752" fmla="*/ 355956 h 5292022"/>
              <a:gd name="connsiteX19-44753" fmla="*/ 3398918 w 10693106"/>
              <a:gd name="connsiteY19-44754" fmla="*/ 72322 h 5292022"/>
              <a:gd name="connsiteX20-44755" fmla="*/ 4529373 w 10693106"/>
              <a:gd name="connsiteY20-44756" fmla="*/ 271289 h 5292022"/>
              <a:gd name="connsiteX21-44757" fmla="*/ 5630810 w 10693106"/>
              <a:gd name="connsiteY21-44758" fmla="*/ 1149898 h 5292022"/>
              <a:gd name="connsiteX22-44759" fmla="*/ 6881490 w 10693106"/>
              <a:gd name="connsiteY22-44760" fmla="*/ 1366452 h 5292022"/>
              <a:gd name="connsiteX23-44761" fmla="*/ 7839032 w 10693106"/>
              <a:gd name="connsiteY23-44762" fmla="*/ 1183996 h 5292022"/>
              <a:gd name="connsiteX24-44763" fmla="*/ 8652640 w 10693106"/>
              <a:gd name="connsiteY24-44764" fmla="*/ 677689 h 5292022"/>
              <a:gd name="connsiteX25-44765" fmla="*/ 8982840 w 10693106"/>
              <a:gd name="connsiteY25-44766" fmla="*/ 398289 h 5292022"/>
              <a:gd name="connsiteX26-44767" fmla="*/ 9380773 w 10693106"/>
              <a:gd name="connsiteY26-44768" fmla="*/ 355956 h 5292022"/>
              <a:gd name="connsiteX27-44769" fmla="*/ 9744840 w 10693106"/>
              <a:gd name="connsiteY27-44770" fmla="*/ 466022 h 5292022"/>
              <a:gd name="connsiteX28-44771" fmla="*/ 9888773 w 10693106"/>
              <a:gd name="connsiteY28-44772" fmla="*/ 508356 h 5292022"/>
              <a:gd name="connsiteX29-44773" fmla="*/ 9998840 w 10693106"/>
              <a:gd name="connsiteY29-44774" fmla="*/ 559156 h 5292022"/>
              <a:gd name="connsiteX30-44775" fmla="*/ 10083506 w 10693106"/>
              <a:gd name="connsiteY30-44776" fmla="*/ 618422 h 5292022"/>
              <a:gd name="connsiteX31-44777" fmla="*/ 10286706 w 10693106"/>
              <a:gd name="connsiteY31-44778" fmla="*/ 686156 h 5292022"/>
              <a:gd name="connsiteX32-44779" fmla="*/ 10388306 w 10693106"/>
              <a:gd name="connsiteY32-44780" fmla="*/ 889356 h 5292022"/>
              <a:gd name="connsiteX33-44781" fmla="*/ 10540706 w 10693106"/>
              <a:gd name="connsiteY33-44782" fmla="*/ 1261889 h 5292022"/>
              <a:gd name="connsiteX34-44783" fmla="*/ 10557640 w 10693106"/>
              <a:gd name="connsiteY34-44784" fmla="*/ 1346556 h 5292022"/>
              <a:gd name="connsiteX35-44785" fmla="*/ 10583040 w 10693106"/>
              <a:gd name="connsiteY35-44786" fmla="*/ 1448156 h 5292022"/>
              <a:gd name="connsiteX36-44787" fmla="*/ 10616906 w 10693106"/>
              <a:gd name="connsiteY36-44788" fmla="*/ 1651356 h 5292022"/>
              <a:gd name="connsiteX37-44789" fmla="*/ 10633840 w 10693106"/>
              <a:gd name="connsiteY37-44790" fmla="*/ 1736022 h 5292022"/>
              <a:gd name="connsiteX38-44791" fmla="*/ 10650773 w 10693106"/>
              <a:gd name="connsiteY38-44792" fmla="*/ 1769889 h 5292022"/>
              <a:gd name="connsiteX39-44793" fmla="*/ 10676173 w 10693106"/>
              <a:gd name="connsiteY39-44794" fmla="*/ 1854556 h 5292022"/>
              <a:gd name="connsiteX40-44795" fmla="*/ 10693106 w 10693106"/>
              <a:gd name="connsiteY40-44796" fmla="*/ 2006956 h 5292022"/>
              <a:gd name="connsiteX41-44797" fmla="*/ 10625373 w 10693106"/>
              <a:gd name="connsiteY41-44798" fmla="*/ 2227089 h 5292022"/>
              <a:gd name="connsiteX42-44799" fmla="*/ 10608440 w 10693106"/>
              <a:gd name="connsiteY42-44800" fmla="*/ 2252489 h 5292022"/>
              <a:gd name="connsiteX43-44801" fmla="*/ 10540706 w 10693106"/>
              <a:gd name="connsiteY43-44802" fmla="*/ 2396422 h 5292022"/>
              <a:gd name="connsiteX44-44803" fmla="*/ 10430640 w 10693106"/>
              <a:gd name="connsiteY44-44804" fmla="*/ 2709689 h 5292022"/>
              <a:gd name="connsiteX45-44805" fmla="*/ 10405240 w 10693106"/>
              <a:gd name="connsiteY45-44806" fmla="*/ 2785889 h 5292022"/>
              <a:gd name="connsiteX46-44807" fmla="*/ 10362906 w 10693106"/>
              <a:gd name="connsiteY46-44808" fmla="*/ 2912889 h 5292022"/>
              <a:gd name="connsiteX47-44809" fmla="*/ 10329040 w 10693106"/>
              <a:gd name="connsiteY47-44810" fmla="*/ 2955222 h 5292022"/>
              <a:gd name="connsiteX48-44811" fmla="*/ 9948040 w 10693106"/>
              <a:gd name="connsiteY48-44812" fmla="*/ 3336222 h 5292022"/>
              <a:gd name="connsiteX49-44813" fmla="*/ 9067506 w 10693106"/>
              <a:gd name="connsiteY49-44814" fmla="*/ 3861156 h 5292022"/>
              <a:gd name="connsiteX50-44815" fmla="*/ 8373240 w 10693106"/>
              <a:gd name="connsiteY50-44816" fmla="*/ 4140556 h 5292022"/>
              <a:gd name="connsiteX51-44817" fmla="*/ 7966840 w 10693106"/>
              <a:gd name="connsiteY51-44818" fmla="*/ 4233689 h 5292022"/>
              <a:gd name="connsiteX52-44819" fmla="*/ 7687440 w 10693106"/>
              <a:gd name="connsiteY52-44820" fmla="*/ 4394556 h 5292022"/>
              <a:gd name="connsiteX53-44821" fmla="*/ 7374173 w 10693106"/>
              <a:gd name="connsiteY53-44822" fmla="*/ 4657022 h 5292022"/>
              <a:gd name="connsiteX54-44823" fmla="*/ 7374173 w 10693106"/>
              <a:gd name="connsiteY54-44824" fmla="*/ 4657022 h 5292022"/>
              <a:gd name="connsiteX55-44825" fmla="*/ 7221773 w 10693106"/>
              <a:gd name="connsiteY55-44826" fmla="*/ 4775556 h 5292022"/>
              <a:gd name="connsiteX56-44827" fmla="*/ 7027040 w 10693106"/>
              <a:gd name="connsiteY56-44828" fmla="*/ 4902556 h 5292022"/>
              <a:gd name="connsiteX57-44829" fmla="*/ 6883106 w 10693106"/>
              <a:gd name="connsiteY57-44830" fmla="*/ 4970289 h 5292022"/>
              <a:gd name="connsiteX58-44831" fmla="*/ 6815373 w 10693106"/>
              <a:gd name="connsiteY58-44832" fmla="*/ 5012622 h 5292022"/>
              <a:gd name="connsiteX59-44833" fmla="*/ 6646040 w 10693106"/>
              <a:gd name="connsiteY59-44834" fmla="*/ 5105756 h 5292022"/>
              <a:gd name="connsiteX60-44835" fmla="*/ 6527506 w 10693106"/>
              <a:gd name="connsiteY60-44836" fmla="*/ 5165022 h 5292022"/>
              <a:gd name="connsiteX61-44837" fmla="*/ 6298906 w 10693106"/>
              <a:gd name="connsiteY61-44838" fmla="*/ 5241222 h 5292022"/>
              <a:gd name="connsiteX62-44839" fmla="*/ 6197306 w 10693106"/>
              <a:gd name="connsiteY62-44840" fmla="*/ 5266622 h 5292022"/>
              <a:gd name="connsiteX63-44841" fmla="*/ 6061840 w 10693106"/>
              <a:gd name="connsiteY63-44842" fmla="*/ 5275089 h 5292022"/>
              <a:gd name="connsiteX64-44843" fmla="*/ 5917906 w 10693106"/>
              <a:gd name="connsiteY64-44844" fmla="*/ 5292022 h 5292022"/>
              <a:gd name="connsiteX65-44845" fmla="*/ 5748573 w 10693106"/>
              <a:gd name="connsiteY65-44846" fmla="*/ 5283556 h 5292022"/>
              <a:gd name="connsiteX66-44847" fmla="*/ 5282906 w 10693106"/>
              <a:gd name="connsiteY66-44848" fmla="*/ 5173489 h 5292022"/>
              <a:gd name="connsiteX67-44849" fmla="*/ 4959480 w 10693106"/>
              <a:gd name="connsiteY67-44850" fmla="*/ 4988069 h 5292022"/>
              <a:gd name="connsiteX68-44851" fmla="*/ 4686853 w 10693106"/>
              <a:gd name="connsiteY68-44852" fmla="*/ 4788256 h 5292022"/>
              <a:gd name="connsiteX69-44853" fmla="*/ 3977346 w 10693106"/>
              <a:gd name="connsiteY69-44854" fmla="*/ 4470544 h 5292022"/>
              <a:gd name="connsiteX70-44855" fmla="*/ 3741550 w 10693106"/>
              <a:gd name="connsiteY70-44856" fmla="*/ 4154102 h 5292022"/>
              <a:gd name="connsiteX71-44857" fmla="*/ 3562056 w 10693106"/>
              <a:gd name="connsiteY71-44858" fmla="*/ 3406919 h 5292022"/>
              <a:gd name="connsiteX72-44859" fmla="*/ 3242440 w 10693106"/>
              <a:gd name="connsiteY72-44860" fmla="*/ 3099156 h 5292022"/>
              <a:gd name="connsiteX73-44861" fmla="*/ 3123906 w 10693106"/>
              <a:gd name="connsiteY73-44862" fmla="*/ 2997556 h 5292022"/>
              <a:gd name="connsiteX74-44863" fmla="*/ 2988440 w 10693106"/>
              <a:gd name="connsiteY74-44864" fmla="*/ 2802822 h 5292022"/>
              <a:gd name="connsiteX75-44865" fmla="*/ 2971506 w 10693106"/>
              <a:gd name="connsiteY75-44866" fmla="*/ 2743556 h 5292022"/>
              <a:gd name="connsiteX76-44867" fmla="*/ 2996906 w 10693106"/>
              <a:gd name="connsiteY76-44868" fmla="*/ 2531889 h 5292022"/>
              <a:gd name="connsiteX77-44869" fmla="*/ 3013840 w 10693106"/>
              <a:gd name="connsiteY77-44870" fmla="*/ 2430289 h 5292022"/>
              <a:gd name="connsiteX78-44871" fmla="*/ 3005373 w 10693106"/>
              <a:gd name="connsiteY78-44872" fmla="*/ 2311756 h 5292022"/>
              <a:gd name="connsiteX79-44873" fmla="*/ 2988440 w 10693106"/>
              <a:gd name="connsiteY79-44874" fmla="*/ 2260956 h 5292022"/>
              <a:gd name="connsiteX80-44875" fmla="*/ 2802173 w 10693106"/>
              <a:gd name="connsiteY80-44876" fmla="*/ 2006956 h 5292022"/>
              <a:gd name="connsiteX81-44877" fmla="*/ 2641306 w 10693106"/>
              <a:gd name="connsiteY81-44878" fmla="*/ 1863022 h 5292022"/>
              <a:gd name="connsiteX82-44879" fmla="*/ 2590506 w 10693106"/>
              <a:gd name="connsiteY82-44880" fmla="*/ 1837622 h 5292022"/>
              <a:gd name="connsiteX83-44881" fmla="*/ 2531240 w 10693106"/>
              <a:gd name="connsiteY83-44882" fmla="*/ 1829156 h 5292022"/>
              <a:gd name="connsiteX84-44883" fmla="*/ 2446573 w 10693106"/>
              <a:gd name="connsiteY84-44884" fmla="*/ 1812222 h 5292022"/>
              <a:gd name="connsiteX85-44885" fmla="*/ 2251840 w 10693106"/>
              <a:gd name="connsiteY85-44886" fmla="*/ 1837622 h 5292022"/>
              <a:gd name="connsiteX86-44887" fmla="*/ 2167173 w 10693106"/>
              <a:gd name="connsiteY86-44888" fmla="*/ 1879956 h 5292022"/>
              <a:gd name="connsiteX87-44889" fmla="*/ 1980906 w 10693106"/>
              <a:gd name="connsiteY87-44890" fmla="*/ 1939222 h 5292022"/>
              <a:gd name="connsiteX88-44891" fmla="*/ 1904706 w 10693106"/>
              <a:gd name="connsiteY88-44892" fmla="*/ 1973089 h 5292022"/>
              <a:gd name="connsiteX89-44893" fmla="*/ 1828506 w 10693106"/>
              <a:gd name="connsiteY89-44894" fmla="*/ 1990022 h 5292022"/>
              <a:gd name="connsiteX90-44895" fmla="*/ 1726906 w 10693106"/>
              <a:gd name="connsiteY90-44896" fmla="*/ 2040822 h 5292022"/>
              <a:gd name="connsiteX91-44897" fmla="*/ 1659173 w 10693106"/>
              <a:gd name="connsiteY91-44898" fmla="*/ 2074689 h 5292022"/>
              <a:gd name="connsiteX92-44899" fmla="*/ 1498306 w 10693106"/>
              <a:gd name="connsiteY92-44900" fmla="*/ 2100089 h 5292022"/>
              <a:gd name="connsiteX93-44901" fmla="*/ 914106 w 10693106"/>
              <a:gd name="connsiteY93-44902" fmla="*/ 2032356 h 5292022"/>
              <a:gd name="connsiteX94-44903" fmla="*/ 617773 w 10693106"/>
              <a:gd name="connsiteY94-44904" fmla="*/ 1922289 h 5292022"/>
              <a:gd name="connsiteX95-44905" fmla="*/ 516173 w 10693106"/>
              <a:gd name="connsiteY95-44906" fmla="*/ 1837622 h 5292022"/>
              <a:gd name="connsiteX96-44907" fmla="*/ 355306 w 10693106"/>
              <a:gd name="connsiteY96-44908" fmla="*/ 1625956 h 5292022"/>
              <a:gd name="connsiteX97-44909" fmla="*/ 296040 w 10693106"/>
              <a:gd name="connsiteY97-44910" fmla="*/ 1524356 h 5292022"/>
              <a:gd name="connsiteX98-44911" fmla="*/ 253706 w 10693106"/>
              <a:gd name="connsiteY98-44912" fmla="*/ 1346556 h 5292022"/>
              <a:gd name="connsiteX99-44913" fmla="*/ 245240 w 10693106"/>
              <a:gd name="connsiteY99-44914" fmla="*/ 1219556 h 5292022"/>
              <a:gd name="connsiteX100-44915" fmla="*/ 236773 w 10693106"/>
              <a:gd name="connsiteY100-44916" fmla="*/ 1117956 h 5292022"/>
              <a:gd name="connsiteX101-44917" fmla="*/ 245240 w 10693106"/>
              <a:gd name="connsiteY101-44918" fmla="*/ 847022 h 5292022"/>
              <a:gd name="connsiteX102-44919" fmla="*/ 236773 w 10693106"/>
              <a:gd name="connsiteY102-44920" fmla="*/ 703089 h 5292022"/>
              <a:gd name="connsiteX103-44921" fmla="*/ 109773 w 10693106"/>
              <a:gd name="connsiteY103-44922" fmla="*/ 559156 h 5292022"/>
              <a:gd name="connsiteX104-44923" fmla="*/ 58973 w 10693106"/>
              <a:gd name="connsiteY104-44924" fmla="*/ 482956 h 5292022"/>
              <a:gd name="connsiteX105-44925" fmla="*/ 16640 w 10693106"/>
              <a:gd name="connsiteY105-44926" fmla="*/ 432156 h 5292022"/>
              <a:gd name="connsiteX106-44927" fmla="*/ 8173 w 10693106"/>
              <a:gd name="connsiteY106-44928" fmla="*/ 389822 h 5292022"/>
              <a:gd name="connsiteX107-44929" fmla="*/ 16640 w 10693106"/>
              <a:gd name="connsiteY107-44930" fmla="*/ 339022 h 5292022"/>
              <a:gd name="connsiteX0-44931" fmla="*/ 16640 w 10693106"/>
              <a:gd name="connsiteY0-44932" fmla="*/ 339022 h 5292022"/>
              <a:gd name="connsiteX1-44933" fmla="*/ 58973 w 10693106"/>
              <a:gd name="connsiteY1-44934" fmla="*/ 245889 h 5292022"/>
              <a:gd name="connsiteX2-44935" fmla="*/ 109773 w 10693106"/>
              <a:gd name="connsiteY2-44936" fmla="*/ 178156 h 5292022"/>
              <a:gd name="connsiteX3-44937" fmla="*/ 202906 w 10693106"/>
              <a:gd name="connsiteY3-44938" fmla="*/ 93489 h 5292022"/>
              <a:gd name="connsiteX4-44939" fmla="*/ 236773 w 10693106"/>
              <a:gd name="connsiteY4-44940" fmla="*/ 68089 h 5292022"/>
              <a:gd name="connsiteX5-44941" fmla="*/ 335410 w 10693106"/>
              <a:gd name="connsiteY5-44942" fmla="*/ 58352 h 5292022"/>
              <a:gd name="connsiteX6-44943" fmla="*/ 382400 w 10693106"/>
              <a:gd name="connsiteY6-44944" fmla="*/ 51156 h 5292022"/>
              <a:gd name="connsiteX7-44945" fmla="*/ 434912 w 10693106"/>
              <a:gd name="connsiteY7-44946" fmla="*/ 70071 h 5292022"/>
              <a:gd name="connsiteX8-44947" fmla="*/ 492697 w 10693106"/>
              <a:gd name="connsiteY8-44948" fmla="*/ 74247 h 5292022"/>
              <a:gd name="connsiteX9-44949" fmla="*/ 822897 w 10693106"/>
              <a:gd name="connsiteY9-44950" fmla="*/ 82713 h 5292022"/>
              <a:gd name="connsiteX10-44951" fmla="*/ 1091906 w 10693106"/>
              <a:gd name="connsiteY10-44952" fmla="*/ 356 h 5292022"/>
              <a:gd name="connsiteX11-44953" fmla="*/ 1235840 w 10693106"/>
              <a:gd name="connsiteY11-44954" fmla="*/ 59622 h 5292022"/>
              <a:gd name="connsiteX12-44955" fmla="*/ 1337440 w 10693106"/>
              <a:gd name="connsiteY12-44956" fmla="*/ 135822 h 5292022"/>
              <a:gd name="connsiteX13-44957" fmla="*/ 1422106 w 10693106"/>
              <a:gd name="connsiteY13-44958" fmla="*/ 245889 h 5292022"/>
              <a:gd name="connsiteX14-44959" fmla="*/ 1481373 w 10693106"/>
              <a:gd name="connsiteY14-44960" fmla="*/ 313622 h 5292022"/>
              <a:gd name="connsiteX15-44961" fmla="*/ 1532173 w 10693106"/>
              <a:gd name="connsiteY15-44962" fmla="*/ 347489 h 5292022"/>
              <a:gd name="connsiteX16-44963" fmla="*/ 1684573 w 10693106"/>
              <a:gd name="connsiteY16-44964" fmla="*/ 406756 h 5292022"/>
              <a:gd name="connsiteX17-44965" fmla="*/ 1760773 w 10693106"/>
              <a:gd name="connsiteY17-44966" fmla="*/ 423689 h 5292022"/>
              <a:gd name="connsiteX18-44967" fmla="*/ 2404240 w 10693106"/>
              <a:gd name="connsiteY18-44968" fmla="*/ 355956 h 5292022"/>
              <a:gd name="connsiteX19-44969" fmla="*/ 3398918 w 10693106"/>
              <a:gd name="connsiteY19-44970" fmla="*/ 72322 h 5292022"/>
              <a:gd name="connsiteX20-44971" fmla="*/ 4529373 w 10693106"/>
              <a:gd name="connsiteY20-44972" fmla="*/ 271289 h 5292022"/>
              <a:gd name="connsiteX21-44973" fmla="*/ 5630810 w 10693106"/>
              <a:gd name="connsiteY21-44974" fmla="*/ 1149898 h 5292022"/>
              <a:gd name="connsiteX22-44975" fmla="*/ 6881490 w 10693106"/>
              <a:gd name="connsiteY22-44976" fmla="*/ 1366452 h 5292022"/>
              <a:gd name="connsiteX23-44977" fmla="*/ 7839032 w 10693106"/>
              <a:gd name="connsiteY23-44978" fmla="*/ 1183996 h 5292022"/>
              <a:gd name="connsiteX24-44979" fmla="*/ 8652640 w 10693106"/>
              <a:gd name="connsiteY24-44980" fmla="*/ 677689 h 5292022"/>
              <a:gd name="connsiteX25-44981" fmla="*/ 8982840 w 10693106"/>
              <a:gd name="connsiteY25-44982" fmla="*/ 398289 h 5292022"/>
              <a:gd name="connsiteX26-44983" fmla="*/ 9380773 w 10693106"/>
              <a:gd name="connsiteY26-44984" fmla="*/ 355956 h 5292022"/>
              <a:gd name="connsiteX27-44985" fmla="*/ 9744840 w 10693106"/>
              <a:gd name="connsiteY27-44986" fmla="*/ 466022 h 5292022"/>
              <a:gd name="connsiteX28-44987" fmla="*/ 9888773 w 10693106"/>
              <a:gd name="connsiteY28-44988" fmla="*/ 508356 h 5292022"/>
              <a:gd name="connsiteX29-44989" fmla="*/ 9998840 w 10693106"/>
              <a:gd name="connsiteY29-44990" fmla="*/ 559156 h 5292022"/>
              <a:gd name="connsiteX30-44991" fmla="*/ 10083506 w 10693106"/>
              <a:gd name="connsiteY30-44992" fmla="*/ 618422 h 5292022"/>
              <a:gd name="connsiteX31-44993" fmla="*/ 10286706 w 10693106"/>
              <a:gd name="connsiteY31-44994" fmla="*/ 686156 h 5292022"/>
              <a:gd name="connsiteX32-44995" fmla="*/ 10388306 w 10693106"/>
              <a:gd name="connsiteY32-44996" fmla="*/ 889356 h 5292022"/>
              <a:gd name="connsiteX33-44997" fmla="*/ 10540706 w 10693106"/>
              <a:gd name="connsiteY33-44998" fmla="*/ 1261889 h 5292022"/>
              <a:gd name="connsiteX34-44999" fmla="*/ 10557640 w 10693106"/>
              <a:gd name="connsiteY34-45000" fmla="*/ 1346556 h 5292022"/>
              <a:gd name="connsiteX35-45001" fmla="*/ 10583040 w 10693106"/>
              <a:gd name="connsiteY35-45002" fmla="*/ 1448156 h 5292022"/>
              <a:gd name="connsiteX36-45003" fmla="*/ 10616906 w 10693106"/>
              <a:gd name="connsiteY36-45004" fmla="*/ 1651356 h 5292022"/>
              <a:gd name="connsiteX37-45005" fmla="*/ 10633840 w 10693106"/>
              <a:gd name="connsiteY37-45006" fmla="*/ 1736022 h 5292022"/>
              <a:gd name="connsiteX38-45007" fmla="*/ 10650773 w 10693106"/>
              <a:gd name="connsiteY38-45008" fmla="*/ 1769889 h 5292022"/>
              <a:gd name="connsiteX39-45009" fmla="*/ 10676173 w 10693106"/>
              <a:gd name="connsiteY39-45010" fmla="*/ 1854556 h 5292022"/>
              <a:gd name="connsiteX40-45011" fmla="*/ 10693106 w 10693106"/>
              <a:gd name="connsiteY40-45012" fmla="*/ 2006956 h 5292022"/>
              <a:gd name="connsiteX41-45013" fmla="*/ 10625373 w 10693106"/>
              <a:gd name="connsiteY41-45014" fmla="*/ 2227089 h 5292022"/>
              <a:gd name="connsiteX42-45015" fmla="*/ 10608440 w 10693106"/>
              <a:gd name="connsiteY42-45016" fmla="*/ 2252489 h 5292022"/>
              <a:gd name="connsiteX43-45017" fmla="*/ 10430640 w 10693106"/>
              <a:gd name="connsiteY43-45018" fmla="*/ 2709689 h 5292022"/>
              <a:gd name="connsiteX44-45019" fmla="*/ 10405240 w 10693106"/>
              <a:gd name="connsiteY44-45020" fmla="*/ 2785889 h 5292022"/>
              <a:gd name="connsiteX45-45021" fmla="*/ 10362906 w 10693106"/>
              <a:gd name="connsiteY45-45022" fmla="*/ 2912889 h 5292022"/>
              <a:gd name="connsiteX46-45023" fmla="*/ 10329040 w 10693106"/>
              <a:gd name="connsiteY46-45024" fmla="*/ 2955222 h 5292022"/>
              <a:gd name="connsiteX47-45025" fmla="*/ 9948040 w 10693106"/>
              <a:gd name="connsiteY47-45026" fmla="*/ 3336222 h 5292022"/>
              <a:gd name="connsiteX48-45027" fmla="*/ 9067506 w 10693106"/>
              <a:gd name="connsiteY48-45028" fmla="*/ 3861156 h 5292022"/>
              <a:gd name="connsiteX49-45029" fmla="*/ 8373240 w 10693106"/>
              <a:gd name="connsiteY49-45030" fmla="*/ 4140556 h 5292022"/>
              <a:gd name="connsiteX50-45031" fmla="*/ 7966840 w 10693106"/>
              <a:gd name="connsiteY50-45032" fmla="*/ 4233689 h 5292022"/>
              <a:gd name="connsiteX51-45033" fmla="*/ 7687440 w 10693106"/>
              <a:gd name="connsiteY51-45034" fmla="*/ 4394556 h 5292022"/>
              <a:gd name="connsiteX52-45035" fmla="*/ 7374173 w 10693106"/>
              <a:gd name="connsiteY52-45036" fmla="*/ 4657022 h 5292022"/>
              <a:gd name="connsiteX53-45037" fmla="*/ 7374173 w 10693106"/>
              <a:gd name="connsiteY53-45038" fmla="*/ 4657022 h 5292022"/>
              <a:gd name="connsiteX54-45039" fmla="*/ 7221773 w 10693106"/>
              <a:gd name="connsiteY54-45040" fmla="*/ 4775556 h 5292022"/>
              <a:gd name="connsiteX55-45041" fmla="*/ 7027040 w 10693106"/>
              <a:gd name="connsiteY55-45042" fmla="*/ 4902556 h 5292022"/>
              <a:gd name="connsiteX56-45043" fmla="*/ 6883106 w 10693106"/>
              <a:gd name="connsiteY56-45044" fmla="*/ 4970289 h 5292022"/>
              <a:gd name="connsiteX57-45045" fmla="*/ 6815373 w 10693106"/>
              <a:gd name="connsiteY57-45046" fmla="*/ 5012622 h 5292022"/>
              <a:gd name="connsiteX58-45047" fmla="*/ 6646040 w 10693106"/>
              <a:gd name="connsiteY58-45048" fmla="*/ 5105756 h 5292022"/>
              <a:gd name="connsiteX59-45049" fmla="*/ 6527506 w 10693106"/>
              <a:gd name="connsiteY59-45050" fmla="*/ 5165022 h 5292022"/>
              <a:gd name="connsiteX60-45051" fmla="*/ 6298906 w 10693106"/>
              <a:gd name="connsiteY60-45052" fmla="*/ 5241222 h 5292022"/>
              <a:gd name="connsiteX61-45053" fmla="*/ 6197306 w 10693106"/>
              <a:gd name="connsiteY61-45054" fmla="*/ 5266622 h 5292022"/>
              <a:gd name="connsiteX62-45055" fmla="*/ 6061840 w 10693106"/>
              <a:gd name="connsiteY62-45056" fmla="*/ 5275089 h 5292022"/>
              <a:gd name="connsiteX63-45057" fmla="*/ 5917906 w 10693106"/>
              <a:gd name="connsiteY63-45058" fmla="*/ 5292022 h 5292022"/>
              <a:gd name="connsiteX64-45059" fmla="*/ 5748573 w 10693106"/>
              <a:gd name="connsiteY64-45060" fmla="*/ 5283556 h 5292022"/>
              <a:gd name="connsiteX65-45061" fmla="*/ 5282906 w 10693106"/>
              <a:gd name="connsiteY65-45062" fmla="*/ 5173489 h 5292022"/>
              <a:gd name="connsiteX66-45063" fmla="*/ 4959480 w 10693106"/>
              <a:gd name="connsiteY66-45064" fmla="*/ 4988069 h 5292022"/>
              <a:gd name="connsiteX67-45065" fmla="*/ 4686853 w 10693106"/>
              <a:gd name="connsiteY67-45066" fmla="*/ 4788256 h 5292022"/>
              <a:gd name="connsiteX68-45067" fmla="*/ 3977346 w 10693106"/>
              <a:gd name="connsiteY68-45068" fmla="*/ 4470544 h 5292022"/>
              <a:gd name="connsiteX69-45069" fmla="*/ 3741550 w 10693106"/>
              <a:gd name="connsiteY69-45070" fmla="*/ 4154102 h 5292022"/>
              <a:gd name="connsiteX70-45071" fmla="*/ 3562056 w 10693106"/>
              <a:gd name="connsiteY70-45072" fmla="*/ 3406919 h 5292022"/>
              <a:gd name="connsiteX71-45073" fmla="*/ 3242440 w 10693106"/>
              <a:gd name="connsiteY71-45074" fmla="*/ 3099156 h 5292022"/>
              <a:gd name="connsiteX72-45075" fmla="*/ 3123906 w 10693106"/>
              <a:gd name="connsiteY72-45076" fmla="*/ 2997556 h 5292022"/>
              <a:gd name="connsiteX73-45077" fmla="*/ 2988440 w 10693106"/>
              <a:gd name="connsiteY73-45078" fmla="*/ 2802822 h 5292022"/>
              <a:gd name="connsiteX74-45079" fmla="*/ 2971506 w 10693106"/>
              <a:gd name="connsiteY74-45080" fmla="*/ 2743556 h 5292022"/>
              <a:gd name="connsiteX75-45081" fmla="*/ 2996906 w 10693106"/>
              <a:gd name="connsiteY75-45082" fmla="*/ 2531889 h 5292022"/>
              <a:gd name="connsiteX76-45083" fmla="*/ 3013840 w 10693106"/>
              <a:gd name="connsiteY76-45084" fmla="*/ 2430289 h 5292022"/>
              <a:gd name="connsiteX77-45085" fmla="*/ 3005373 w 10693106"/>
              <a:gd name="connsiteY77-45086" fmla="*/ 2311756 h 5292022"/>
              <a:gd name="connsiteX78-45087" fmla="*/ 2988440 w 10693106"/>
              <a:gd name="connsiteY78-45088" fmla="*/ 2260956 h 5292022"/>
              <a:gd name="connsiteX79-45089" fmla="*/ 2802173 w 10693106"/>
              <a:gd name="connsiteY79-45090" fmla="*/ 2006956 h 5292022"/>
              <a:gd name="connsiteX80-45091" fmla="*/ 2641306 w 10693106"/>
              <a:gd name="connsiteY80-45092" fmla="*/ 1863022 h 5292022"/>
              <a:gd name="connsiteX81-45093" fmla="*/ 2590506 w 10693106"/>
              <a:gd name="connsiteY81-45094" fmla="*/ 1837622 h 5292022"/>
              <a:gd name="connsiteX82-45095" fmla="*/ 2531240 w 10693106"/>
              <a:gd name="connsiteY82-45096" fmla="*/ 1829156 h 5292022"/>
              <a:gd name="connsiteX83-45097" fmla="*/ 2446573 w 10693106"/>
              <a:gd name="connsiteY83-45098" fmla="*/ 1812222 h 5292022"/>
              <a:gd name="connsiteX84-45099" fmla="*/ 2251840 w 10693106"/>
              <a:gd name="connsiteY84-45100" fmla="*/ 1837622 h 5292022"/>
              <a:gd name="connsiteX85-45101" fmla="*/ 2167173 w 10693106"/>
              <a:gd name="connsiteY85-45102" fmla="*/ 1879956 h 5292022"/>
              <a:gd name="connsiteX86-45103" fmla="*/ 1980906 w 10693106"/>
              <a:gd name="connsiteY86-45104" fmla="*/ 1939222 h 5292022"/>
              <a:gd name="connsiteX87-45105" fmla="*/ 1904706 w 10693106"/>
              <a:gd name="connsiteY87-45106" fmla="*/ 1973089 h 5292022"/>
              <a:gd name="connsiteX88-45107" fmla="*/ 1828506 w 10693106"/>
              <a:gd name="connsiteY88-45108" fmla="*/ 1990022 h 5292022"/>
              <a:gd name="connsiteX89-45109" fmla="*/ 1726906 w 10693106"/>
              <a:gd name="connsiteY89-45110" fmla="*/ 2040822 h 5292022"/>
              <a:gd name="connsiteX90-45111" fmla="*/ 1659173 w 10693106"/>
              <a:gd name="connsiteY90-45112" fmla="*/ 2074689 h 5292022"/>
              <a:gd name="connsiteX91-45113" fmla="*/ 1498306 w 10693106"/>
              <a:gd name="connsiteY91-45114" fmla="*/ 2100089 h 5292022"/>
              <a:gd name="connsiteX92-45115" fmla="*/ 914106 w 10693106"/>
              <a:gd name="connsiteY92-45116" fmla="*/ 2032356 h 5292022"/>
              <a:gd name="connsiteX93-45117" fmla="*/ 617773 w 10693106"/>
              <a:gd name="connsiteY93-45118" fmla="*/ 1922289 h 5292022"/>
              <a:gd name="connsiteX94-45119" fmla="*/ 516173 w 10693106"/>
              <a:gd name="connsiteY94-45120" fmla="*/ 1837622 h 5292022"/>
              <a:gd name="connsiteX95-45121" fmla="*/ 355306 w 10693106"/>
              <a:gd name="connsiteY95-45122" fmla="*/ 1625956 h 5292022"/>
              <a:gd name="connsiteX96-45123" fmla="*/ 296040 w 10693106"/>
              <a:gd name="connsiteY96-45124" fmla="*/ 1524356 h 5292022"/>
              <a:gd name="connsiteX97-45125" fmla="*/ 253706 w 10693106"/>
              <a:gd name="connsiteY97-45126" fmla="*/ 1346556 h 5292022"/>
              <a:gd name="connsiteX98-45127" fmla="*/ 245240 w 10693106"/>
              <a:gd name="connsiteY98-45128" fmla="*/ 1219556 h 5292022"/>
              <a:gd name="connsiteX99-45129" fmla="*/ 236773 w 10693106"/>
              <a:gd name="connsiteY99-45130" fmla="*/ 1117956 h 5292022"/>
              <a:gd name="connsiteX100-45131" fmla="*/ 245240 w 10693106"/>
              <a:gd name="connsiteY100-45132" fmla="*/ 847022 h 5292022"/>
              <a:gd name="connsiteX101-45133" fmla="*/ 236773 w 10693106"/>
              <a:gd name="connsiteY101-45134" fmla="*/ 703089 h 5292022"/>
              <a:gd name="connsiteX102-45135" fmla="*/ 109773 w 10693106"/>
              <a:gd name="connsiteY102-45136" fmla="*/ 559156 h 5292022"/>
              <a:gd name="connsiteX103-45137" fmla="*/ 58973 w 10693106"/>
              <a:gd name="connsiteY103-45138" fmla="*/ 482956 h 5292022"/>
              <a:gd name="connsiteX104-45139" fmla="*/ 16640 w 10693106"/>
              <a:gd name="connsiteY104-45140" fmla="*/ 432156 h 5292022"/>
              <a:gd name="connsiteX105-45141" fmla="*/ 8173 w 10693106"/>
              <a:gd name="connsiteY105-45142" fmla="*/ 389822 h 5292022"/>
              <a:gd name="connsiteX106-45143" fmla="*/ 16640 w 10693106"/>
              <a:gd name="connsiteY106-45144" fmla="*/ 339022 h 5292022"/>
              <a:gd name="connsiteX0-45145" fmla="*/ 16640 w 10693106"/>
              <a:gd name="connsiteY0-45146" fmla="*/ 339022 h 5292022"/>
              <a:gd name="connsiteX1-45147" fmla="*/ 58973 w 10693106"/>
              <a:gd name="connsiteY1-45148" fmla="*/ 245889 h 5292022"/>
              <a:gd name="connsiteX2-45149" fmla="*/ 109773 w 10693106"/>
              <a:gd name="connsiteY2-45150" fmla="*/ 178156 h 5292022"/>
              <a:gd name="connsiteX3-45151" fmla="*/ 202906 w 10693106"/>
              <a:gd name="connsiteY3-45152" fmla="*/ 93489 h 5292022"/>
              <a:gd name="connsiteX4-45153" fmla="*/ 236773 w 10693106"/>
              <a:gd name="connsiteY4-45154" fmla="*/ 68089 h 5292022"/>
              <a:gd name="connsiteX5-45155" fmla="*/ 335410 w 10693106"/>
              <a:gd name="connsiteY5-45156" fmla="*/ 58352 h 5292022"/>
              <a:gd name="connsiteX6-45157" fmla="*/ 382400 w 10693106"/>
              <a:gd name="connsiteY6-45158" fmla="*/ 51156 h 5292022"/>
              <a:gd name="connsiteX7-45159" fmla="*/ 434912 w 10693106"/>
              <a:gd name="connsiteY7-45160" fmla="*/ 70071 h 5292022"/>
              <a:gd name="connsiteX8-45161" fmla="*/ 492697 w 10693106"/>
              <a:gd name="connsiteY8-45162" fmla="*/ 74247 h 5292022"/>
              <a:gd name="connsiteX9-45163" fmla="*/ 822897 w 10693106"/>
              <a:gd name="connsiteY9-45164" fmla="*/ 82713 h 5292022"/>
              <a:gd name="connsiteX10-45165" fmla="*/ 1091906 w 10693106"/>
              <a:gd name="connsiteY10-45166" fmla="*/ 356 h 5292022"/>
              <a:gd name="connsiteX11-45167" fmla="*/ 1235840 w 10693106"/>
              <a:gd name="connsiteY11-45168" fmla="*/ 59622 h 5292022"/>
              <a:gd name="connsiteX12-45169" fmla="*/ 1337440 w 10693106"/>
              <a:gd name="connsiteY12-45170" fmla="*/ 135822 h 5292022"/>
              <a:gd name="connsiteX13-45171" fmla="*/ 1422106 w 10693106"/>
              <a:gd name="connsiteY13-45172" fmla="*/ 245889 h 5292022"/>
              <a:gd name="connsiteX14-45173" fmla="*/ 1481373 w 10693106"/>
              <a:gd name="connsiteY14-45174" fmla="*/ 313622 h 5292022"/>
              <a:gd name="connsiteX15-45175" fmla="*/ 1532173 w 10693106"/>
              <a:gd name="connsiteY15-45176" fmla="*/ 347489 h 5292022"/>
              <a:gd name="connsiteX16-45177" fmla="*/ 1684573 w 10693106"/>
              <a:gd name="connsiteY16-45178" fmla="*/ 406756 h 5292022"/>
              <a:gd name="connsiteX17-45179" fmla="*/ 1760773 w 10693106"/>
              <a:gd name="connsiteY17-45180" fmla="*/ 423689 h 5292022"/>
              <a:gd name="connsiteX18-45181" fmla="*/ 2404240 w 10693106"/>
              <a:gd name="connsiteY18-45182" fmla="*/ 355956 h 5292022"/>
              <a:gd name="connsiteX19-45183" fmla="*/ 3398918 w 10693106"/>
              <a:gd name="connsiteY19-45184" fmla="*/ 72322 h 5292022"/>
              <a:gd name="connsiteX20-45185" fmla="*/ 4529373 w 10693106"/>
              <a:gd name="connsiteY20-45186" fmla="*/ 271289 h 5292022"/>
              <a:gd name="connsiteX21-45187" fmla="*/ 5630810 w 10693106"/>
              <a:gd name="connsiteY21-45188" fmla="*/ 1149898 h 5292022"/>
              <a:gd name="connsiteX22-45189" fmla="*/ 6881490 w 10693106"/>
              <a:gd name="connsiteY22-45190" fmla="*/ 1366452 h 5292022"/>
              <a:gd name="connsiteX23-45191" fmla="*/ 7839032 w 10693106"/>
              <a:gd name="connsiteY23-45192" fmla="*/ 1183996 h 5292022"/>
              <a:gd name="connsiteX24-45193" fmla="*/ 8652640 w 10693106"/>
              <a:gd name="connsiteY24-45194" fmla="*/ 677689 h 5292022"/>
              <a:gd name="connsiteX25-45195" fmla="*/ 8982840 w 10693106"/>
              <a:gd name="connsiteY25-45196" fmla="*/ 398289 h 5292022"/>
              <a:gd name="connsiteX26-45197" fmla="*/ 9380773 w 10693106"/>
              <a:gd name="connsiteY26-45198" fmla="*/ 355956 h 5292022"/>
              <a:gd name="connsiteX27-45199" fmla="*/ 9744840 w 10693106"/>
              <a:gd name="connsiteY27-45200" fmla="*/ 466022 h 5292022"/>
              <a:gd name="connsiteX28-45201" fmla="*/ 9888773 w 10693106"/>
              <a:gd name="connsiteY28-45202" fmla="*/ 508356 h 5292022"/>
              <a:gd name="connsiteX29-45203" fmla="*/ 9998840 w 10693106"/>
              <a:gd name="connsiteY29-45204" fmla="*/ 559156 h 5292022"/>
              <a:gd name="connsiteX30-45205" fmla="*/ 10083506 w 10693106"/>
              <a:gd name="connsiteY30-45206" fmla="*/ 618422 h 5292022"/>
              <a:gd name="connsiteX31-45207" fmla="*/ 10286706 w 10693106"/>
              <a:gd name="connsiteY31-45208" fmla="*/ 686156 h 5292022"/>
              <a:gd name="connsiteX32-45209" fmla="*/ 10388306 w 10693106"/>
              <a:gd name="connsiteY32-45210" fmla="*/ 889356 h 5292022"/>
              <a:gd name="connsiteX33-45211" fmla="*/ 10540706 w 10693106"/>
              <a:gd name="connsiteY33-45212" fmla="*/ 1261889 h 5292022"/>
              <a:gd name="connsiteX34-45213" fmla="*/ 10557640 w 10693106"/>
              <a:gd name="connsiteY34-45214" fmla="*/ 1346556 h 5292022"/>
              <a:gd name="connsiteX35-45215" fmla="*/ 10583040 w 10693106"/>
              <a:gd name="connsiteY35-45216" fmla="*/ 1448156 h 5292022"/>
              <a:gd name="connsiteX36-45217" fmla="*/ 10616906 w 10693106"/>
              <a:gd name="connsiteY36-45218" fmla="*/ 1651356 h 5292022"/>
              <a:gd name="connsiteX37-45219" fmla="*/ 10633840 w 10693106"/>
              <a:gd name="connsiteY37-45220" fmla="*/ 1736022 h 5292022"/>
              <a:gd name="connsiteX38-45221" fmla="*/ 10650773 w 10693106"/>
              <a:gd name="connsiteY38-45222" fmla="*/ 1769889 h 5292022"/>
              <a:gd name="connsiteX39-45223" fmla="*/ 10676173 w 10693106"/>
              <a:gd name="connsiteY39-45224" fmla="*/ 1854556 h 5292022"/>
              <a:gd name="connsiteX40-45225" fmla="*/ 10693106 w 10693106"/>
              <a:gd name="connsiteY40-45226" fmla="*/ 2006956 h 5292022"/>
              <a:gd name="connsiteX41-45227" fmla="*/ 10625373 w 10693106"/>
              <a:gd name="connsiteY41-45228" fmla="*/ 2227089 h 5292022"/>
              <a:gd name="connsiteX42-45229" fmla="*/ 10608440 w 10693106"/>
              <a:gd name="connsiteY42-45230" fmla="*/ 2252489 h 5292022"/>
              <a:gd name="connsiteX43-45231" fmla="*/ 10430640 w 10693106"/>
              <a:gd name="connsiteY43-45232" fmla="*/ 2709689 h 5292022"/>
              <a:gd name="connsiteX44-45233" fmla="*/ 10362906 w 10693106"/>
              <a:gd name="connsiteY44-45234" fmla="*/ 2912889 h 5292022"/>
              <a:gd name="connsiteX45-45235" fmla="*/ 10329040 w 10693106"/>
              <a:gd name="connsiteY45-45236" fmla="*/ 2955222 h 5292022"/>
              <a:gd name="connsiteX46-45237" fmla="*/ 9948040 w 10693106"/>
              <a:gd name="connsiteY46-45238" fmla="*/ 3336222 h 5292022"/>
              <a:gd name="connsiteX47-45239" fmla="*/ 9067506 w 10693106"/>
              <a:gd name="connsiteY47-45240" fmla="*/ 3861156 h 5292022"/>
              <a:gd name="connsiteX48-45241" fmla="*/ 8373240 w 10693106"/>
              <a:gd name="connsiteY48-45242" fmla="*/ 4140556 h 5292022"/>
              <a:gd name="connsiteX49-45243" fmla="*/ 7966840 w 10693106"/>
              <a:gd name="connsiteY49-45244" fmla="*/ 4233689 h 5292022"/>
              <a:gd name="connsiteX50-45245" fmla="*/ 7687440 w 10693106"/>
              <a:gd name="connsiteY50-45246" fmla="*/ 4394556 h 5292022"/>
              <a:gd name="connsiteX51-45247" fmla="*/ 7374173 w 10693106"/>
              <a:gd name="connsiteY51-45248" fmla="*/ 4657022 h 5292022"/>
              <a:gd name="connsiteX52-45249" fmla="*/ 7374173 w 10693106"/>
              <a:gd name="connsiteY52-45250" fmla="*/ 4657022 h 5292022"/>
              <a:gd name="connsiteX53-45251" fmla="*/ 7221773 w 10693106"/>
              <a:gd name="connsiteY53-45252" fmla="*/ 4775556 h 5292022"/>
              <a:gd name="connsiteX54-45253" fmla="*/ 7027040 w 10693106"/>
              <a:gd name="connsiteY54-45254" fmla="*/ 4902556 h 5292022"/>
              <a:gd name="connsiteX55-45255" fmla="*/ 6883106 w 10693106"/>
              <a:gd name="connsiteY55-45256" fmla="*/ 4970289 h 5292022"/>
              <a:gd name="connsiteX56-45257" fmla="*/ 6815373 w 10693106"/>
              <a:gd name="connsiteY56-45258" fmla="*/ 5012622 h 5292022"/>
              <a:gd name="connsiteX57-45259" fmla="*/ 6646040 w 10693106"/>
              <a:gd name="connsiteY57-45260" fmla="*/ 5105756 h 5292022"/>
              <a:gd name="connsiteX58-45261" fmla="*/ 6527506 w 10693106"/>
              <a:gd name="connsiteY58-45262" fmla="*/ 5165022 h 5292022"/>
              <a:gd name="connsiteX59-45263" fmla="*/ 6298906 w 10693106"/>
              <a:gd name="connsiteY59-45264" fmla="*/ 5241222 h 5292022"/>
              <a:gd name="connsiteX60-45265" fmla="*/ 6197306 w 10693106"/>
              <a:gd name="connsiteY60-45266" fmla="*/ 5266622 h 5292022"/>
              <a:gd name="connsiteX61-45267" fmla="*/ 6061840 w 10693106"/>
              <a:gd name="connsiteY61-45268" fmla="*/ 5275089 h 5292022"/>
              <a:gd name="connsiteX62-45269" fmla="*/ 5917906 w 10693106"/>
              <a:gd name="connsiteY62-45270" fmla="*/ 5292022 h 5292022"/>
              <a:gd name="connsiteX63-45271" fmla="*/ 5748573 w 10693106"/>
              <a:gd name="connsiteY63-45272" fmla="*/ 5283556 h 5292022"/>
              <a:gd name="connsiteX64-45273" fmla="*/ 5282906 w 10693106"/>
              <a:gd name="connsiteY64-45274" fmla="*/ 5173489 h 5292022"/>
              <a:gd name="connsiteX65-45275" fmla="*/ 4959480 w 10693106"/>
              <a:gd name="connsiteY65-45276" fmla="*/ 4988069 h 5292022"/>
              <a:gd name="connsiteX66-45277" fmla="*/ 4686853 w 10693106"/>
              <a:gd name="connsiteY66-45278" fmla="*/ 4788256 h 5292022"/>
              <a:gd name="connsiteX67-45279" fmla="*/ 3977346 w 10693106"/>
              <a:gd name="connsiteY67-45280" fmla="*/ 4470544 h 5292022"/>
              <a:gd name="connsiteX68-45281" fmla="*/ 3741550 w 10693106"/>
              <a:gd name="connsiteY68-45282" fmla="*/ 4154102 h 5292022"/>
              <a:gd name="connsiteX69-45283" fmla="*/ 3562056 w 10693106"/>
              <a:gd name="connsiteY69-45284" fmla="*/ 3406919 h 5292022"/>
              <a:gd name="connsiteX70-45285" fmla="*/ 3242440 w 10693106"/>
              <a:gd name="connsiteY70-45286" fmla="*/ 3099156 h 5292022"/>
              <a:gd name="connsiteX71-45287" fmla="*/ 3123906 w 10693106"/>
              <a:gd name="connsiteY71-45288" fmla="*/ 2997556 h 5292022"/>
              <a:gd name="connsiteX72-45289" fmla="*/ 2988440 w 10693106"/>
              <a:gd name="connsiteY72-45290" fmla="*/ 2802822 h 5292022"/>
              <a:gd name="connsiteX73-45291" fmla="*/ 2971506 w 10693106"/>
              <a:gd name="connsiteY73-45292" fmla="*/ 2743556 h 5292022"/>
              <a:gd name="connsiteX74-45293" fmla="*/ 2996906 w 10693106"/>
              <a:gd name="connsiteY74-45294" fmla="*/ 2531889 h 5292022"/>
              <a:gd name="connsiteX75-45295" fmla="*/ 3013840 w 10693106"/>
              <a:gd name="connsiteY75-45296" fmla="*/ 2430289 h 5292022"/>
              <a:gd name="connsiteX76-45297" fmla="*/ 3005373 w 10693106"/>
              <a:gd name="connsiteY76-45298" fmla="*/ 2311756 h 5292022"/>
              <a:gd name="connsiteX77-45299" fmla="*/ 2988440 w 10693106"/>
              <a:gd name="connsiteY77-45300" fmla="*/ 2260956 h 5292022"/>
              <a:gd name="connsiteX78-45301" fmla="*/ 2802173 w 10693106"/>
              <a:gd name="connsiteY78-45302" fmla="*/ 2006956 h 5292022"/>
              <a:gd name="connsiteX79-45303" fmla="*/ 2641306 w 10693106"/>
              <a:gd name="connsiteY79-45304" fmla="*/ 1863022 h 5292022"/>
              <a:gd name="connsiteX80-45305" fmla="*/ 2590506 w 10693106"/>
              <a:gd name="connsiteY80-45306" fmla="*/ 1837622 h 5292022"/>
              <a:gd name="connsiteX81-45307" fmla="*/ 2531240 w 10693106"/>
              <a:gd name="connsiteY81-45308" fmla="*/ 1829156 h 5292022"/>
              <a:gd name="connsiteX82-45309" fmla="*/ 2446573 w 10693106"/>
              <a:gd name="connsiteY82-45310" fmla="*/ 1812222 h 5292022"/>
              <a:gd name="connsiteX83-45311" fmla="*/ 2251840 w 10693106"/>
              <a:gd name="connsiteY83-45312" fmla="*/ 1837622 h 5292022"/>
              <a:gd name="connsiteX84-45313" fmla="*/ 2167173 w 10693106"/>
              <a:gd name="connsiteY84-45314" fmla="*/ 1879956 h 5292022"/>
              <a:gd name="connsiteX85-45315" fmla="*/ 1980906 w 10693106"/>
              <a:gd name="connsiteY85-45316" fmla="*/ 1939222 h 5292022"/>
              <a:gd name="connsiteX86-45317" fmla="*/ 1904706 w 10693106"/>
              <a:gd name="connsiteY86-45318" fmla="*/ 1973089 h 5292022"/>
              <a:gd name="connsiteX87-45319" fmla="*/ 1828506 w 10693106"/>
              <a:gd name="connsiteY87-45320" fmla="*/ 1990022 h 5292022"/>
              <a:gd name="connsiteX88-45321" fmla="*/ 1726906 w 10693106"/>
              <a:gd name="connsiteY88-45322" fmla="*/ 2040822 h 5292022"/>
              <a:gd name="connsiteX89-45323" fmla="*/ 1659173 w 10693106"/>
              <a:gd name="connsiteY89-45324" fmla="*/ 2074689 h 5292022"/>
              <a:gd name="connsiteX90-45325" fmla="*/ 1498306 w 10693106"/>
              <a:gd name="connsiteY90-45326" fmla="*/ 2100089 h 5292022"/>
              <a:gd name="connsiteX91-45327" fmla="*/ 914106 w 10693106"/>
              <a:gd name="connsiteY91-45328" fmla="*/ 2032356 h 5292022"/>
              <a:gd name="connsiteX92-45329" fmla="*/ 617773 w 10693106"/>
              <a:gd name="connsiteY92-45330" fmla="*/ 1922289 h 5292022"/>
              <a:gd name="connsiteX93-45331" fmla="*/ 516173 w 10693106"/>
              <a:gd name="connsiteY93-45332" fmla="*/ 1837622 h 5292022"/>
              <a:gd name="connsiteX94-45333" fmla="*/ 355306 w 10693106"/>
              <a:gd name="connsiteY94-45334" fmla="*/ 1625956 h 5292022"/>
              <a:gd name="connsiteX95-45335" fmla="*/ 296040 w 10693106"/>
              <a:gd name="connsiteY95-45336" fmla="*/ 1524356 h 5292022"/>
              <a:gd name="connsiteX96-45337" fmla="*/ 253706 w 10693106"/>
              <a:gd name="connsiteY96-45338" fmla="*/ 1346556 h 5292022"/>
              <a:gd name="connsiteX97-45339" fmla="*/ 245240 w 10693106"/>
              <a:gd name="connsiteY97-45340" fmla="*/ 1219556 h 5292022"/>
              <a:gd name="connsiteX98-45341" fmla="*/ 236773 w 10693106"/>
              <a:gd name="connsiteY98-45342" fmla="*/ 1117956 h 5292022"/>
              <a:gd name="connsiteX99-45343" fmla="*/ 245240 w 10693106"/>
              <a:gd name="connsiteY99-45344" fmla="*/ 847022 h 5292022"/>
              <a:gd name="connsiteX100-45345" fmla="*/ 236773 w 10693106"/>
              <a:gd name="connsiteY100-45346" fmla="*/ 703089 h 5292022"/>
              <a:gd name="connsiteX101-45347" fmla="*/ 109773 w 10693106"/>
              <a:gd name="connsiteY101-45348" fmla="*/ 559156 h 5292022"/>
              <a:gd name="connsiteX102-45349" fmla="*/ 58973 w 10693106"/>
              <a:gd name="connsiteY102-45350" fmla="*/ 482956 h 5292022"/>
              <a:gd name="connsiteX103-45351" fmla="*/ 16640 w 10693106"/>
              <a:gd name="connsiteY103-45352" fmla="*/ 432156 h 5292022"/>
              <a:gd name="connsiteX104-45353" fmla="*/ 8173 w 10693106"/>
              <a:gd name="connsiteY104-45354" fmla="*/ 389822 h 5292022"/>
              <a:gd name="connsiteX105-45355" fmla="*/ 16640 w 10693106"/>
              <a:gd name="connsiteY105-45356" fmla="*/ 339022 h 5292022"/>
              <a:gd name="connsiteX0-45357" fmla="*/ 16640 w 10693106"/>
              <a:gd name="connsiteY0-45358" fmla="*/ 339022 h 5292022"/>
              <a:gd name="connsiteX1-45359" fmla="*/ 58973 w 10693106"/>
              <a:gd name="connsiteY1-45360" fmla="*/ 245889 h 5292022"/>
              <a:gd name="connsiteX2-45361" fmla="*/ 109773 w 10693106"/>
              <a:gd name="connsiteY2-45362" fmla="*/ 178156 h 5292022"/>
              <a:gd name="connsiteX3-45363" fmla="*/ 202906 w 10693106"/>
              <a:gd name="connsiteY3-45364" fmla="*/ 93489 h 5292022"/>
              <a:gd name="connsiteX4-45365" fmla="*/ 236773 w 10693106"/>
              <a:gd name="connsiteY4-45366" fmla="*/ 68089 h 5292022"/>
              <a:gd name="connsiteX5-45367" fmla="*/ 335410 w 10693106"/>
              <a:gd name="connsiteY5-45368" fmla="*/ 58352 h 5292022"/>
              <a:gd name="connsiteX6-45369" fmla="*/ 382400 w 10693106"/>
              <a:gd name="connsiteY6-45370" fmla="*/ 51156 h 5292022"/>
              <a:gd name="connsiteX7-45371" fmla="*/ 434912 w 10693106"/>
              <a:gd name="connsiteY7-45372" fmla="*/ 70071 h 5292022"/>
              <a:gd name="connsiteX8-45373" fmla="*/ 492697 w 10693106"/>
              <a:gd name="connsiteY8-45374" fmla="*/ 74247 h 5292022"/>
              <a:gd name="connsiteX9-45375" fmla="*/ 822897 w 10693106"/>
              <a:gd name="connsiteY9-45376" fmla="*/ 82713 h 5292022"/>
              <a:gd name="connsiteX10-45377" fmla="*/ 1091906 w 10693106"/>
              <a:gd name="connsiteY10-45378" fmla="*/ 356 h 5292022"/>
              <a:gd name="connsiteX11-45379" fmla="*/ 1235840 w 10693106"/>
              <a:gd name="connsiteY11-45380" fmla="*/ 59622 h 5292022"/>
              <a:gd name="connsiteX12-45381" fmla="*/ 1337440 w 10693106"/>
              <a:gd name="connsiteY12-45382" fmla="*/ 135822 h 5292022"/>
              <a:gd name="connsiteX13-45383" fmla="*/ 1422106 w 10693106"/>
              <a:gd name="connsiteY13-45384" fmla="*/ 245889 h 5292022"/>
              <a:gd name="connsiteX14-45385" fmla="*/ 1481373 w 10693106"/>
              <a:gd name="connsiteY14-45386" fmla="*/ 313622 h 5292022"/>
              <a:gd name="connsiteX15-45387" fmla="*/ 1532173 w 10693106"/>
              <a:gd name="connsiteY15-45388" fmla="*/ 347489 h 5292022"/>
              <a:gd name="connsiteX16-45389" fmla="*/ 1684573 w 10693106"/>
              <a:gd name="connsiteY16-45390" fmla="*/ 406756 h 5292022"/>
              <a:gd name="connsiteX17-45391" fmla="*/ 1760773 w 10693106"/>
              <a:gd name="connsiteY17-45392" fmla="*/ 423689 h 5292022"/>
              <a:gd name="connsiteX18-45393" fmla="*/ 2404240 w 10693106"/>
              <a:gd name="connsiteY18-45394" fmla="*/ 355956 h 5292022"/>
              <a:gd name="connsiteX19-45395" fmla="*/ 3398918 w 10693106"/>
              <a:gd name="connsiteY19-45396" fmla="*/ 72322 h 5292022"/>
              <a:gd name="connsiteX20-45397" fmla="*/ 4529373 w 10693106"/>
              <a:gd name="connsiteY20-45398" fmla="*/ 271289 h 5292022"/>
              <a:gd name="connsiteX21-45399" fmla="*/ 5630810 w 10693106"/>
              <a:gd name="connsiteY21-45400" fmla="*/ 1149898 h 5292022"/>
              <a:gd name="connsiteX22-45401" fmla="*/ 6881490 w 10693106"/>
              <a:gd name="connsiteY22-45402" fmla="*/ 1366452 h 5292022"/>
              <a:gd name="connsiteX23-45403" fmla="*/ 7839032 w 10693106"/>
              <a:gd name="connsiteY23-45404" fmla="*/ 1183996 h 5292022"/>
              <a:gd name="connsiteX24-45405" fmla="*/ 8652640 w 10693106"/>
              <a:gd name="connsiteY24-45406" fmla="*/ 677689 h 5292022"/>
              <a:gd name="connsiteX25-45407" fmla="*/ 8982840 w 10693106"/>
              <a:gd name="connsiteY25-45408" fmla="*/ 398289 h 5292022"/>
              <a:gd name="connsiteX26-45409" fmla="*/ 9380773 w 10693106"/>
              <a:gd name="connsiteY26-45410" fmla="*/ 355956 h 5292022"/>
              <a:gd name="connsiteX27-45411" fmla="*/ 9744840 w 10693106"/>
              <a:gd name="connsiteY27-45412" fmla="*/ 466022 h 5292022"/>
              <a:gd name="connsiteX28-45413" fmla="*/ 9888773 w 10693106"/>
              <a:gd name="connsiteY28-45414" fmla="*/ 508356 h 5292022"/>
              <a:gd name="connsiteX29-45415" fmla="*/ 9998840 w 10693106"/>
              <a:gd name="connsiteY29-45416" fmla="*/ 559156 h 5292022"/>
              <a:gd name="connsiteX30-45417" fmla="*/ 10083506 w 10693106"/>
              <a:gd name="connsiteY30-45418" fmla="*/ 618422 h 5292022"/>
              <a:gd name="connsiteX31-45419" fmla="*/ 10286706 w 10693106"/>
              <a:gd name="connsiteY31-45420" fmla="*/ 686156 h 5292022"/>
              <a:gd name="connsiteX32-45421" fmla="*/ 10388306 w 10693106"/>
              <a:gd name="connsiteY32-45422" fmla="*/ 889356 h 5292022"/>
              <a:gd name="connsiteX33-45423" fmla="*/ 10540706 w 10693106"/>
              <a:gd name="connsiteY33-45424" fmla="*/ 1261889 h 5292022"/>
              <a:gd name="connsiteX34-45425" fmla="*/ 10557640 w 10693106"/>
              <a:gd name="connsiteY34-45426" fmla="*/ 1346556 h 5292022"/>
              <a:gd name="connsiteX35-45427" fmla="*/ 10583040 w 10693106"/>
              <a:gd name="connsiteY35-45428" fmla="*/ 1448156 h 5292022"/>
              <a:gd name="connsiteX36-45429" fmla="*/ 10616906 w 10693106"/>
              <a:gd name="connsiteY36-45430" fmla="*/ 1651356 h 5292022"/>
              <a:gd name="connsiteX37-45431" fmla="*/ 10633840 w 10693106"/>
              <a:gd name="connsiteY37-45432" fmla="*/ 1736022 h 5292022"/>
              <a:gd name="connsiteX38-45433" fmla="*/ 10650773 w 10693106"/>
              <a:gd name="connsiteY38-45434" fmla="*/ 1769889 h 5292022"/>
              <a:gd name="connsiteX39-45435" fmla="*/ 10676173 w 10693106"/>
              <a:gd name="connsiteY39-45436" fmla="*/ 1854556 h 5292022"/>
              <a:gd name="connsiteX40-45437" fmla="*/ 10693106 w 10693106"/>
              <a:gd name="connsiteY40-45438" fmla="*/ 2006956 h 5292022"/>
              <a:gd name="connsiteX41-45439" fmla="*/ 10625373 w 10693106"/>
              <a:gd name="connsiteY41-45440" fmla="*/ 2227089 h 5292022"/>
              <a:gd name="connsiteX42-45441" fmla="*/ 10608440 w 10693106"/>
              <a:gd name="connsiteY42-45442" fmla="*/ 2252489 h 5292022"/>
              <a:gd name="connsiteX43-45443" fmla="*/ 10430640 w 10693106"/>
              <a:gd name="connsiteY43-45444" fmla="*/ 2709689 h 5292022"/>
              <a:gd name="connsiteX44-45445" fmla="*/ 10362906 w 10693106"/>
              <a:gd name="connsiteY44-45446" fmla="*/ 2912889 h 5292022"/>
              <a:gd name="connsiteX45-45447" fmla="*/ 9948040 w 10693106"/>
              <a:gd name="connsiteY45-45448" fmla="*/ 3336222 h 5292022"/>
              <a:gd name="connsiteX46-45449" fmla="*/ 9067506 w 10693106"/>
              <a:gd name="connsiteY46-45450" fmla="*/ 3861156 h 5292022"/>
              <a:gd name="connsiteX47-45451" fmla="*/ 8373240 w 10693106"/>
              <a:gd name="connsiteY47-45452" fmla="*/ 4140556 h 5292022"/>
              <a:gd name="connsiteX48-45453" fmla="*/ 7966840 w 10693106"/>
              <a:gd name="connsiteY48-45454" fmla="*/ 4233689 h 5292022"/>
              <a:gd name="connsiteX49-45455" fmla="*/ 7687440 w 10693106"/>
              <a:gd name="connsiteY49-45456" fmla="*/ 4394556 h 5292022"/>
              <a:gd name="connsiteX50-45457" fmla="*/ 7374173 w 10693106"/>
              <a:gd name="connsiteY50-45458" fmla="*/ 4657022 h 5292022"/>
              <a:gd name="connsiteX51-45459" fmla="*/ 7374173 w 10693106"/>
              <a:gd name="connsiteY51-45460" fmla="*/ 4657022 h 5292022"/>
              <a:gd name="connsiteX52-45461" fmla="*/ 7221773 w 10693106"/>
              <a:gd name="connsiteY52-45462" fmla="*/ 4775556 h 5292022"/>
              <a:gd name="connsiteX53-45463" fmla="*/ 7027040 w 10693106"/>
              <a:gd name="connsiteY53-45464" fmla="*/ 4902556 h 5292022"/>
              <a:gd name="connsiteX54-45465" fmla="*/ 6883106 w 10693106"/>
              <a:gd name="connsiteY54-45466" fmla="*/ 4970289 h 5292022"/>
              <a:gd name="connsiteX55-45467" fmla="*/ 6815373 w 10693106"/>
              <a:gd name="connsiteY55-45468" fmla="*/ 5012622 h 5292022"/>
              <a:gd name="connsiteX56-45469" fmla="*/ 6646040 w 10693106"/>
              <a:gd name="connsiteY56-45470" fmla="*/ 5105756 h 5292022"/>
              <a:gd name="connsiteX57-45471" fmla="*/ 6527506 w 10693106"/>
              <a:gd name="connsiteY57-45472" fmla="*/ 5165022 h 5292022"/>
              <a:gd name="connsiteX58-45473" fmla="*/ 6298906 w 10693106"/>
              <a:gd name="connsiteY58-45474" fmla="*/ 5241222 h 5292022"/>
              <a:gd name="connsiteX59-45475" fmla="*/ 6197306 w 10693106"/>
              <a:gd name="connsiteY59-45476" fmla="*/ 5266622 h 5292022"/>
              <a:gd name="connsiteX60-45477" fmla="*/ 6061840 w 10693106"/>
              <a:gd name="connsiteY60-45478" fmla="*/ 5275089 h 5292022"/>
              <a:gd name="connsiteX61-45479" fmla="*/ 5917906 w 10693106"/>
              <a:gd name="connsiteY61-45480" fmla="*/ 5292022 h 5292022"/>
              <a:gd name="connsiteX62-45481" fmla="*/ 5748573 w 10693106"/>
              <a:gd name="connsiteY62-45482" fmla="*/ 5283556 h 5292022"/>
              <a:gd name="connsiteX63-45483" fmla="*/ 5282906 w 10693106"/>
              <a:gd name="connsiteY63-45484" fmla="*/ 5173489 h 5292022"/>
              <a:gd name="connsiteX64-45485" fmla="*/ 4959480 w 10693106"/>
              <a:gd name="connsiteY64-45486" fmla="*/ 4988069 h 5292022"/>
              <a:gd name="connsiteX65-45487" fmla="*/ 4686853 w 10693106"/>
              <a:gd name="connsiteY65-45488" fmla="*/ 4788256 h 5292022"/>
              <a:gd name="connsiteX66-45489" fmla="*/ 3977346 w 10693106"/>
              <a:gd name="connsiteY66-45490" fmla="*/ 4470544 h 5292022"/>
              <a:gd name="connsiteX67-45491" fmla="*/ 3741550 w 10693106"/>
              <a:gd name="connsiteY67-45492" fmla="*/ 4154102 h 5292022"/>
              <a:gd name="connsiteX68-45493" fmla="*/ 3562056 w 10693106"/>
              <a:gd name="connsiteY68-45494" fmla="*/ 3406919 h 5292022"/>
              <a:gd name="connsiteX69-45495" fmla="*/ 3242440 w 10693106"/>
              <a:gd name="connsiteY69-45496" fmla="*/ 3099156 h 5292022"/>
              <a:gd name="connsiteX70-45497" fmla="*/ 3123906 w 10693106"/>
              <a:gd name="connsiteY70-45498" fmla="*/ 2997556 h 5292022"/>
              <a:gd name="connsiteX71-45499" fmla="*/ 2988440 w 10693106"/>
              <a:gd name="connsiteY71-45500" fmla="*/ 2802822 h 5292022"/>
              <a:gd name="connsiteX72-45501" fmla="*/ 2971506 w 10693106"/>
              <a:gd name="connsiteY72-45502" fmla="*/ 2743556 h 5292022"/>
              <a:gd name="connsiteX73-45503" fmla="*/ 2996906 w 10693106"/>
              <a:gd name="connsiteY73-45504" fmla="*/ 2531889 h 5292022"/>
              <a:gd name="connsiteX74-45505" fmla="*/ 3013840 w 10693106"/>
              <a:gd name="connsiteY74-45506" fmla="*/ 2430289 h 5292022"/>
              <a:gd name="connsiteX75-45507" fmla="*/ 3005373 w 10693106"/>
              <a:gd name="connsiteY75-45508" fmla="*/ 2311756 h 5292022"/>
              <a:gd name="connsiteX76-45509" fmla="*/ 2988440 w 10693106"/>
              <a:gd name="connsiteY76-45510" fmla="*/ 2260956 h 5292022"/>
              <a:gd name="connsiteX77-45511" fmla="*/ 2802173 w 10693106"/>
              <a:gd name="connsiteY77-45512" fmla="*/ 2006956 h 5292022"/>
              <a:gd name="connsiteX78-45513" fmla="*/ 2641306 w 10693106"/>
              <a:gd name="connsiteY78-45514" fmla="*/ 1863022 h 5292022"/>
              <a:gd name="connsiteX79-45515" fmla="*/ 2590506 w 10693106"/>
              <a:gd name="connsiteY79-45516" fmla="*/ 1837622 h 5292022"/>
              <a:gd name="connsiteX80-45517" fmla="*/ 2531240 w 10693106"/>
              <a:gd name="connsiteY80-45518" fmla="*/ 1829156 h 5292022"/>
              <a:gd name="connsiteX81-45519" fmla="*/ 2446573 w 10693106"/>
              <a:gd name="connsiteY81-45520" fmla="*/ 1812222 h 5292022"/>
              <a:gd name="connsiteX82-45521" fmla="*/ 2251840 w 10693106"/>
              <a:gd name="connsiteY82-45522" fmla="*/ 1837622 h 5292022"/>
              <a:gd name="connsiteX83-45523" fmla="*/ 2167173 w 10693106"/>
              <a:gd name="connsiteY83-45524" fmla="*/ 1879956 h 5292022"/>
              <a:gd name="connsiteX84-45525" fmla="*/ 1980906 w 10693106"/>
              <a:gd name="connsiteY84-45526" fmla="*/ 1939222 h 5292022"/>
              <a:gd name="connsiteX85-45527" fmla="*/ 1904706 w 10693106"/>
              <a:gd name="connsiteY85-45528" fmla="*/ 1973089 h 5292022"/>
              <a:gd name="connsiteX86-45529" fmla="*/ 1828506 w 10693106"/>
              <a:gd name="connsiteY86-45530" fmla="*/ 1990022 h 5292022"/>
              <a:gd name="connsiteX87-45531" fmla="*/ 1726906 w 10693106"/>
              <a:gd name="connsiteY87-45532" fmla="*/ 2040822 h 5292022"/>
              <a:gd name="connsiteX88-45533" fmla="*/ 1659173 w 10693106"/>
              <a:gd name="connsiteY88-45534" fmla="*/ 2074689 h 5292022"/>
              <a:gd name="connsiteX89-45535" fmla="*/ 1498306 w 10693106"/>
              <a:gd name="connsiteY89-45536" fmla="*/ 2100089 h 5292022"/>
              <a:gd name="connsiteX90-45537" fmla="*/ 914106 w 10693106"/>
              <a:gd name="connsiteY90-45538" fmla="*/ 2032356 h 5292022"/>
              <a:gd name="connsiteX91-45539" fmla="*/ 617773 w 10693106"/>
              <a:gd name="connsiteY91-45540" fmla="*/ 1922289 h 5292022"/>
              <a:gd name="connsiteX92-45541" fmla="*/ 516173 w 10693106"/>
              <a:gd name="connsiteY92-45542" fmla="*/ 1837622 h 5292022"/>
              <a:gd name="connsiteX93-45543" fmla="*/ 355306 w 10693106"/>
              <a:gd name="connsiteY93-45544" fmla="*/ 1625956 h 5292022"/>
              <a:gd name="connsiteX94-45545" fmla="*/ 296040 w 10693106"/>
              <a:gd name="connsiteY94-45546" fmla="*/ 1524356 h 5292022"/>
              <a:gd name="connsiteX95-45547" fmla="*/ 253706 w 10693106"/>
              <a:gd name="connsiteY95-45548" fmla="*/ 1346556 h 5292022"/>
              <a:gd name="connsiteX96-45549" fmla="*/ 245240 w 10693106"/>
              <a:gd name="connsiteY96-45550" fmla="*/ 1219556 h 5292022"/>
              <a:gd name="connsiteX97-45551" fmla="*/ 236773 w 10693106"/>
              <a:gd name="connsiteY97-45552" fmla="*/ 1117956 h 5292022"/>
              <a:gd name="connsiteX98-45553" fmla="*/ 245240 w 10693106"/>
              <a:gd name="connsiteY98-45554" fmla="*/ 847022 h 5292022"/>
              <a:gd name="connsiteX99-45555" fmla="*/ 236773 w 10693106"/>
              <a:gd name="connsiteY99-45556" fmla="*/ 703089 h 5292022"/>
              <a:gd name="connsiteX100-45557" fmla="*/ 109773 w 10693106"/>
              <a:gd name="connsiteY100-45558" fmla="*/ 559156 h 5292022"/>
              <a:gd name="connsiteX101-45559" fmla="*/ 58973 w 10693106"/>
              <a:gd name="connsiteY101-45560" fmla="*/ 482956 h 5292022"/>
              <a:gd name="connsiteX102-45561" fmla="*/ 16640 w 10693106"/>
              <a:gd name="connsiteY102-45562" fmla="*/ 432156 h 5292022"/>
              <a:gd name="connsiteX103-45563" fmla="*/ 8173 w 10693106"/>
              <a:gd name="connsiteY103-45564" fmla="*/ 389822 h 5292022"/>
              <a:gd name="connsiteX104-45565" fmla="*/ 16640 w 10693106"/>
              <a:gd name="connsiteY104-45566" fmla="*/ 339022 h 5292022"/>
              <a:gd name="connsiteX0-45567" fmla="*/ 16640 w 10693106"/>
              <a:gd name="connsiteY0-45568" fmla="*/ 339022 h 5292022"/>
              <a:gd name="connsiteX1-45569" fmla="*/ 58973 w 10693106"/>
              <a:gd name="connsiteY1-45570" fmla="*/ 245889 h 5292022"/>
              <a:gd name="connsiteX2-45571" fmla="*/ 109773 w 10693106"/>
              <a:gd name="connsiteY2-45572" fmla="*/ 178156 h 5292022"/>
              <a:gd name="connsiteX3-45573" fmla="*/ 202906 w 10693106"/>
              <a:gd name="connsiteY3-45574" fmla="*/ 93489 h 5292022"/>
              <a:gd name="connsiteX4-45575" fmla="*/ 236773 w 10693106"/>
              <a:gd name="connsiteY4-45576" fmla="*/ 68089 h 5292022"/>
              <a:gd name="connsiteX5-45577" fmla="*/ 335410 w 10693106"/>
              <a:gd name="connsiteY5-45578" fmla="*/ 58352 h 5292022"/>
              <a:gd name="connsiteX6-45579" fmla="*/ 382400 w 10693106"/>
              <a:gd name="connsiteY6-45580" fmla="*/ 51156 h 5292022"/>
              <a:gd name="connsiteX7-45581" fmla="*/ 434912 w 10693106"/>
              <a:gd name="connsiteY7-45582" fmla="*/ 70071 h 5292022"/>
              <a:gd name="connsiteX8-45583" fmla="*/ 492697 w 10693106"/>
              <a:gd name="connsiteY8-45584" fmla="*/ 74247 h 5292022"/>
              <a:gd name="connsiteX9-45585" fmla="*/ 822897 w 10693106"/>
              <a:gd name="connsiteY9-45586" fmla="*/ 82713 h 5292022"/>
              <a:gd name="connsiteX10-45587" fmla="*/ 1091906 w 10693106"/>
              <a:gd name="connsiteY10-45588" fmla="*/ 356 h 5292022"/>
              <a:gd name="connsiteX11-45589" fmla="*/ 1235840 w 10693106"/>
              <a:gd name="connsiteY11-45590" fmla="*/ 59622 h 5292022"/>
              <a:gd name="connsiteX12-45591" fmla="*/ 1337440 w 10693106"/>
              <a:gd name="connsiteY12-45592" fmla="*/ 135822 h 5292022"/>
              <a:gd name="connsiteX13-45593" fmla="*/ 1422106 w 10693106"/>
              <a:gd name="connsiteY13-45594" fmla="*/ 245889 h 5292022"/>
              <a:gd name="connsiteX14-45595" fmla="*/ 1481373 w 10693106"/>
              <a:gd name="connsiteY14-45596" fmla="*/ 313622 h 5292022"/>
              <a:gd name="connsiteX15-45597" fmla="*/ 1532173 w 10693106"/>
              <a:gd name="connsiteY15-45598" fmla="*/ 347489 h 5292022"/>
              <a:gd name="connsiteX16-45599" fmla="*/ 1684573 w 10693106"/>
              <a:gd name="connsiteY16-45600" fmla="*/ 406756 h 5292022"/>
              <a:gd name="connsiteX17-45601" fmla="*/ 1760773 w 10693106"/>
              <a:gd name="connsiteY17-45602" fmla="*/ 423689 h 5292022"/>
              <a:gd name="connsiteX18-45603" fmla="*/ 2404240 w 10693106"/>
              <a:gd name="connsiteY18-45604" fmla="*/ 355956 h 5292022"/>
              <a:gd name="connsiteX19-45605" fmla="*/ 3398918 w 10693106"/>
              <a:gd name="connsiteY19-45606" fmla="*/ 72322 h 5292022"/>
              <a:gd name="connsiteX20-45607" fmla="*/ 4529373 w 10693106"/>
              <a:gd name="connsiteY20-45608" fmla="*/ 271289 h 5292022"/>
              <a:gd name="connsiteX21-45609" fmla="*/ 5630810 w 10693106"/>
              <a:gd name="connsiteY21-45610" fmla="*/ 1149898 h 5292022"/>
              <a:gd name="connsiteX22-45611" fmla="*/ 6881490 w 10693106"/>
              <a:gd name="connsiteY22-45612" fmla="*/ 1366452 h 5292022"/>
              <a:gd name="connsiteX23-45613" fmla="*/ 7839032 w 10693106"/>
              <a:gd name="connsiteY23-45614" fmla="*/ 1183996 h 5292022"/>
              <a:gd name="connsiteX24-45615" fmla="*/ 8652640 w 10693106"/>
              <a:gd name="connsiteY24-45616" fmla="*/ 677689 h 5292022"/>
              <a:gd name="connsiteX25-45617" fmla="*/ 8982840 w 10693106"/>
              <a:gd name="connsiteY25-45618" fmla="*/ 398289 h 5292022"/>
              <a:gd name="connsiteX26-45619" fmla="*/ 9380773 w 10693106"/>
              <a:gd name="connsiteY26-45620" fmla="*/ 355956 h 5292022"/>
              <a:gd name="connsiteX27-45621" fmla="*/ 9744840 w 10693106"/>
              <a:gd name="connsiteY27-45622" fmla="*/ 466022 h 5292022"/>
              <a:gd name="connsiteX28-45623" fmla="*/ 9888773 w 10693106"/>
              <a:gd name="connsiteY28-45624" fmla="*/ 508356 h 5292022"/>
              <a:gd name="connsiteX29-45625" fmla="*/ 9998840 w 10693106"/>
              <a:gd name="connsiteY29-45626" fmla="*/ 559156 h 5292022"/>
              <a:gd name="connsiteX30-45627" fmla="*/ 10083506 w 10693106"/>
              <a:gd name="connsiteY30-45628" fmla="*/ 618422 h 5292022"/>
              <a:gd name="connsiteX31-45629" fmla="*/ 10286706 w 10693106"/>
              <a:gd name="connsiteY31-45630" fmla="*/ 686156 h 5292022"/>
              <a:gd name="connsiteX32-45631" fmla="*/ 10388306 w 10693106"/>
              <a:gd name="connsiteY32-45632" fmla="*/ 889356 h 5292022"/>
              <a:gd name="connsiteX33-45633" fmla="*/ 10540706 w 10693106"/>
              <a:gd name="connsiteY33-45634" fmla="*/ 1261889 h 5292022"/>
              <a:gd name="connsiteX34-45635" fmla="*/ 10557640 w 10693106"/>
              <a:gd name="connsiteY34-45636" fmla="*/ 1346556 h 5292022"/>
              <a:gd name="connsiteX35-45637" fmla="*/ 10583040 w 10693106"/>
              <a:gd name="connsiteY35-45638" fmla="*/ 1448156 h 5292022"/>
              <a:gd name="connsiteX36-45639" fmla="*/ 10616906 w 10693106"/>
              <a:gd name="connsiteY36-45640" fmla="*/ 1651356 h 5292022"/>
              <a:gd name="connsiteX37-45641" fmla="*/ 10633840 w 10693106"/>
              <a:gd name="connsiteY37-45642" fmla="*/ 1736022 h 5292022"/>
              <a:gd name="connsiteX38-45643" fmla="*/ 10650773 w 10693106"/>
              <a:gd name="connsiteY38-45644" fmla="*/ 1769889 h 5292022"/>
              <a:gd name="connsiteX39-45645" fmla="*/ 10676173 w 10693106"/>
              <a:gd name="connsiteY39-45646" fmla="*/ 1854556 h 5292022"/>
              <a:gd name="connsiteX40-45647" fmla="*/ 10693106 w 10693106"/>
              <a:gd name="connsiteY40-45648" fmla="*/ 2006956 h 5292022"/>
              <a:gd name="connsiteX41-45649" fmla="*/ 10625373 w 10693106"/>
              <a:gd name="connsiteY41-45650" fmla="*/ 2227089 h 5292022"/>
              <a:gd name="connsiteX42-45651" fmla="*/ 10608440 w 10693106"/>
              <a:gd name="connsiteY42-45652" fmla="*/ 2252489 h 5292022"/>
              <a:gd name="connsiteX43-45653" fmla="*/ 10362906 w 10693106"/>
              <a:gd name="connsiteY43-45654" fmla="*/ 2912889 h 5292022"/>
              <a:gd name="connsiteX44-45655" fmla="*/ 9948040 w 10693106"/>
              <a:gd name="connsiteY44-45656" fmla="*/ 3336222 h 5292022"/>
              <a:gd name="connsiteX45-45657" fmla="*/ 9067506 w 10693106"/>
              <a:gd name="connsiteY45-45658" fmla="*/ 3861156 h 5292022"/>
              <a:gd name="connsiteX46-45659" fmla="*/ 8373240 w 10693106"/>
              <a:gd name="connsiteY46-45660" fmla="*/ 4140556 h 5292022"/>
              <a:gd name="connsiteX47-45661" fmla="*/ 7966840 w 10693106"/>
              <a:gd name="connsiteY47-45662" fmla="*/ 4233689 h 5292022"/>
              <a:gd name="connsiteX48-45663" fmla="*/ 7687440 w 10693106"/>
              <a:gd name="connsiteY48-45664" fmla="*/ 4394556 h 5292022"/>
              <a:gd name="connsiteX49-45665" fmla="*/ 7374173 w 10693106"/>
              <a:gd name="connsiteY49-45666" fmla="*/ 4657022 h 5292022"/>
              <a:gd name="connsiteX50-45667" fmla="*/ 7374173 w 10693106"/>
              <a:gd name="connsiteY50-45668" fmla="*/ 4657022 h 5292022"/>
              <a:gd name="connsiteX51-45669" fmla="*/ 7221773 w 10693106"/>
              <a:gd name="connsiteY51-45670" fmla="*/ 4775556 h 5292022"/>
              <a:gd name="connsiteX52-45671" fmla="*/ 7027040 w 10693106"/>
              <a:gd name="connsiteY52-45672" fmla="*/ 4902556 h 5292022"/>
              <a:gd name="connsiteX53-45673" fmla="*/ 6883106 w 10693106"/>
              <a:gd name="connsiteY53-45674" fmla="*/ 4970289 h 5292022"/>
              <a:gd name="connsiteX54-45675" fmla="*/ 6815373 w 10693106"/>
              <a:gd name="connsiteY54-45676" fmla="*/ 5012622 h 5292022"/>
              <a:gd name="connsiteX55-45677" fmla="*/ 6646040 w 10693106"/>
              <a:gd name="connsiteY55-45678" fmla="*/ 5105756 h 5292022"/>
              <a:gd name="connsiteX56-45679" fmla="*/ 6527506 w 10693106"/>
              <a:gd name="connsiteY56-45680" fmla="*/ 5165022 h 5292022"/>
              <a:gd name="connsiteX57-45681" fmla="*/ 6298906 w 10693106"/>
              <a:gd name="connsiteY57-45682" fmla="*/ 5241222 h 5292022"/>
              <a:gd name="connsiteX58-45683" fmla="*/ 6197306 w 10693106"/>
              <a:gd name="connsiteY58-45684" fmla="*/ 5266622 h 5292022"/>
              <a:gd name="connsiteX59-45685" fmla="*/ 6061840 w 10693106"/>
              <a:gd name="connsiteY59-45686" fmla="*/ 5275089 h 5292022"/>
              <a:gd name="connsiteX60-45687" fmla="*/ 5917906 w 10693106"/>
              <a:gd name="connsiteY60-45688" fmla="*/ 5292022 h 5292022"/>
              <a:gd name="connsiteX61-45689" fmla="*/ 5748573 w 10693106"/>
              <a:gd name="connsiteY61-45690" fmla="*/ 5283556 h 5292022"/>
              <a:gd name="connsiteX62-45691" fmla="*/ 5282906 w 10693106"/>
              <a:gd name="connsiteY62-45692" fmla="*/ 5173489 h 5292022"/>
              <a:gd name="connsiteX63-45693" fmla="*/ 4959480 w 10693106"/>
              <a:gd name="connsiteY63-45694" fmla="*/ 4988069 h 5292022"/>
              <a:gd name="connsiteX64-45695" fmla="*/ 4686853 w 10693106"/>
              <a:gd name="connsiteY64-45696" fmla="*/ 4788256 h 5292022"/>
              <a:gd name="connsiteX65-45697" fmla="*/ 3977346 w 10693106"/>
              <a:gd name="connsiteY65-45698" fmla="*/ 4470544 h 5292022"/>
              <a:gd name="connsiteX66-45699" fmla="*/ 3741550 w 10693106"/>
              <a:gd name="connsiteY66-45700" fmla="*/ 4154102 h 5292022"/>
              <a:gd name="connsiteX67-45701" fmla="*/ 3562056 w 10693106"/>
              <a:gd name="connsiteY67-45702" fmla="*/ 3406919 h 5292022"/>
              <a:gd name="connsiteX68-45703" fmla="*/ 3242440 w 10693106"/>
              <a:gd name="connsiteY68-45704" fmla="*/ 3099156 h 5292022"/>
              <a:gd name="connsiteX69-45705" fmla="*/ 3123906 w 10693106"/>
              <a:gd name="connsiteY69-45706" fmla="*/ 2997556 h 5292022"/>
              <a:gd name="connsiteX70-45707" fmla="*/ 2988440 w 10693106"/>
              <a:gd name="connsiteY70-45708" fmla="*/ 2802822 h 5292022"/>
              <a:gd name="connsiteX71-45709" fmla="*/ 2971506 w 10693106"/>
              <a:gd name="connsiteY71-45710" fmla="*/ 2743556 h 5292022"/>
              <a:gd name="connsiteX72-45711" fmla="*/ 2996906 w 10693106"/>
              <a:gd name="connsiteY72-45712" fmla="*/ 2531889 h 5292022"/>
              <a:gd name="connsiteX73-45713" fmla="*/ 3013840 w 10693106"/>
              <a:gd name="connsiteY73-45714" fmla="*/ 2430289 h 5292022"/>
              <a:gd name="connsiteX74-45715" fmla="*/ 3005373 w 10693106"/>
              <a:gd name="connsiteY74-45716" fmla="*/ 2311756 h 5292022"/>
              <a:gd name="connsiteX75-45717" fmla="*/ 2988440 w 10693106"/>
              <a:gd name="connsiteY75-45718" fmla="*/ 2260956 h 5292022"/>
              <a:gd name="connsiteX76-45719" fmla="*/ 2802173 w 10693106"/>
              <a:gd name="connsiteY76-45720" fmla="*/ 2006956 h 5292022"/>
              <a:gd name="connsiteX77-45721" fmla="*/ 2641306 w 10693106"/>
              <a:gd name="connsiteY77-45722" fmla="*/ 1863022 h 5292022"/>
              <a:gd name="connsiteX78-45723" fmla="*/ 2590506 w 10693106"/>
              <a:gd name="connsiteY78-45724" fmla="*/ 1837622 h 5292022"/>
              <a:gd name="connsiteX79-45725" fmla="*/ 2531240 w 10693106"/>
              <a:gd name="connsiteY79-45726" fmla="*/ 1829156 h 5292022"/>
              <a:gd name="connsiteX80-45727" fmla="*/ 2446573 w 10693106"/>
              <a:gd name="connsiteY80-45728" fmla="*/ 1812222 h 5292022"/>
              <a:gd name="connsiteX81-45729" fmla="*/ 2251840 w 10693106"/>
              <a:gd name="connsiteY81-45730" fmla="*/ 1837622 h 5292022"/>
              <a:gd name="connsiteX82-45731" fmla="*/ 2167173 w 10693106"/>
              <a:gd name="connsiteY82-45732" fmla="*/ 1879956 h 5292022"/>
              <a:gd name="connsiteX83-45733" fmla="*/ 1980906 w 10693106"/>
              <a:gd name="connsiteY83-45734" fmla="*/ 1939222 h 5292022"/>
              <a:gd name="connsiteX84-45735" fmla="*/ 1904706 w 10693106"/>
              <a:gd name="connsiteY84-45736" fmla="*/ 1973089 h 5292022"/>
              <a:gd name="connsiteX85-45737" fmla="*/ 1828506 w 10693106"/>
              <a:gd name="connsiteY85-45738" fmla="*/ 1990022 h 5292022"/>
              <a:gd name="connsiteX86-45739" fmla="*/ 1726906 w 10693106"/>
              <a:gd name="connsiteY86-45740" fmla="*/ 2040822 h 5292022"/>
              <a:gd name="connsiteX87-45741" fmla="*/ 1659173 w 10693106"/>
              <a:gd name="connsiteY87-45742" fmla="*/ 2074689 h 5292022"/>
              <a:gd name="connsiteX88-45743" fmla="*/ 1498306 w 10693106"/>
              <a:gd name="connsiteY88-45744" fmla="*/ 2100089 h 5292022"/>
              <a:gd name="connsiteX89-45745" fmla="*/ 914106 w 10693106"/>
              <a:gd name="connsiteY89-45746" fmla="*/ 2032356 h 5292022"/>
              <a:gd name="connsiteX90-45747" fmla="*/ 617773 w 10693106"/>
              <a:gd name="connsiteY90-45748" fmla="*/ 1922289 h 5292022"/>
              <a:gd name="connsiteX91-45749" fmla="*/ 516173 w 10693106"/>
              <a:gd name="connsiteY91-45750" fmla="*/ 1837622 h 5292022"/>
              <a:gd name="connsiteX92-45751" fmla="*/ 355306 w 10693106"/>
              <a:gd name="connsiteY92-45752" fmla="*/ 1625956 h 5292022"/>
              <a:gd name="connsiteX93-45753" fmla="*/ 296040 w 10693106"/>
              <a:gd name="connsiteY93-45754" fmla="*/ 1524356 h 5292022"/>
              <a:gd name="connsiteX94-45755" fmla="*/ 253706 w 10693106"/>
              <a:gd name="connsiteY94-45756" fmla="*/ 1346556 h 5292022"/>
              <a:gd name="connsiteX95-45757" fmla="*/ 245240 w 10693106"/>
              <a:gd name="connsiteY95-45758" fmla="*/ 1219556 h 5292022"/>
              <a:gd name="connsiteX96-45759" fmla="*/ 236773 w 10693106"/>
              <a:gd name="connsiteY96-45760" fmla="*/ 1117956 h 5292022"/>
              <a:gd name="connsiteX97-45761" fmla="*/ 245240 w 10693106"/>
              <a:gd name="connsiteY97-45762" fmla="*/ 847022 h 5292022"/>
              <a:gd name="connsiteX98-45763" fmla="*/ 236773 w 10693106"/>
              <a:gd name="connsiteY98-45764" fmla="*/ 703089 h 5292022"/>
              <a:gd name="connsiteX99-45765" fmla="*/ 109773 w 10693106"/>
              <a:gd name="connsiteY99-45766" fmla="*/ 559156 h 5292022"/>
              <a:gd name="connsiteX100-45767" fmla="*/ 58973 w 10693106"/>
              <a:gd name="connsiteY100-45768" fmla="*/ 482956 h 5292022"/>
              <a:gd name="connsiteX101-45769" fmla="*/ 16640 w 10693106"/>
              <a:gd name="connsiteY101-45770" fmla="*/ 432156 h 5292022"/>
              <a:gd name="connsiteX102-45771" fmla="*/ 8173 w 10693106"/>
              <a:gd name="connsiteY102-45772" fmla="*/ 389822 h 5292022"/>
              <a:gd name="connsiteX103-45773" fmla="*/ 16640 w 10693106"/>
              <a:gd name="connsiteY103-45774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904706 w 10693106"/>
              <a:gd name="connsiteY84" fmla="*/ 1973089 h 5292022"/>
              <a:gd name="connsiteX85" fmla="*/ 1828506 w 10693106"/>
              <a:gd name="connsiteY85" fmla="*/ 1990022 h 5292022"/>
              <a:gd name="connsiteX86" fmla="*/ 1726906 w 10693106"/>
              <a:gd name="connsiteY86" fmla="*/ 2040822 h 5292022"/>
              <a:gd name="connsiteX87" fmla="*/ 1659173 w 10693106"/>
              <a:gd name="connsiteY87" fmla="*/ 2074689 h 5292022"/>
              <a:gd name="connsiteX88" fmla="*/ 1498306 w 10693106"/>
              <a:gd name="connsiteY88" fmla="*/ 2100089 h 5292022"/>
              <a:gd name="connsiteX89" fmla="*/ 914106 w 10693106"/>
              <a:gd name="connsiteY89" fmla="*/ 2032356 h 5292022"/>
              <a:gd name="connsiteX90" fmla="*/ 617773 w 10693106"/>
              <a:gd name="connsiteY90" fmla="*/ 1922289 h 5292022"/>
              <a:gd name="connsiteX91" fmla="*/ 516173 w 10693106"/>
              <a:gd name="connsiteY91" fmla="*/ 1837622 h 5292022"/>
              <a:gd name="connsiteX92" fmla="*/ 355306 w 10693106"/>
              <a:gd name="connsiteY92" fmla="*/ 1625956 h 5292022"/>
              <a:gd name="connsiteX93" fmla="*/ 296040 w 10693106"/>
              <a:gd name="connsiteY93" fmla="*/ 1524356 h 5292022"/>
              <a:gd name="connsiteX94" fmla="*/ 245240 w 10693106"/>
              <a:gd name="connsiteY94" fmla="*/ 1219556 h 5292022"/>
              <a:gd name="connsiteX95" fmla="*/ 236773 w 10693106"/>
              <a:gd name="connsiteY95" fmla="*/ 1117956 h 5292022"/>
              <a:gd name="connsiteX96" fmla="*/ 245240 w 10693106"/>
              <a:gd name="connsiteY96" fmla="*/ 847022 h 5292022"/>
              <a:gd name="connsiteX97" fmla="*/ 236773 w 10693106"/>
              <a:gd name="connsiteY97" fmla="*/ 703089 h 5292022"/>
              <a:gd name="connsiteX98" fmla="*/ 109773 w 10693106"/>
              <a:gd name="connsiteY98" fmla="*/ 559156 h 5292022"/>
              <a:gd name="connsiteX99" fmla="*/ 58973 w 10693106"/>
              <a:gd name="connsiteY99" fmla="*/ 482956 h 5292022"/>
              <a:gd name="connsiteX100" fmla="*/ 16640 w 10693106"/>
              <a:gd name="connsiteY100" fmla="*/ 432156 h 5292022"/>
              <a:gd name="connsiteX101" fmla="*/ 8173 w 10693106"/>
              <a:gd name="connsiteY101" fmla="*/ 389822 h 5292022"/>
              <a:gd name="connsiteX102" fmla="*/ 16640 w 10693106"/>
              <a:gd name="connsiteY102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904706 w 10693106"/>
              <a:gd name="connsiteY84" fmla="*/ 1973089 h 5292022"/>
              <a:gd name="connsiteX85" fmla="*/ 1828506 w 10693106"/>
              <a:gd name="connsiteY85" fmla="*/ 1990022 h 5292022"/>
              <a:gd name="connsiteX86" fmla="*/ 1726906 w 10693106"/>
              <a:gd name="connsiteY86" fmla="*/ 2040822 h 5292022"/>
              <a:gd name="connsiteX87" fmla="*/ 1659173 w 10693106"/>
              <a:gd name="connsiteY87" fmla="*/ 2074689 h 5292022"/>
              <a:gd name="connsiteX88" fmla="*/ 1498306 w 10693106"/>
              <a:gd name="connsiteY88" fmla="*/ 2100089 h 5292022"/>
              <a:gd name="connsiteX89" fmla="*/ 914106 w 10693106"/>
              <a:gd name="connsiteY89" fmla="*/ 2032356 h 5292022"/>
              <a:gd name="connsiteX90" fmla="*/ 617773 w 10693106"/>
              <a:gd name="connsiteY90" fmla="*/ 1922289 h 5292022"/>
              <a:gd name="connsiteX91" fmla="*/ 516173 w 10693106"/>
              <a:gd name="connsiteY91" fmla="*/ 1837622 h 5292022"/>
              <a:gd name="connsiteX92" fmla="*/ 355306 w 10693106"/>
              <a:gd name="connsiteY92" fmla="*/ 1625956 h 5292022"/>
              <a:gd name="connsiteX93" fmla="*/ 296040 w 10693106"/>
              <a:gd name="connsiteY93" fmla="*/ 1524356 h 5292022"/>
              <a:gd name="connsiteX94" fmla="*/ 245240 w 10693106"/>
              <a:gd name="connsiteY94" fmla="*/ 1219556 h 5292022"/>
              <a:gd name="connsiteX95" fmla="*/ 245240 w 10693106"/>
              <a:gd name="connsiteY95" fmla="*/ 847022 h 5292022"/>
              <a:gd name="connsiteX96" fmla="*/ 236773 w 10693106"/>
              <a:gd name="connsiteY96" fmla="*/ 703089 h 5292022"/>
              <a:gd name="connsiteX97" fmla="*/ 109773 w 10693106"/>
              <a:gd name="connsiteY97" fmla="*/ 559156 h 5292022"/>
              <a:gd name="connsiteX98" fmla="*/ 58973 w 10693106"/>
              <a:gd name="connsiteY98" fmla="*/ 482956 h 5292022"/>
              <a:gd name="connsiteX99" fmla="*/ 16640 w 10693106"/>
              <a:gd name="connsiteY99" fmla="*/ 432156 h 5292022"/>
              <a:gd name="connsiteX100" fmla="*/ 8173 w 10693106"/>
              <a:gd name="connsiteY100" fmla="*/ 389822 h 5292022"/>
              <a:gd name="connsiteX101" fmla="*/ 16640 w 10693106"/>
              <a:gd name="connsiteY101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904706 w 10693106"/>
              <a:gd name="connsiteY84" fmla="*/ 1973089 h 5292022"/>
              <a:gd name="connsiteX85" fmla="*/ 1828506 w 10693106"/>
              <a:gd name="connsiteY85" fmla="*/ 1990022 h 5292022"/>
              <a:gd name="connsiteX86" fmla="*/ 1726906 w 10693106"/>
              <a:gd name="connsiteY86" fmla="*/ 2040822 h 5292022"/>
              <a:gd name="connsiteX87" fmla="*/ 1659173 w 10693106"/>
              <a:gd name="connsiteY87" fmla="*/ 2074689 h 5292022"/>
              <a:gd name="connsiteX88" fmla="*/ 1498306 w 10693106"/>
              <a:gd name="connsiteY88" fmla="*/ 2100089 h 5292022"/>
              <a:gd name="connsiteX89" fmla="*/ 914106 w 10693106"/>
              <a:gd name="connsiteY89" fmla="*/ 2032356 h 5292022"/>
              <a:gd name="connsiteX90" fmla="*/ 617773 w 10693106"/>
              <a:gd name="connsiteY90" fmla="*/ 1922289 h 5292022"/>
              <a:gd name="connsiteX91" fmla="*/ 516173 w 10693106"/>
              <a:gd name="connsiteY91" fmla="*/ 1837622 h 5292022"/>
              <a:gd name="connsiteX92" fmla="*/ 296040 w 10693106"/>
              <a:gd name="connsiteY92" fmla="*/ 1524356 h 5292022"/>
              <a:gd name="connsiteX93" fmla="*/ 245240 w 10693106"/>
              <a:gd name="connsiteY93" fmla="*/ 1219556 h 5292022"/>
              <a:gd name="connsiteX94" fmla="*/ 245240 w 10693106"/>
              <a:gd name="connsiteY94" fmla="*/ 847022 h 5292022"/>
              <a:gd name="connsiteX95" fmla="*/ 236773 w 10693106"/>
              <a:gd name="connsiteY95" fmla="*/ 703089 h 5292022"/>
              <a:gd name="connsiteX96" fmla="*/ 109773 w 10693106"/>
              <a:gd name="connsiteY96" fmla="*/ 559156 h 5292022"/>
              <a:gd name="connsiteX97" fmla="*/ 58973 w 10693106"/>
              <a:gd name="connsiteY97" fmla="*/ 482956 h 5292022"/>
              <a:gd name="connsiteX98" fmla="*/ 16640 w 10693106"/>
              <a:gd name="connsiteY98" fmla="*/ 432156 h 5292022"/>
              <a:gd name="connsiteX99" fmla="*/ 8173 w 10693106"/>
              <a:gd name="connsiteY99" fmla="*/ 389822 h 5292022"/>
              <a:gd name="connsiteX100" fmla="*/ 16640 w 10693106"/>
              <a:gd name="connsiteY100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904706 w 10693106"/>
              <a:gd name="connsiteY84" fmla="*/ 1973089 h 5292022"/>
              <a:gd name="connsiteX85" fmla="*/ 1828506 w 10693106"/>
              <a:gd name="connsiteY85" fmla="*/ 1990022 h 5292022"/>
              <a:gd name="connsiteX86" fmla="*/ 1726906 w 10693106"/>
              <a:gd name="connsiteY86" fmla="*/ 2040822 h 5292022"/>
              <a:gd name="connsiteX87" fmla="*/ 1659173 w 10693106"/>
              <a:gd name="connsiteY87" fmla="*/ 2074689 h 5292022"/>
              <a:gd name="connsiteX88" fmla="*/ 1498306 w 10693106"/>
              <a:gd name="connsiteY88" fmla="*/ 2100089 h 5292022"/>
              <a:gd name="connsiteX89" fmla="*/ 914106 w 10693106"/>
              <a:gd name="connsiteY89" fmla="*/ 2032356 h 5292022"/>
              <a:gd name="connsiteX90" fmla="*/ 617773 w 10693106"/>
              <a:gd name="connsiteY90" fmla="*/ 1922289 h 5292022"/>
              <a:gd name="connsiteX91" fmla="*/ 296040 w 10693106"/>
              <a:gd name="connsiteY91" fmla="*/ 1524356 h 5292022"/>
              <a:gd name="connsiteX92" fmla="*/ 245240 w 10693106"/>
              <a:gd name="connsiteY92" fmla="*/ 1219556 h 5292022"/>
              <a:gd name="connsiteX93" fmla="*/ 245240 w 10693106"/>
              <a:gd name="connsiteY93" fmla="*/ 847022 h 5292022"/>
              <a:gd name="connsiteX94" fmla="*/ 236773 w 10693106"/>
              <a:gd name="connsiteY94" fmla="*/ 703089 h 5292022"/>
              <a:gd name="connsiteX95" fmla="*/ 109773 w 10693106"/>
              <a:gd name="connsiteY95" fmla="*/ 559156 h 5292022"/>
              <a:gd name="connsiteX96" fmla="*/ 58973 w 10693106"/>
              <a:gd name="connsiteY96" fmla="*/ 482956 h 5292022"/>
              <a:gd name="connsiteX97" fmla="*/ 16640 w 10693106"/>
              <a:gd name="connsiteY97" fmla="*/ 432156 h 5292022"/>
              <a:gd name="connsiteX98" fmla="*/ 8173 w 10693106"/>
              <a:gd name="connsiteY98" fmla="*/ 389822 h 5292022"/>
              <a:gd name="connsiteX99" fmla="*/ 16640 w 10693106"/>
              <a:gd name="connsiteY99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904706 w 10693106"/>
              <a:gd name="connsiteY84" fmla="*/ 1973089 h 5292022"/>
              <a:gd name="connsiteX85" fmla="*/ 1828506 w 10693106"/>
              <a:gd name="connsiteY85" fmla="*/ 1990022 h 5292022"/>
              <a:gd name="connsiteX86" fmla="*/ 1726906 w 10693106"/>
              <a:gd name="connsiteY86" fmla="*/ 2040822 h 5292022"/>
              <a:gd name="connsiteX87" fmla="*/ 1659173 w 10693106"/>
              <a:gd name="connsiteY87" fmla="*/ 2074689 h 5292022"/>
              <a:gd name="connsiteX88" fmla="*/ 1498306 w 10693106"/>
              <a:gd name="connsiteY88" fmla="*/ 2100089 h 5292022"/>
              <a:gd name="connsiteX89" fmla="*/ 914106 w 10693106"/>
              <a:gd name="connsiteY89" fmla="*/ 2032356 h 5292022"/>
              <a:gd name="connsiteX90" fmla="*/ 617773 w 10693106"/>
              <a:gd name="connsiteY90" fmla="*/ 1922289 h 5292022"/>
              <a:gd name="connsiteX91" fmla="*/ 354460 w 10693106"/>
              <a:gd name="connsiteY91" fmla="*/ 1676756 h 5292022"/>
              <a:gd name="connsiteX92" fmla="*/ 245240 w 10693106"/>
              <a:gd name="connsiteY92" fmla="*/ 1219556 h 5292022"/>
              <a:gd name="connsiteX93" fmla="*/ 245240 w 10693106"/>
              <a:gd name="connsiteY93" fmla="*/ 847022 h 5292022"/>
              <a:gd name="connsiteX94" fmla="*/ 236773 w 10693106"/>
              <a:gd name="connsiteY94" fmla="*/ 703089 h 5292022"/>
              <a:gd name="connsiteX95" fmla="*/ 109773 w 10693106"/>
              <a:gd name="connsiteY95" fmla="*/ 559156 h 5292022"/>
              <a:gd name="connsiteX96" fmla="*/ 58973 w 10693106"/>
              <a:gd name="connsiteY96" fmla="*/ 482956 h 5292022"/>
              <a:gd name="connsiteX97" fmla="*/ 16640 w 10693106"/>
              <a:gd name="connsiteY97" fmla="*/ 432156 h 5292022"/>
              <a:gd name="connsiteX98" fmla="*/ 8173 w 10693106"/>
              <a:gd name="connsiteY98" fmla="*/ 389822 h 5292022"/>
              <a:gd name="connsiteX99" fmla="*/ 16640 w 10693106"/>
              <a:gd name="connsiteY99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904706 w 10693106"/>
              <a:gd name="connsiteY84" fmla="*/ 1973089 h 5292022"/>
              <a:gd name="connsiteX85" fmla="*/ 1828506 w 10693106"/>
              <a:gd name="connsiteY85" fmla="*/ 1990022 h 5292022"/>
              <a:gd name="connsiteX86" fmla="*/ 1659173 w 10693106"/>
              <a:gd name="connsiteY86" fmla="*/ 2074689 h 5292022"/>
              <a:gd name="connsiteX87" fmla="*/ 1498306 w 10693106"/>
              <a:gd name="connsiteY87" fmla="*/ 2100089 h 5292022"/>
              <a:gd name="connsiteX88" fmla="*/ 914106 w 10693106"/>
              <a:gd name="connsiteY88" fmla="*/ 2032356 h 5292022"/>
              <a:gd name="connsiteX89" fmla="*/ 617773 w 10693106"/>
              <a:gd name="connsiteY89" fmla="*/ 1922289 h 5292022"/>
              <a:gd name="connsiteX90" fmla="*/ 354460 w 10693106"/>
              <a:gd name="connsiteY90" fmla="*/ 1676756 h 5292022"/>
              <a:gd name="connsiteX91" fmla="*/ 245240 w 10693106"/>
              <a:gd name="connsiteY91" fmla="*/ 1219556 h 5292022"/>
              <a:gd name="connsiteX92" fmla="*/ 245240 w 10693106"/>
              <a:gd name="connsiteY92" fmla="*/ 847022 h 5292022"/>
              <a:gd name="connsiteX93" fmla="*/ 236773 w 10693106"/>
              <a:gd name="connsiteY93" fmla="*/ 703089 h 5292022"/>
              <a:gd name="connsiteX94" fmla="*/ 109773 w 10693106"/>
              <a:gd name="connsiteY94" fmla="*/ 559156 h 5292022"/>
              <a:gd name="connsiteX95" fmla="*/ 58973 w 10693106"/>
              <a:gd name="connsiteY95" fmla="*/ 482956 h 5292022"/>
              <a:gd name="connsiteX96" fmla="*/ 16640 w 10693106"/>
              <a:gd name="connsiteY96" fmla="*/ 432156 h 5292022"/>
              <a:gd name="connsiteX97" fmla="*/ 8173 w 10693106"/>
              <a:gd name="connsiteY97" fmla="*/ 389822 h 5292022"/>
              <a:gd name="connsiteX98" fmla="*/ 16640 w 10693106"/>
              <a:gd name="connsiteY98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904706 w 10693106"/>
              <a:gd name="connsiteY84" fmla="*/ 1973089 h 5292022"/>
              <a:gd name="connsiteX85" fmla="*/ 1659173 w 10693106"/>
              <a:gd name="connsiteY85" fmla="*/ 2074689 h 5292022"/>
              <a:gd name="connsiteX86" fmla="*/ 1498306 w 10693106"/>
              <a:gd name="connsiteY86" fmla="*/ 2100089 h 5292022"/>
              <a:gd name="connsiteX87" fmla="*/ 914106 w 10693106"/>
              <a:gd name="connsiteY87" fmla="*/ 2032356 h 5292022"/>
              <a:gd name="connsiteX88" fmla="*/ 617773 w 10693106"/>
              <a:gd name="connsiteY88" fmla="*/ 1922289 h 5292022"/>
              <a:gd name="connsiteX89" fmla="*/ 354460 w 10693106"/>
              <a:gd name="connsiteY89" fmla="*/ 1676756 h 5292022"/>
              <a:gd name="connsiteX90" fmla="*/ 245240 w 10693106"/>
              <a:gd name="connsiteY90" fmla="*/ 1219556 h 5292022"/>
              <a:gd name="connsiteX91" fmla="*/ 245240 w 10693106"/>
              <a:gd name="connsiteY91" fmla="*/ 847022 h 5292022"/>
              <a:gd name="connsiteX92" fmla="*/ 236773 w 10693106"/>
              <a:gd name="connsiteY92" fmla="*/ 703089 h 5292022"/>
              <a:gd name="connsiteX93" fmla="*/ 109773 w 10693106"/>
              <a:gd name="connsiteY93" fmla="*/ 559156 h 5292022"/>
              <a:gd name="connsiteX94" fmla="*/ 58973 w 10693106"/>
              <a:gd name="connsiteY94" fmla="*/ 482956 h 5292022"/>
              <a:gd name="connsiteX95" fmla="*/ 16640 w 10693106"/>
              <a:gd name="connsiteY95" fmla="*/ 432156 h 5292022"/>
              <a:gd name="connsiteX96" fmla="*/ 8173 w 10693106"/>
              <a:gd name="connsiteY96" fmla="*/ 389822 h 5292022"/>
              <a:gd name="connsiteX97" fmla="*/ 16640 w 10693106"/>
              <a:gd name="connsiteY97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980906 w 10693106"/>
              <a:gd name="connsiteY83" fmla="*/ 1939222 h 5292022"/>
              <a:gd name="connsiteX84" fmla="*/ 1659173 w 10693106"/>
              <a:gd name="connsiteY84" fmla="*/ 2074689 h 5292022"/>
              <a:gd name="connsiteX85" fmla="*/ 1498306 w 10693106"/>
              <a:gd name="connsiteY85" fmla="*/ 2100089 h 5292022"/>
              <a:gd name="connsiteX86" fmla="*/ 914106 w 10693106"/>
              <a:gd name="connsiteY86" fmla="*/ 2032356 h 5292022"/>
              <a:gd name="connsiteX87" fmla="*/ 617773 w 10693106"/>
              <a:gd name="connsiteY87" fmla="*/ 1922289 h 5292022"/>
              <a:gd name="connsiteX88" fmla="*/ 354460 w 10693106"/>
              <a:gd name="connsiteY88" fmla="*/ 1676756 h 5292022"/>
              <a:gd name="connsiteX89" fmla="*/ 245240 w 10693106"/>
              <a:gd name="connsiteY89" fmla="*/ 1219556 h 5292022"/>
              <a:gd name="connsiteX90" fmla="*/ 245240 w 10693106"/>
              <a:gd name="connsiteY90" fmla="*/ 847022 h 5292022"/>
              <a:gd name="connsiteX91" fmla="*/ 236773 w 10693106"/>
              <a:gd name="connsiteY91" fmla="*/ 703089 h 5292022"/>
              <a:gd name="connsiteX92" fmla="*/ 109773 w 10693106"/>
              <a:gd name="connsiteY92" fmla="*/ 559156 h 5292022"/>
              <a:gd name="connsiteX93" fmla="*/ 58973 w 10693106"/>
              <a:gd name="connsiteY93" fmla="*/ 482956 h 5292022"/>
              <a:gd name="connsiteX94" fmla="*/ 16640 w 10693106"/>
              <a:gd name="connsiteY94" fmla="*/ 432156 h 5292022"/>
              <a:gd name="connsiteX95" fmla="*/ 8173 w 10693106"/>
              <a:gd name="connsiteY95" fmla="*/ 389822 h 5292022"/>
              <a:gd name="connsiteX96" fmla="*/ 16640 w 10693106"/>
              <a:gd name="connsiteY96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531240 w 10693106"/>
              <a:gd name="connsiteY79" fmla="*/ 1829156 h 5292022"/>
              <a:gd name="connsiteX80" fmla="*/ 2446573 w 10693106"/>
              <a:gd name="connsiteY80" fmla="*/ 1812222 h 5292022"/>
              <a:gd name="connsiteX81" fmla="*/ 2251840 w 10693106"/>
              <a:gd name="connsiteY81" fmla="*/ 1837622 h 5292022"/>
              <a:gd name="connsiteX82" fmla="*/ 2167173 w 10693106"/>
              <a:gd name="connsiteY82" fmla="*/ 1879956 h 5292022"/>
              <a:gd name="connsiteX83" fmla="*/ 1659173 w 10693106"/>
              <a:gd name="connsiteY83" fmla="*/ 2074689 h 5292022"/>
              <a:gd name="connsiteX84" fmla="*/ 1498306 w 10693106"/>
              <a:gd name="connsiteY84" fmla="*/ 2100089 h 5292022"/>
              <a:gd name="connsiteX85" fmla="*/ 914106 w 10693106"/>
              <a:gd name="connsiteY85" fmla="*/ 2032356 h 5292022"/>
              <a:gd name="connsiteX86" fmla="*/ 617773 w 10693106"/>
              <a:gd name="connsiteY86" fmla="*/ 1922289 h 5292022"/>
              <a:gd name="connsiteX87" fmla="*/ 354460 w 10693106"/>
              <a:gd name="connsiteY87" fmla="*/ 1676756 h 5292022"/>
              <a:gd name="connsiteX88" fmla="*/ 245240 w 10693106"/>
              <a:gd name="connsiteY88" fmla="*/ 1219556 h 5292022"/>
              <a:gd name="connsiteX89" fmla="*/ 245240 w 10693106"/>
              <a:gd name="connsiteY89" fmla="*/ 847022 h 5292022"/>
              <a:gd name="connsiteX90" fmla="*/ 236773 w 10693106"/>
              <a:gd name="connsiteY90" fmla="*/ 703089 h 5292022"/>
              <a:gd name="connsiteX91" fmla="*/ 109773 w 10693106"/>
              <a:gd name="connsiteY91" fmla="*/ 559156 h 5292022"/>
              <a:gd name="connsiteX92" fmla="*/ 58973 w 10693106"/>
              <a:gd name="connsiteY92" fmla="*/ 482956 h 5292022"/>
              <a:gd name="connsiteX93" fmla="*/ 16640 w 10693106"/>
              <a:gd name="connsiteY93" fmla="*/ 432156 h 5292022"/>
              <a:gd name="connsiteX94" fmla="*/ 8173 w 10693106"/>
              <a:gd name="connsiteY94" fmla="*/ 389822 h 5292022"/>
              <a:gd name="connsiteX95" fmla="*/ 16640 w 10693106"/>
              <a:gd name="connsiteY95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590506 w 10693106"/>
              <a:gd name="connsiteY78" fmla="*/ 1837622 h 5292022"/>
              <a:gd name="connsiteX79" fmla="*/ 2446573 w 10693106"/>
              <a:gd name="connsiteY79" fmla="*/ 1812222 h 5292022"/>
              <a:gd name="connsiteX80" fmla="*/ 2251840 w 10693106"/>
              <a:gd name="connsiteY80" fmla="*/ 1837622 h 5292022"/>
              <a:gd name="connsiteX81" fmla="*/ 2167173 w 10693106"/>
              <a:gd name="connsiteY81" fmla="*/ 1879956 h 5292022"/>
              <a:gd name="connsiteX82" fmla="*/ 1659173 w 10693106"/>
              <a:gd name="connsiteY82" fmla="*/ 2074689 h 5292022"/>
              <a:gd name="connsiteX83" fmla="*/ 1498306 w 10693106"/>
              <a:gd name="connsiteY83" fmla="*/ 2100089 h 5292022"/>
              <a:gd name="connsiteX84" fmla="*/ 914106 w 10693106"/>
              <a:gd name="connsiteY84" fmla="*/ 2032356 h 5292022"/>
              <a:gd name="connsiteX85" fmla="*/ 617773 w 10693106"/>
              <a:gd name="connsiteY85" fmla="*/ 1922289 h 5292022"/>
              <a:gd name="connsiteX86" fmla="*/ 354460 w 10693106"/>
              <a:gd name="connsiteY86" fmla="*/ 1676756 h 5292022"/>
              <a:gd name="connsiteX87" fmla="*/ 245240 w 10693106"/>
              <a:gd name="connsiteY87" fmla="*/ 1219556 h 5292022"/>
              <a:gd name="connsiteX88" fmla="*/ 245240 w 10693106"/>
              <a:gd name="connsiteY88" fmla="*/ 847022 h 5292022"/>
              <a:gd name="connsiteX89" fmla="*/ 236773 w 10693106"/>
              <a:gd name="connsiteY89" fmla="*/ 703089 h 5292022"/>
              <a:gd name="connsiteX90" fmla="*/ 109773 w 10693106"/>
              <a:gd name="connsiteY90" fmla="*/ 559156 h 5292022"/>
              <a:gd name="connsiteX91" fmla="*/ 58973 w 10693106"/>
              <a:gd name="connsiteY91" fmla="*/ 482956 h 5292022"/>
              <a:gd name="connsiteX92" fmla="*/ 16640 w 10693106"/>
              <a:gd name="connsiteY92" fmla="*/ 432156 h 5292022"/>
              <a:gd name="connsiteX93" fmla="*/ 8173 w 10693106"/>
              <a:gd name="connsiteY93" fmla="*/ 389822 h 5292022"/>
              <a:gd name="connsiteX94" fmla="*/ 16640 w 10693106"/>
              <a:gd name="connsiteY94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446573 w 10693106"/>
              <a:gd name="connsiteY78" fmla="*/ 1812222 h 5292022"/>
              <a:gd name="connsiteX79" fmla="*/ 2251840 w 10693106"/>
              <a:gd name="connsiteY79" fmla="*/ 1837622 h 5292022"/>
              <a:gd name="connsiteX80" fmla="*/ 2167173 w 10693106"/>
              <a:gd name="connsiteY80" fmla="*/ 1879956 h 5292022"/>
              <a:gd name="connsiteX81" fmla="*/ 1659173 w 10693106"/>
              <a:gd name="connsiteY81" fmla="*/ 2074689 h 5292022"/>
              <a:gd name="connsiteX82" fmla="*/ 1498306 w 10693106"/>
              <a:gd name="connsiteY82" fmla="*/ 2100089 h 5292022"/>
              <a:gd name="connsiteX83" fmla="*/ 914106 w 10693106"/>
              <a:gd name="connsiteY83" fmla="*/ 2032356 h 5292022"/>
              <a:gd name="connsiteX84" fmla="*/ 617773 w 10693106"/>
              <a:gd name="connsiteY84" fmla="*/ 1922289 h 5292022"/>
              <a:gd name="connsiteX85" fmla="*/ 354460 w 10693106"/>
              <a:gd name="connsiteY85" fmla="*/ 1676756 h 5292022"/>
              <a:gd name="connsiteX86" fmla="*/ 245240 w 10693106"/>
              <a:gd name="connsiteY86" fmla="*/ 1219556 h 5292022"/>
              <a:gd name="connsiteX87" fmla="*/ 245240 w 10693106"/>
              <a:gd name="connsiteY87" fmla="*/ 847022 h 5292022"/>
              <a:gd name="connsiteX88" fmla="*/ 236773 w 10693106"/>
              <a:gd name="connsiteY88" fmla="*/ 703089 h 5292022"/>
              <a:gd name="connsiteX89" fmla="*/ 109773 w 10693106"/>
              <a:gd name="connsiteY89" fmla="*/ 559156 h 5292022"/>
              <a:gd name="connsiteX90" fmla="*/ 58973 w 10693106"/>
              <a:gd name="connsiteY90" fmla="*/ 482956 h 5292022"/>
              <a:gd name="connsiteX91" fmla="*/ 16640 w 10693106"/>
              <a:gd name="connsiteY91" fmla="*/ 432156 h 5292022"/>
              <a:gd name="connsiteX92" fmla="*/ 8173 w 10693106"/>
              <a:gd name="connsiteY92" fmla="*/ 389822 h 5292022"/>
              <a:gd name="connsiteX93" fmla="*/ 16640 w 10693106"/>
              <a:gd name="connsiteY93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446573 w 10693106"/>
              <a:gd name="connsiteY78" fmla="*/ 1812222 h 5292022"/>
              <a:gd name="connsiteX79" fmla="*/ 2167173 w 10693106"/>
              <a:gd name="connsiteY79" fmla="*/ 1879956 h 5292022"/>
              <a:gd name="connsiteX80" fmla="*/ 1659173 w 10693106"/>
              <a:gd name="connsiteY80" fmla="*/ 2074689 h 5292022"/>
              <a:gd name="connsiteX81" fmla="*/ 1498306 w 10693106"/>
              <a:gd name="connsiteY81" fmla="*/ 2100089 h 5292022"/>
              <a:gd name="connsiteX82" fmla="*/ 914106 w 10693106"/>
              <a:gd name="connsiteY82" fmla="*/ 2032356 h 5292022"/>
              <a:gd name="connsiteX83" fmla="*/ 617773 w 10693106"/>
              <a:gd name="connsiteY83" fmla="*/ 1922289 h 5292022"/>
              <a:gd name="connsiteX84" fmla="*/ 354460 w 10693106"/>
              <a:gd name="connsiteY84" fmla="*/ 1676756 h 5292022"/>
              <a:gd name="connsiteX85" fmla="*/ 245240 w 10693106"/>
              <a:gd name="connsiteY85" fmla="*/ 1219556 h 5292022"/>
              <a:gd name="connsiteX86" fmla="*/ 245240 w 10693106"/>
              <a:gd name="connsiteY86" fmla="*/ 847022 h 5292022"/>
              <a:gd name="connsiteX87" fmla="*/ 236773 w 10693106"/>
              <a:gd name="connsiteY87" fmla="*/ 703089 h 5292022"/>
              <a:gd name="connsiteX88" fmla="*/ 109773 w 10693106"/>
              <a:gd name="connsiteY88" fmla="*/ 559156 h 5292022"/>
              <a:gd name="connsiteX89" fmla="*/ 58973 w 10693106"/>
              <a:gd name="connsiteY89" fmla="*/ 482956 h 5292022"/>
              <a:gd name="connsiteX90" fmla="*/ 16640 w 10693106"/>
              <a:gd name="connsiteY90" fmla="*/ 432156 h 5292022"/>
              <a:gd name="connsiteX91" fmla="*/ 8173 w 10693106"/>
              <a:gd name="connsiteY91" fmla="*/ 389822 h 5292022"/>
              <a:gd name="connsiteX92" fmla="*/ 16640 w 10693106"/>
              <a:gd name="connsiteY92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3005373 w 10693106"/>
              <a:gd name="connsiteY74" fmla="*/ 2311756 h 5292022"/>
              <a:gd name="connsiteX75" fmla="*/ 2988440 w 10693106"/>
              <a:gd name="connsiteY75" fmla="*/ 2260956 h 5292022"/>
              <a:gd name="connsiteX76" fmla="*/ 2802173 w 10693106"/>
              <a:gd name="connsiteY76" fmla="*/ 2006956 h 5292022"/>
              <a:gd name="connsiteX77" fmla="*/ 2641306 w 10693106"/>
              <a:gd name="connsiteY77" fmla="*/ 1863022 h 5292022"/>
              <a:gd name="connsiteX78" fmla="*/ 2446573 w 10693106"/>
              <a:gd name="connsiteY78" fmla="*/ 1812222 h 5292022"/>
              <a:gd name="connsiteX79" fmla="*/ 2167173 w 10693106"/>
              <a:gd name="connsiteY79" fmla="*/ 1879956 h 5292022"/>
              <a:gd name="connsiteX80" fmla="*/ 1659173 w 10693106"/>
              <a:gd name="connsiteY80" fmla="*/ 2074689 h 5292022"/>
              <a:gd name="connsiteX81" fmla="*/ 914106 w 10693106"/>
              <a:gd name="connsiteY81" fmla="*/ 2032356 h 5292022"/>
              <a:gd name="connsiteX82" fmla="*/ 617773 w 10693106"/>
              <a:gd name="connsiteY82" fmla="*/ 1922289 h 5292022"/>
              <a:gd name="connsiteX83" fmla="*/ 354460 w 10693106"/>
              <a:gd name="connsiteY83" fmla="*/ 1676756 h 5292022"/>
              <a:gd name="connsiteX84" fmla="*/ 245240 w 10693106"/>
              <a:gd name="connsiteY84" fmla="*/ 1219556 h 5292022"/>
              <a:gd name="connsiteX85" fmla="*/ 245240 w 10693106"/>
              <a:gd name="connsiteY85" fmla="*/ 847022 h 5292022"/>
              <a:gd name="connsiteX86" fmla="*/ 236773 w 10693106"/>
              <a:gd name="connsiteY86" fmla="*/ 703089 h 5292022"/>
              <a:gd name="connsiteX87" fmla="*/ 109773 w 10693106"/>
              <a:gd name="connsiteY87" fmla="*/ 559156 h 5292022"/>
              <a:gd name="connsiteX88" fmla="*/ 58973 w 10693106"/>
              <a:gd name="connsiteY88" fmla="*/ 482956 h 5292022"/>
              <a:gd name="connsiteX89" fmla="*/ 16640 w 10693106"/>
              <a:gd name="connsiteY89" fmla="*/ 432156 h 5292022"/>
              <a:gd name="connsiteX90" fmla="*/ 8173 w 10693106"/>
              <a:gd name="connsiteY90" fmla="*/ 389822 h 5292022"/>
              <a:gd name="connsiteX91" fmla="*/ 16640 w 10693106"/>
              <a:gd name="connsiteY91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88440 w 10693106"/>
              <a:gd name="connsiteY70" fmla="*/ 2802822 h 5292022"/>
              <a:gd name="connsiteX71" fmla="*/ 2971506 w 10693106"/>
              <a:gd name="connsiteY71" fmla="*/ 2743556 h 5292022"/>
              <a:gd name="connsiteX72" fmla="*/ 2996906 w 10693106"/>
              <a:gd name="connsiteY72" fmla="*/ 2531889 h 5292022"/>
              <a:gd name="connsiteX73" fmla="*/ 3013840 w 10693106"/>
              <a:gd name="connsiteY73" fmla="*/ 2430289 h 5292022"/>
              <a:gd name="connsiteX74" fmla="*/ 2988440 w 10693106"/>
              <a:gd name="connsiteY74" fmla="*/ 2260956 h 5292022"/>
              <a:gd name="connsiteX75" fmla="*/ 2802173 w 10693106"/>
              <a:gd name="connsiteY75" fmla="*/ 2006956 h 5292022"/>
              <a:gd name="connsiteX76" fmla="*/ 2641306 w 10693106"/>
              <a:gd name="connsiteY76" fmla="*/ 1863022 h 5292022"/>
              <a:gd name="connsiteX77" fmla="*/ 2446573 w 10693106"/>
              <a:gd name="connsiteY77" fmla="*/ 1812222 h 5292022"/>
              <a:gd name="connsiteX78" fmla="*/ 2167173 w 10693106"/>
              <a:gd name="connsiteY78" fmla="*/ 1879956 h 5292022"/>
              <a:gd name="connsiteX79" fmla="*/ 1659173 w 10693106"/>
              <a:gd name="connsiteY79" fmla="*/ 2074689 h 5292022"/>
              <a:gd name="connsiteX80" fmla="*/ 914106 w 10693106"/>
              <a:gd name="connsiteY80" fmla="*/ 2032356 h 5292022"/>
              <a:gd name="connsiteX81" fmla="*/ 617773 w 10693106"/>
              <a:gd name="connsiteY81" fmla="*/ 1922289 h 5292022"/>
              <a:gd name="connsiteX82" fmla="*/ 354460 w 10693106"/>
              <a:gd name="connsiteY82" fmla="*/ 1676756 h 5292022"/>
              <a:gd name="connsiteX83" fmla="*/ 245240 w 10693106"/>
              <a:gd name="connsiteY83" fmla="*/ 1219556 h 5292022"/>
              <a:gd name="connsiteX84" fmla="*/ 245240 w 10693106"/>
              <a:gd name="connsiteY84" fmla="*/ 847022 h 5292022"/>
              <a:gd name="connsiteX85" fmla="*/ 236773 w 10693106"/>
              <a:gd name="connsiteY85" fmla="*/ 703089 h 5292022"/>
              <a:gd name="connsiteX86" fmla="*/ 109773 w 10693106"/>
              <a:gd name="connsiteY86" fmla="*/ 559156 h 5292022"/>
              <a:gd name="connsiteX87" fmla="*/ 58973 w 10693106"/>
              <a:gd name="connsiteY87" fmla="*/ 482956 h 5292022"/>
              <a:gd name="connsiteX88" fmla="*/ 16640 w 10693106"/>
              <a:gd name="connsiteY88" fmla="*/ 432156 h 5292022"/>
              <a:gd name="connsiteX89" fmla="*/ 8173 w 10693106"/>
              <a:gd name="connsiteY89" fmla="*/ 389822 h 5292022"/>
              <a:gd name="connsiteX90" fmla="*/ 16640 w 10693106"/>
              <a:gd name="connsiteY90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123906 w 10693106"/>
              <a:gd name="connsiteY69" fmla="*/ 2997556 h 5292022"/>
              <a:gd name="connsiteX70" fmla="*/ 2971506 w 10693106"/>
              <a:gd name="connsiteY70" fmla="*/ 2743556 h 5292022"/>
              <a:gd name="connsiteX71" fmla="*/ 2996906 w 10693106"/>
              <a:gd name="connsiteY71" fmla="*/ 2531889 h 5292022"/>
              <a:gd name="connsiteX72" fmla="*/ 3013840 w 10693106"/>
              <a:gd name="connsiteY72" fmla="*/ 2430289 h 5292022"/>
              <a:gd name="connsiteX73" fmla="*/ 2988440 w 10693106"/>
              <a:gd name="connsiteY73" fmla="*/ 2260956 h 5292022"/>
              <a:gd name="connsiteX74" fmla="*/ 2802173 w 10693106"/>
              <a:gd name="connsiteY74" fmla="*/ 2006956 h 5292022"/>
              <a:gd name="connsiteX75" fmla="*/ 2641306 w 10693106"/>
              <a:gd name="connsiteY75" fmla="*/ 1863022 h 5292022"/>
              <a:gd name="connsiteX76" fmla="*/ 2446573 w 10693106"/>
              <a:gd name="connsiteY76" fmla="*/ 1812222 h 5292022"/>
              <a:gd name="connsiteX77" fmla="*/ 2167173 w 10693106"/>
              <a:gd name="connsiteY77" fmla="*/ 1879956 h 5292022"/>
              <a:gd name="connsiteX78" fmla="*/ 1659173 w 10693106"/>
              <a:gd name="connsiteY78" fmla="*/ 2074689 h 5292022"/>
              <a:gd name="connsiteX79" fmla="*/ 914106 w 10693106"/>
              <a:gd name="connsiteY79" fmla="*/ 2032356 h 5292022"/>
              <a:gd name="connsiteX80" fmla="*/ 617773 w 10693106"/>
              <a:gd name="connsiteY80" fmla="*/ 1922289 h 5292022"/>
              <a:gd name="connsiteX81" fmla="*/ 354460 w 10693106"/>
              <a:gd name="connsiteY81" fmla="*/ 1676756 h 5292022"/>
              <a:gd name="connsiteX82" fmla="*/ 245240 w 10693106"/>
              <a:gd name="connsiteY82" fmla="*/ 1219556 h 5292022"/>
              <a:gd name="connsiteX83" fmla="*/ 245240 w 10693106"/>
              <a:gd name="connsiteY83" fmla="*/ 847022 h 5292022"/>
              <a:gd name="connsiteX84" fmla="*/ 236773 w 10693106"/>
              <a:gd name="connsiteY84" fmla="*/ 703089 h 5292022"/>
              <a:gd name="connsiteX85" fmla="*/ 109773 w 10693106"/>
              <a:gd name="connsiteY85" fmla="*/ 559156 h 5292022"/>
              <a:gd name="connsiteX86" fmla="*/ 58973 w 10693106"/>
              <a:gd name="connsiteY86" fmla="*/ 482956 h 5292022"/>
              <a:gd name="connsiteX87" fmla="*/ 16640 w 10693106"/>
              <a:gd name="connsiteY87" fmla="*/ 432156 h 5292022"/>
              <a:gd name="connsiteX88" fmla="*/ 8173 w 10693106"/>
              <a:gd name="connsiteY88" fmla="*/ 389822 h 5292022"/>
              <a:gd name="connsiteX89" fmla="*/ 16640 w 10693106"/>
              <a:gd name="connsiteY89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242440 w 10693106"/>
              <a:gd name="connsiteY68" fmla="*/ 3099156 h 5292022"/>
              <a:gd name="connsiteX69" fmla="*/ 3073106 w 10693106"/>
              <a:gd name="connsiteY69" fmla="*/ 3010256 h 5292022"/>
              <a:gd name="connsiteX70" fmla="*/ 2971506 w 10693106"/>
              <a:gd name="connsiteY70" fmla="*/ 2743556 h 5292022"/>
              <a:gd name="connsiteX71" fmla="*/ 2996906 w 10693106"/>
              <a:gd name="connsiteY71" fmla="*/ 2531889 h 5292022"/>
              <a:gd name="connsiteX72" fmla="*/ 3013840 w 10693106"/>
              <a:gd name="connsiteY72" fmla="*/ 2430289 h 5292022"/>
              <a:gd name="connsiteX73" fmla="*/ 2988440 w 10693106"/>
              <a:gd name="connsiteY73" fmla="*/ 2260956 h 5292022"/>
              <a:gd name="connsiteX74" fmla="*/ 2802173 w 10693106"/>
              <a:gd name="connsiteY74" fmla="*/ 2006956 h 5292022"/>
              <a:gd name="connsiteX75" fmla="*/ 2641306 w 10693106"/>
              <a:gd name="connsiteY75" fmla="*/ 1863022 h 5292022"/>
              <a:gd name="connsiteX76" fmla="*/ 2446573 w 10693106"/>
              <a:gd name="connsiteY76" fmla="*/ 1812222 h 5292022"/>
              <a:gd name="connsiteX77" fmla="*/ 2167173 w 10693106"/>
              <a:gd name="connsiteY77" fmla="*/ 1879956 h 5292022"/>
              <a:gd name="connsiteX78" fmla="*/ 1659173 w 10693106"/>
              <a:gd name="connsiteY78" fmla="*/ 2074689 h 5292022"/>
              <a:gd name="connsiteX79" fmla="*/ 914106 w 10693106"/>
              <a:gd name="connsiteY79" fmla="*/ 2032356 h 5292022"/>
              <a:gd name="connsiteX80" fmla="*/ 617773 w 10693106"/>
              <a:gd name="connsiteY80" fmla="*/ 1922289 h 5292022"/>
              <a:gd name="connsiteX81" fmla="*/ 354460 w 10693106"/>
              <a:gd name="connsiteY81" fmla="*/ 1676756 h 5292022"/>
              <a:gd name="connsiteX82" fmla="*/ 245240 w 10693106"/>
              <a:gd name="connsiteY82" fmla="*/ 1219556 h 5292022"/>
              <a:gd name="connsiteX83" fmla="*/ 245240 w 10693106"/>
              <a:gd name="connsiteY83" fmla="*/ 847022 h 5292022"/>
              <a:gd name="connsiteX84" fmla="*/ 236773 w 10693106"/>
              <a:gd name="connsiteY84" fmla="*/ 703089 h 5292022"/>
              <a:gd name="connsiteX85" fmla="*/ 109773 w 10693106"/>
              <a:gd name="connsiteY85" fmla="*/ 559156 h 5292022"/>
              <a:gd name="connsiteX86" fmla="*/ 58973 w 10693106"/>
              <a:gd name="connsiteY86" fmla="*/ 482956 h 5292022"/>
              <a:gd name="connsiteX87" fmla="*/ 16640 w 10693106"/>
              <a:gd name="connsiteY87" fmla="*/ 432156 h 5292022"/>
              <a:gd name="connsiteX88" fmla="*/ 8173 w 10693106"/>
              <a:gd name="connsiteY88" fmla="*/ 389822 h 5292022"/>
              <a:gd name="connsiteX89" fmla="*/ 16640 w 10693106"/>
              <a:gd name="connsiteY89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6061840 w 10693106"/>
              <a:gd name="connsiteY59" fmla="*/ 5275089 h 5292022"/>
              <a:gd name="connsiteX60" fmla="*/ 5917906 w 10693106"/>
              <a:gd name="connsiteY60" fmla="*/ 5292022 h 5292022"/>
              <a:gd name="connsiteX61" fmla="*/ 5748573 w 10693106"/>
              <a:gd name="connsiteY61" fmla="*/ 5283556 h 5292022"/>
              <a:gd name="connsiteX62" fmla="*/ 5282906 w 10693106"/>
              <a:gd name="connsiteY62" fmla="*/ 5173489 h 5292022"/>
              <a:gd name="connsiteX63" fmla="*/ 4959480 w 10693106"/>
              <a:gd name="connsiteY63" fmla="*/ 4988069 h 5292022"/>
              <a:gd name="connsiteX64" fmla="*/ 4686853 w 10693106"/>
              <a:gd name="connsiteY64" fmla="*/ 4788256 h 5292022"/>
              <a:gd name="connsiteX65" fmla="*/ 3977346 w 10693106"/>
              <a:gd name="connsiteY65" fmla="*/ 4470544 h 5292022"/>
              <a:gd name="connsiteX66" fmla="*/ 3741550 w 10693106"/>
              <a:gd name="connsiteY66" fmla="*/ 4154102 h 5292022"/>
              <a:gd name="connsiteX67" fmla="*/ 3562056 w 10693106"/>
              <a:gd name="connsiteY67" fmla="*/ 3406919 h 5292022"/>
              <a:gd name="connsiteX68" fmla="*/ 3073106 w 10693106"/>
              <a:gd name="connsiteY68" fmla="*/ 3010256 h 5292022"/>
              <a:gd name="connsiteX69" fmla="*/ 2971506 w 10693106"/>
              <a:gd name="connsiteY69" fmla="*/ 2743556 h 5292022"/>
              <a:gd name="connsiteX70" fmla="*/ 2996906 w 10693106"/>
              <a:gd name="connsiteY70" fmla="*/ 2531889 h 5292022"/>
              <a:gd name="connsiteX71" fmla="*/ 3013840 w 10693106"/>
              <a:gd name="connsiteY71" fmla="*/ 2430289 h 5292022"/>
              <a:gd name="connsiteX72" fmla="*/ 2988440 w 10693106"/>
              <a:gd name="connsiteY72" fmla="*/ 2260956 h 5292022"/>
              <a:gd name="connsiteX73" fmla="*/ 2802173 w 10693106"/>
              <a:gd name="connsiteY73" fmla="*/ 2006956 h 5292022"/>
              <a:gd name="connsiteX74" fmla="*/ 2641306 w 10693106"/>
              <a:gd name="connsiteY74" fmla="*/ 1863022 h 5292022"/>
              <a:gd name="connsiteX75" fmla="*/ 2446573 w 10693106"/>
              <a:gd name="connsiteY75" fmla="*/ 1812222 h 5292022"/>
              <a:gd name="connsiteX76" fmla="*/ 2167173 w 10693106"/>
              <a:gd name="connsiteY76" fmla="*/ 1879956 h 5292022"/>
              <a:gd name="connsiteX77" fmla="*/ 1659173 w 10693106"/>
              <a:gd name="connsiteY77" fmla="*/ 2074689 h 5292022"/>
              <a:gd name="connsiteX78" fmla="*/ 914106 w 10693106"/>
              <a:gd name="connsiteY78" fmla="*/ 2032356 h 5292022"/>
              <a:gd name="connsiteX79" fmla="*/ 617773 w 10693106"/>
              <a:gd name="connsiteY79" fmla="*/ 1922289 h 5292022"/>
              <a:gd name="connsiteX80" fmla="*/ 354460 w 10693106"/>
              <a:gd name="connsiteY80" fmla="*/ 1676756 h 5292022"/>
              <a:gd name="connsiteX81" fmla="*/ 245240 w 10693106"/>
              <a:gd name="connsiteY81" fmla="*/ 1219556 h 5292022"/>
              <a:gd name="connsiteX82" fmla="*/ 245240 w 10693106"/>
              <a:gd name="connsiteY82" fmla="*/ 847022 h 5292022"/>
              <a:gd name="connsiteX83" fmla="*/ 236773 w 10693106"/>
              <a:gd name="connsiteY83" fmla="*/ 703089 h 5292022"/>
              <a:gd name="connsiteX84" fmla="*/ 109773 w 10693106"/>
              <a:gd name="connsiteY84" fmla="*/ 559156 h 5292022"/>
              <a:gd name="connsiteX85" fmla="*/ 58973 w 10693106"/>
              <a:gd name="connsiteY85" fmla="*/ 482956 h 5292022"/>
              <a:gd name="connsiteX86" fmla="*/ 16640 w 10693106"/>
              <a:gd name="connsiteY86" fmla="*/ 432156 h 5292022"/>
              <a:gd name="connsiteX87" fmla="*/ 8173 w 10693106"/>
              <a:gd name="connsiteY87" fmla="*/ 389822 h 5292022"/>
              <a:gd name="connsiteX88" fmla="*/ 16640 w 10693106"/>
              <a:gd name="connsiteY88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298906 w 10693106"/>
              <a:gd name="connsiteY57" fmla="*/ 5241222 h 5292022"/>
              <a:gd name="connsiteX58" fmla="*/ 6197306 w 10693106"/>
              <a:gd name="connsiteY58" fmla="*/ 5266622 h 5292022"/>
              <a:gd name="connsiteX59" fmla="*/ 5917906 w 10693106"/>
              <a:gd name="connsiteY59" fmla="*/ 5292022 h 5292022"/>
              <a:gd name="connsiteX60" fmla="*/ 5748573 w 10693106"/>
              <a:gd name="connsiteY60" fmla="*/ 5283556 h 5292022"/>
              <a:gd name="connsiteX61" fmla="*/ 5282906 w 10693106"/>
              <a:gd name="connsiteY61" fmla="*/ 5173489 h 5292022"/>
              <a:gd name="connsiteX62" fmla="*/ 4959480 w 10693106"/>
              <a:gd name="connsiteY62" fmla="*/ 4988069 h 5292022"/>
              <a:gd name="connsiteX63" fmla="*/ 4686853 w 10693106"/>
              <a:gd name="connsiteY63" fmla="*/ 4788256 h 5292022"/>
              <a:gd name="connsiteX64" fmla="*/ 3977346 w 10693106"/>
              <a:gd name="connsiteY64" fmla="*/ 4470544 h 5292022"/>
              <a:gd name="connsiteX65" fmla="*/ 3741550 w 10693106"/>
              <a:gd name="connsiteY65" fmla="*/ 4154102 h 5292022"/>
              <a:gd name="connsiteX66" fmla="*/ 3562056 w 10693106"/>
              <a:gd name="connsiteY66" fmla="*/ 3406919 h 5292022"/>
              <a:gd name="connsiteX67" fmla="*/ 3073106 w 10693106"/>
              <a:gd name="connsiteY67" fmla="*/ 3010256 h 5292022"/>
              <a:gd name="connsiteX68" fmla="*/ 2971506 w 10693106"/>
              <a:gd name="connsiteY68" fmla="*/ 2743556 h 5292022"/>
              <a:gd name="connsiteX69" fmla="*/ 2996906 w 10693106"/>
              <a:gd name="connsiteY69" fmla="*/ 2531889 h 5292022"/>
              <a:gd name="connsiteX70" fmla="*/ 3013840 w 10693106"/>
              <a:gd name="connsiteY70" fmla="*/ 2430289 h 5292022"/>
              <a:gd name="connsiteX71" fmla="*/ 2988440 w 10693106"/>
              <a:gd name="connsiteY71" fmla="*/ 2260956 h 5292022"/>
              <a:gd name="connsiteX72" fmla="*/ 2802173 w 10693106"/>
              <a:gd name="connsiteY72" fmla="*/ 2006956 h 5292022"/>
              <a:gd name="connsiteX73" fmla="*/ 2641306 w 10693106"/>
              <a:gd name="connsiteY73" fmla="*/ 1863022 h 5292022"/>
              <a:gd name="connsiteX74" fmla="*/ 2446573 w 10693106"/>
              <a:gd name="connsiteY74" fmla="*/ 1812222 h 5292022"/>
              <a:gd name="connsiteX75" fmla="*/ 2167173 w 10693106"/>
              <a:gd name="connsiteY75" fmla="*/ 1879956 h 5292022"/>
              <a:gd name="connsiteX76" fmla="*/ 1659173 w 10693106"/>
              <a:gd name="connsiteY76" fmla="*/ 2074689 h 5292022"/>
              <a:gd name="connsiteX77" fmla="*/ 914106 w 10693106"/>
              <a:gd name="connsiteY77" fmla="*/ 2032356 h 5292022"/>
              <a:gd name="connsiteX78" fmla="*/ 617773 w 10693106"/>
              <a:gd name="connsiteY78" fmla="*/ 1922289 h 5292022"/>
              <a:gd name="connsiteX79" fmla="*/ 354460 w 10693106"/>
              <a:gd name="connsiteY79" fmla="*/ 1676756 h 5292022"/>
              <a:gd name="connsiteX80" fmla="*/ 245240 w 10693106"/>
              <a:gd name="connsiteY80" fmla="*/ 1219556 h 5292022"/>
              <a:gd name="connsiteX81" fmla="*/ 245240 w 10693106"/>
              <a:gd name="connsiteY81" fmla="*/ 847022 h 5292022"/>
              <a:gd name="connsiteX82" fmla="*/ 236773 w 10693106"/>
              <a:gd name="connsiteY82" fmla="*/ 703089 h 5292022"/>
              <a:gd name="connsiteX83" fmla="*/ 109773 w 10693106"/>
              <a:gd name="connsiteY83" fmla="*/ 559156 h 5292022"/>
              <a:gd name="connsiteX84" fmla="*/ 58973 w 10693106"/>
              <a:gd name="connsiteY84" fmla="*/ 482956 h 5292022"/>
              <a:gd name="connsiteX85" fmla="*/ 16640 w 10693106"/>
              <a:gd name="connsiteY85" fmla="*/ 432156 h 5292022"/>
              <a:gd name="connsiteX86" fmla="*/ 8173 w 10693106"/>
              <a:gd name="connsiteY86" fmla="*/ 389822 h 5292022"/>
              <a:gd name="connsiteX87" fmla="*/ 16640 w 10693106"/>
              <a:gd name="connsiteY87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527506 w 10693106"/>
              <a:gd name="connsiteY56" fmla="*/ 5165022 h 5292022"/>
              <a:gd name="connsiteX57" fmla="*/ 6197306 w 10693106"/>
              <a:gd name="connsiteY57" fmla="*/ 5266622 h 5292022"/>
              <a:gd name="connsiteX58" fmla="*/ 5917906 w 10693106"/>
              <a:gd name="connsiteY58" fmla="*/ 5292022 h 5292022"/>
              <a:gd name="connsiteX59" fmla="*/ 5748573 w 10693106"/>
              <a:gd name="connsiteY59" fmla="*/ 5283556 h 5292022"/>
              <a:gd name="connsiteX60" fmla="*/ 5282906 w 10693106"/>
              <a:gd name="connsiteY60" fmla="*/ 5173489 h 5292022"/>
              <a:gd name="connsiteX61" fmla="*/ 4959480 w 10693106"/>
              <a:gd name="connsiteY61" fmla="*/ 4988069 h 5292022"/>
              <a:gd name="connsiteX62" fmla="*/ 4686853 w 10693106"/>
              <a:gd name="connsiteY62" fmla="*/ 4788256 h 5292022"/>
              <a:gd name="connsiteX63" fmla="*/ 3977346 w 10693106"/>
              <a:gd name="connsiteY63" fmla="*/ 4470544 h 5292022"/>
              <a:gd name="connsiteX64" fmla="*/ 3741550 w 10693106"/>
              <a:gd name="connsiteY64" fmla="*/ 4154102 h 5292022"/>
              <a:gd name="connsiteX65" fmla="*/ 3562056 w 10693106"/>
              <a:gd name="connsiteY65" fmla="*/ 3406919 h 5292022"/>
              <a:gd name="connsiteX66" fmla="*/ 3073106 w 10693106"/>
              <a:gd name="connsiteY66" fmla="*/ 3010256 h 5292022"/>
              <a:gd name="connsiteX67" fmla="*/ 2971506 w 10693106"/>
              <a:gd name="connsiteY67" fmla="*/ 2743556 h 5292022"/>
              <a:gd name="connsiteX68" fmla="*/ 2996906 w 10693106"/>
              <a:gd name="connsiteY68" fmla="*/ 2531889 h 5292022"/>
              <a:gd name="connsiteX69" fmla="*/ 3013840 w 10693106"/>
              <a:gd name="connsiteY69" fmla="*/ 2430289 h 5292022"/>
              <a:gd name="connsiteX70" fmla="*/ 2988440 w 10693106"/>
              <a:gd name="connsiteY70" fmla="*/ 2260956 h 5292022"/>
              <a:gd name="connsiteX71" fmla="*/ 2802173 w 10693106"/>
              <a:gd name="connsiteY71" fmla="*/ 2006956 h 5292022"/>
              <a:gd name="connsiteX72" fmla="*/ 2641306 w 10693106"/>
              <a:gd name="connsiteY72" fmla="*/ 1863022 h 5292022"/>
              <a:gd name="connsiteX73" fmla="*/ 2446573 w 10693106"/>
              <a:gd name="connsiteY73" fmla="*/ 1812222 h 5292022"/>
              <a:gd name="connsiteX74" fmla="*/ 2167173 w 10693106"/>
              <a:gd name="connsiteY74" fmla="*/ 1879956 h 5292022"/>
              <a:gd name="connsiteX75" fmla="*/ 1659173 w 10693106"/>
              <a:gd name="connsiteY75" fmla="*/ 2074689 h 5292022"/>
              <a:gd name="connsiteX76" fmla="*/ 914106 w 10693106"/>
              <a:gd name="connsiteY76" fmla="*/ 2032356 h 5292022"/>
              <a:gd name="connsiteX77" fmla="*/ 617773 w 10693106"/>
              <a:gd name="connsiteY77" fmla="*/ 1922289 h 5292022"/>
              <a:gd name="connsiteX78" fmla="*/ 354460 w 10693106"/>
              <a:gd name="connsiteY78" fmla="*/ 1676756 h 5292022"/>
              <a:gd name="connsiteX79" fmla="*/ 245240 w 10693106"/>
              <a:gd name="connsiteY79" fmla="*/ 1219556 h 5292022"/>
              <a:gd name="connsiteX80" fmla="*/ 245240 w 10693106"/>
              <a:gd name="connsiteY80" fmla="*/ 847022 h 5292022"/>
              <a:gd name="connsiteX81" fmla="*/ 236773 w 10693106"/>
              <a:gd name="connsiteY81" fmla="*/ 703089 h 5292022"/>
              <a:gd name="connsiteX82" fmla="*/ 109773 w 10693106"/>
              <a:gd name="connsiteY82" fmla="*/ 559156 h 5292022"/>
              <a:gd name="connsiteX83" fmla="*/ 58973 w 10693106"/>
              <a:gd name="connsiteY83" fmla="*/ 482956 h 5292022"/>
              <a:gd name="connsiteX84" fmla="*/ 16640 w 10693106"/>
              <a:gd name="connsiteY84" fmla="*/ 432156 h 5292022"/>
              <a:gd name="connsiteX85" fmla="*/ 8173 w 10693106"/>
              <a:gd name="connsiteY85" fmla="*/ 389822 h 5292022"/>
              <a:gd name="connsiteX86" fmla="*/ 16640 w 10693106"/>
              <a:gd name="connsiteY86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815373 w 10693106"/>
              <a:gd name="connsiteY54" fmla="*/ 5012622 h 5292022"/>
              <a:gd name="connsiteX55" fmla="*/ 6646040 w 10693106"/>
              <a:gd name="connsiteY55" fmla="*/ 5105756 h 5292022"/>
              <a:gd name="connsiteX56" fmla="*/ 6197306 w 10693106"/>
              <a:gd name="connsiteY56" fmla="*/ 5266622 h 5292022"/>
              <a:gd name="connsiteX57" fmla="*/ 5917906 w 10693106"/>
              <a:gd name="connsiteY57" fmla="*/ 5292022 h 5292022"/>
              <a:gd name="connsiteX58" fmla="*/ 5748573 w 10693106"/>
              <a:gd name="connsiteY58" fmla="*/ 5283556 h 5292022"/>
              <a:gd name="connsiteX59" fmla="*/ 5282906 w 10693106"/>
              <a:gd name="connsiteY59" fmla="*/ 5173489 h 5292022"/>
              <a:gd name="connsiteX60" fmla="*/ 4959480 w 10693106"/>
              <a:gd name="connsiteY60" fmla="*/ 4988069 h 5292022"/>
              <a:gd name="connsiteX61" fmla="*/ 4686853 w 10693106"/>
              <a:gd name="connsiteY61" fmla="*/ 4788256 h 5292022"/>
              <a:gd name="connsiteX62" fmla="*/ 3977346 w 10693106"/>
              <a:gd name="connsiteY62" fmla="*/ 4470544 h 5292022"/>
              <a:gd name="connsiteX63" fmla="*/ 3741550 w 10693106"/>
              <a:gd name="connsiteY63" fmla="*/ 4154102 h 5292022"/>
              <a:gd name="connsiteX64" fmla="*/ 3562056 w 10693106"/>
              <a:gd name="connsiteY64" fmla="*/ 3406919 h 5292022"/>
              <a:gd name="connsiteX65" fmla="*/ 3073106 w 10693106"/>
              <a:gd name="connsiteY65" fmla="*/ 3010256 h 5292022"/>
              <a:gd name="connsiteX66" fmla="*/ 2971506 w 10693106"/>
              <a:gd name="connsiteY66" fmla="*/ 2743556 h 5292022"/>
              <a:gd name="connsiteX67" fmla="*/ 2996906 w 10693106"/>
              <a:gd name="connsiteY67" fmla="*/ 2531889 h 5292022"/>
              <a:gd name="connsiteX68" fmla="*/ 3013840 w 10693106"/>
              <a:gd name="connsiteY68" fmla="*/ 2430289 h 5292022"/>
              <a:gd name="connsiteX69" fmla="*/ 2988440 w 10693106"/>
              <a:gd name="connsiteY69" fmla="*/ 2260956 h 5292022"/>
              <a:gd name="connsiteX70" fmla="*/ 2802173 w 10693106"/>
              <a:gd name="connsiteY70" fmla="*/ 2006956 h 5292022"/>
              <a:gd name="connsiteX71" fmla="*/ 2641306 w 10693106"/>
              <a:gd name="connsiteY71" fmla="*/ 1863022 h 5292022"/>
              <a:gd name="connsiteX72" fmla="*/ 2446573 w 10693106"/>
              <a:gd name="connsiteY72" fmla="*/ 1812222 h 5292022"/>
              <a:gd name="connsiteX73" fmla="*/ 2167173 w 10693106"/>
              <a:gd name="connsiteY73" fmla="*/ 1879956 h 5292022"/>
              <a:gd name="connsiteX74" fmla="*/ 1659173 w 10693106"/>
              <a:gd name="connsiteY74" fmla="*/ 2074689 h 5292022"/>
              <a:gd name="connsiteX75" fmla="*/ 914106 w 10693106"/>
              <a:gd name="connsiteY75" fmla="*/ 2032356 h 5292022"/>
              <a:gd name="connsiteX76" fmla="*/ 617773 w 10693106"/>
              <a:gd name="connsiteY76" fmla="*/ 1922289 h 5292022"/>
              <a:gd name="connsiteX77" fmla="*/ 354460 w 10693106"/>
              <a:gd name="connsiteY77" fmla="*/ 1676756 h 5292022"/>
              <a:gd name="connsiteX78" fmla="*/ 245240 w 10693106"/>
              <a:gd name="connsiteY78" fmla="*/ 1219556 h 5292022"/>
              <a:gd name="connsiteX79" fmla="*/ 245240 w 10693106"/>
              <a:gd name="connsiteY79" fmla="*/ 847022 h 5292022"/>
              <a:gd name="connsiteX80" fmla="*/ 236773 w 10693106"/>
              <a:gd name="connsiteY80" fmla="*/ 703089 h 5292022"/>
              <a:gd name="connsiteX81" fmla="*/ 109773 w 10693106"/>
              <a:gd name="connsiteY81" fmla="*/ 559156 h 5292022"/>
              <a:gd name="connsiteX82" fmla="*/ 58973 w 10693106"/>
              <a:gd name="connsiteY82" fmla="*/ 482956 h 5292022"/>
              <a:gd name="connsiteX83" fmla="*/ 16640 w 10693106"/>
              <a:gd name="connsiteY83" fmla="*/ 432156 h 5292022"/>
              <a:gd name="connsiteX84" fmla="*/ 8173 w 10693106"/>
              <a:gd name="connsiteY84" fmla="*/ 389822 h 5292022"/>
              <a:gd name="connsiteX85" fmla="*/ 16640 w 10693106"/>
              <a:gd name="connsiteY85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883106 w 10693106"/>
              <a:gd name="connsiteY53" fmla="*/ 4970289 h 5292022"/>
              <a:gd name="connsiteX54" fmla="*/ 6646040 w 10693106"/>
              <a:gd name="connsiteY54" fmla="*/ 5105756 h 5292022"/>
              <a:gd name="connsiteX55" fmla="*/ 6197306 w 10693106"/>
              <a:gd name="connsiteY55" fmla="*/ 5266622 h 5292022"/>
              <a:gd name="connsiteX56" fmla="*/ 5917906 w 10693106"/>
              <a:gd name="connsiteY56" fmla="*/ 5292022 h 5292022"/>
              <a:gd name="connsiteX57" fmla="*/ 5748573 w 10693106"/>
              <a:gd name="connsiteY57" fmla="*/ 5283556 h 5292022"/>
              <a:gd name="connsiteX58" fmla="*/ 5282906 w 10693106"/>
              <a:gd name="connsiteY58" fmla="*/ 5173489 h 5292022"/>
              <a:gd name="connsiteX59" fmla="*/ 4959480 w 10693106"/>
              <a:gd name="connsiteY59" fmla="*/ 4988069 h 5292022"/>
              <a:gd name="connsiteX60" fmla="*/ 4686853 w 10693106"/>
              <a:gd name="connsiteY60" fmla="*/ 4788256 h 5292022"/>
              <a:gd name="connsiteX61" fmla="*/ 3977346 w 10693106"/>
              <a:gd name="connsiteY61" fmla="*/ 4470544 h 5292022"/>
              <a:gd name="connsiteX62" fmla="*/ 3741550 w 10693106"/>
              <a:gd name="connsiteY62" fmla="*/ 4154102 h 5292022"/>
              <a:gd name="connsiteX63" fmla="*/ 3562056 w 10693106"/>
              <a:gd name="connsiteY63" fmla="*/ 3406919 h 5292022"/>
              <a:gd name="connsiteX64" fmla="*/ 3073106 w 10693106"/>
              <a:gd name="connsiteY64" fmla="*/ 3010256 h 5292022"/>
              <a:gd name="connsiteX65" fmla="*/ 2971506 w 10693106"/>
              <a:gd name="connsiteY65" fmla="*/ 2743556 h 5292022"/>
              <a:gd name="connsiteX66" fmla="*/ 2996906 w 10693106"/>
              <a:gd name="connsiteY66" fmla="*/ 2531889 h 5292022"/>
              <a:gd name="connsiteX67" fmla="*/ 3013840 w 10693106"/>
              <a:gd name="connsiteY67" fmla="*/ 2430289 h 5292022"/>
              <a:gd name="connsiteX68" fmla="*/ 2988440 w 10693106"/>
              <a:gd name="connsiteY68" fmla="*/ 2260956 h 5292022"/>
              <a:gd name="connsiteX69" fmla="*/ 2802173 w 10693106"/>
              <a:gd name="connsiteY69" fmla="*/ 2006956 h 5292022"/>
              <a:gd name="connsiteX70" fmla="*/ 2641306 w 10693106"/>
              <a:gd name="connsiteY70" fmla="*/ 1863022 h 5292022"/>
              <a:gd name="connsiteX71" fmla="*/ 2446573 w 10693106"/>
              <a:gd name="connsiteY71" fmla="*/ 1812222 h 5292022"/>
              <a:gd name="connsiteX72" fmla="*/ 2167173 w 10693106"/>
              <a:gd name="connsiteY72" fmla="*/ 1879956 h 5292022"/>
              <a:gd name="connsiteX73" fmla="*/ 1659173 w 10693106"/>
              <a:gd name="connsiteY73" fmla="*/ 2074689 h 5292022"/>
              <a:gd name="connsiteX74" fmla="*/ 914106 w 10693106"/>
              <a:gd name="connsiteY74" fmla="*/ 2032356 h 5292022"/>
              <a:gd name="connsiteX75" fmla="*/ 617773 w 10693106"/>
              <a:gd name="connsiteY75" fmla="*/ 1922289 h 5292022"/>
              <a:gd name="connsiteX76" fmla="*/ 354460 w 10693106"/>
              <a:gd name="connsiteY76" fmla="*/ 1676756 h 5292022"/>
              <a:gd name="connsiteX77" fmla="*/ 245240 w 10693106"/>
              <a:gd name="connsiteY77" fmla="*/ 1219556 h 5292022"/>
              <a:gd name="connsiteX78" fmla="*/ 245240 w 10693106"/>
              <a:gd name="connsiteY78" fmla="*/ 847022 h 5292022"/>
              <a:gd name="connsiteX79" fmla="*/ 236773 w 10693106"/>
              <a:gd name="connsiteY79" fmla="*/ 703089 h 5292022"/>
              <a:gd name="connsiteX80" fmla="*/ 109773 w 10693106"/>
              <a:gd name="connsiteY80" fmla="*/ 559156 h 5292022"/>
              <a:gd name="connsiteX81" fmla="*/ 58973 w 10693106"/>
              <a:gd name="connsiteY81" fmla="*/ 482956 h 5292022"/>
              <a:gd name="connsiteX82" fmla="*/ 16640 w 10693106"/>
              <a:gd name="connsiteY82" fmla="*/ 432156 h 5292022"/>
              <a:gd name="connsiteX83" fmla="*/ 8173 w 10693106"/>
              <a:gd name="connsiteY83" fmla="*/ 389822 h 5292022"/>
              <a:gd name="connsiteX84" fmla="*/ 16640 w 10693106"/>
              <a:gd name="connsiteY84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687440 w 10693106"/>
              <a:gd name="connsiteY48" fmla="*/ 4394556 h 5292022"/>
              <a:gd name="connsiteX49" fmla="*/ 7374173 w 10693106"/>
              <a:gd name="connsiteY49" fmla="*/ 4657022 h 5292022"/>
              <a:gd name="connsiteX50" fmla="*/ 7374173 w 10693106"/>
              <a:gd name="connsiteY50" fmla="*/ 4657022 h 5292022"/>
              <a:gd name="connsiteX51" fmla="*/ 7221773 w 10693106"/>
              <a:gd name="connsiteY51" fmla="*/ 4775556 h 5292022"/>
              <a:gd name="connsiteX52" fmla="*/ 7027040 w 10693106"/>
              <a:gd name="connsiteY52" fmla="*/ 4902556 h 5292022"/>
              <a:gd name="connsiteX53" fmla="*/ 6646040 w 10693106"/>
              <a:gd name="connsiteY53" fmla="*/ 5105756 h 5292022"/>
              <a:gd name="connsiteX54" fmla="*/ 6197306 w 10693106"/>
              <a:gd name="connsiteY54" fmla="*/ 5266622 h 5292022"/>
              <a:gd name="connsiteX55" fmla="*/ 5917906 w 10693106"/>
              <a:gd name="connsiteY55" fmla="*/ 5292022 h 5292022"/>
              <a:gd name="connsiteX56" fmla="*/ 5748573 w 10693106"/>
              <a:gd name="connsiteY56" fmla="*/ 5283556 h 5292022"/>
              <a:gd name="connsiteX57" fmla="*/ 5282906 w 10693106"/>
              <a:gd name="connsiteY57" fmla="*/ 5173489 h 5292022"/>
              <a:gd name="connsiteX58" fmla="*/ 4959480 w 10693106"/>
              <a:gd name="connsiteY58" fmla="*/ 4988069 h 5292022"/>
              <a:gd name="connsiteX59" fmla="*/ 4686853 w 10693106"/>
              <a:gd name="connsiteY59" fmla="*/ 4788256 h 5292022"/>
              <a:gd name="connsiteX60" fmla="*/ 3977346 w 10693106"/>
              <a:gd name="connsiteY60" fmla="*/ 4470544 h 5292022"/>
              <a:gd name="connsiteX61" fmla="*/ 3741550 w 10693106"/>
              <a:gd name="connsiteY61" fmla="*/ 4154102 h 5292022"/>
              <a:gd name="connsiteX62" fmla="*/ 3562056 w 10693106"/>
              <a:gd name="connsiteY62" fmla="*/ 3406919 h 5292022"/>
              <a:gd name="connsiteX63" fmla="*/ 3073106 w 10693106"/>
              <a:gd name="connsiteY63" fmla="*/ 3010256 h 5292022"/>
              <a:gd name="connsiteX64" fmla="*/ 2971506 w 10693106"/>
              <a:gd name="connsiteY64" fmla="*/ 2743556 h 5292022"/>
              <a:gd name="connsiteX65" fmla="*/ 2996906 w 10693106"/>
              <a:gd name="connsiteY65" fmla="*/ 2531889 h 5292022"/>
              <a:gd name="connsiteX66" fmla="*/ 3013840 w 10693106"/>
              <a:gd name="connsiteY66" fmla="*/ 2430289 h 5292022"/>
              <a:gd name="connsiteX67" fmla="*/ 2988440 w 10693106"/>
              <a:gd name="connsiteY67" fmla="*/ 2260956 h 5292022"/>
              <a:gd name="connsiteX68" fmla="*/ 2802173 w 10693106"/>
              <a:gd name="connsiteY68" fmla="*/ 2006956 h 5292022"/>
              <a:gd name="connsiteX69" fmla="*/ 2641306 w 10693106"/>
              <a:gd name="connsiteY69" fmla="*/ 1863022 h 5292022"/>
              <a:gd name="connsiteX70" fmla="*/ 2446573 w 10693106"/>
              <a:gd name="connsiteY70" fmla="*/ 1812222 h 5292022"/>
              <a:gd name="connsiteX71" fmla="*/ 2167173 w 10693106"/>
              <a:gd name="connsiteY71" fmla="*/ 1879956 h 5292022"/>
              <a:gd name="connsiteX72" fmla="*/ 1659173 w 10693106"/>
              <a:gd name="connsiteY72" fmla="*/ 2074689 h 5292022"/>
              <a:gd name="connsiteX73" fmla="*/ 914106 w 10693106"/>
              <a:gd name="connsiteY73" fmla="*/ 2032356 h 5292022"/>
              <a:gd name="connsiteX74" fmla="*/ 617773 w 10693106"/>
              <a:gd name="connsiteY74" fmla="*/ 1922289 h 5292022"/>
              <a:gd name="connsiteX75" fmla="*/ 354460 w 10693106"/>
              <a:gd name="connsiteY75" fmla="*/ 1676756 h 5292022"/>
              <a:gd name="connsiteX76" fmla="*/ 245240 w 10693106"/>
              <a:gd name="connsiteY76" fmla="*/ 1219556 h 5292022"/>
              <a:gd name="connsiteX77" fmla="*/ 245240 w 10693106"/>
              <a:gd name="connsiteY77" fmla="*/ 847022 h 5292022"/>
              <a:gd name="connsiteX78" fmla="*/ 236773 w 10693106"/>
              <a:gd name="connsiteY78" fmla="*/ 703089 h 5292022"/>
              <a:gd name="connsiteX79" fmla="*/ 109773 w 10693106"/>
              <a:gd name="connsiteY79" fmla="*/ 559156 h 5292022"/>
              <a:gd name="connsiteX80" fmla="*/ 58973 w 10693106"/>
              <a:gd name="connsiteY80" fmla="*/ 482956 h 5292022"/>
              <a:gd name="connsiteX81" fmla="*/ 16640 w 10693106"/>
              <a:gd name="connsiteY81" fmla="*/ 432156 h 5292022"/>
              <a:gd name="connsiteX82" fmla="*/ 8173 w 10693106"/>
              <a:gd name="connsiteY82" fmla="*/ 389822 h 5292022"/>
              <a:gd name="connsiteX83" fmla="*/ 16640 w 10693106"/>
              <a:gd name="connsiteY83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3240 w 10693106"/>
              <a:gd name="connsiteY46" fmla="*/ 4140556 h 5292022"/>
              <a:gd name="connsiteX47" fmla="*/ 7966840 w 10693106"/>
              <a:gd name="connsiteY47" fmla="*/ 4233689 h 5292022"/>
              <a:gd name="connsiteX48" fmla="*/ 7374173 w 10693106"/>
              <a:gd name="connsiteY48" fmla="*/ 4657022 h 5292022"/>
              <a:gd name="connsiteX49" fmla="*/ 7374173 w 10693106"/>
              <a:gd name="connsiteY49" fmla="*/ 4657022 h 5292022"/>
              <a:gd name="connsiteX50" fmla="*/ 7221773 w 10693106"/>
              <a:gd name="connsiteY50" fmla="*/ 4775556 h 5292022"/>
              <a:gd name="connsiteX51" fmla="*/ 7027040 w 10693106"/>
              <a:gd name="connsiteY51" fmla="*/ 4902556 h 5292022"/>
              <a:gd name="connsiteX52" fmla="*/ 6646040 w 10693106"/>
              <a:gd name="connsiteY52" fmla="*/ 5105756 h 5292022"/>
              <a:gd name="connsiteX53" fmla="*/ 6197306 w 10693106"/>
              <a:gd name="connsiteY53" fmla="*/ 5266622 h 5292022"/>
              <a:gd name="connsiteX54" fmla="*/ 5917906 w 10693106"/>
              <a:gd name="connsiteY54" fmla="*/ 5292022 h 5292022"/>
              <a:gd name="connsiteX55" fmla="*/ 5748573 w 10693106"/>
              <a:gd name="connsiteY55" fmla="*/ 5283556 h 5292022"/>
              <a:gd name="connsiteX56" fmla="*/ 5282906 w 10693106"/>
              <a:gd name="connsiteY56" fmla="*/ 5173489 h 5292022"/>
              <a:gd name="connsiteX57" fmla="*/ 4959480 w 10693106"/>
              <a:gd name="connsiteY57" fmla="*/ 4988069 h 5292022"/>
              <a:gd name="connsiteX58" fmla="*/ 4686853 w 10693106"/>
              <a:gd name="connsiteY58" fmla="*/ 4788256 h 5292022"/>
              <a:gd name="connsiteX59" fmla="*/ 3977346 w 10693106"/>
              <a:gd name="connsiteY59" fmla="*/ 4470544 h 5292022"/>
              <a:gd name="connsiteX60" fmla="*/ 3741550 w 10693106"/>
              <a:gd name="connsiteY60" fmla="*/ 4154102 h 5292022"/>
              <a:gd name="connsiteX61" fmla="*/ 3562056 w 10693106"/>
              <a:gd name="connsiteY61" fmla="*/ 3406919 h 5292022"/>
              <a:gd name="connsiteX62" fmla="*/ 3073106 w 10693106"/>
              <a:gd name="connsiteY62" fmla="*/ 3010256 h 5292022"/>
              <a:gd name="connsiteX63" fmla="*/ 2971506 w 10693106"/>
              <a:gd name="connsiteY63" fmla="*/ 2743556 h 5292022"/>
              <a:gd name="connsiteX64" fmla="*/ 2996906 w 10693106"/>
              <a:gd name="connsiteY64" fmla="*/ 2531889 h 5292022"/>
              <a:gd name="connsiteX65" fmla="*/ 3013840 w 10693106"/>
              <a:gd name="connsiteY65" fmla="*/ 2430289 h 5292022"/>
              <a:gd name="connsiteX66" fmla="*/ 2988440 w 10693106"/>
              <a:gd name="connsiteY66" fmla="*/ 2260956 h 5292022"/>
              <a:gd name="connsiteX67" fmla="*/ 2802173 w 10693106"/>
              <a:gd name="connsiteY67" fmla="*/ 2006956 h 5292022"/>
              <a:gd name="connsiteX68" fmla="*/ 2641306 w 10693106"/>
              <a:gd name="connsiteY68" fmla="*/ 1863022 h 5292022"/>
              <a:gd name="connsiteX69" fmla="*/ 2446573 w 10693106"/>
              <a:gd name="connsiteY69" fmla="*/ 1812222 h 5292022"/>
              <a:gd name="connsiteX70" fmla="*/ 2167173 w 10693106"/>
              <a:gd name="connsiteY70" fmla="*/ 1879956 h 5292022"/>
              <a:gd name="connsiteX71" fmla="*/ 1659173 w 10693106"/>
              <a:gd name="connsiteY71" fmla="*/ 2074689 h 5292022"/>
              <a:gd name="connsiteX72" fmla="*/ 914106 w 10693106"/>
              <a:gd name="connsiteY72" fmla="*/ 2032356 h 5292022"/>
              <a:gd name="connsiteX73" fmla="*/ 617773 w 10693106"/>
              <a:gd name="connsiteY73" fmla="*/ 1922289 h 5292022"/>
              <a:gd name="connsiteX74" fmla="*/ 354460 w 10693106"/>
              <a:gd name="connsiteY74" fmla="*/ 1676756 h 5292022"/>
              <a:gd name="connsiteX75" fmla="*/ 245240 w 10693106"/>
              <a:gd name="connsiteY75" fmla="*/ 1219556 h 5292022"/>
              <a:gd name="connsiteX76" fmla="*/ 245240 w 10693106"/>
              <a:gd name="connsiteY76" fmla="*/ 847022 h 5292022"/>
              <a:gd name="connsiteX77" fmla="*/ 236773 w 10693106"/>
              <a:gd name="connsiteY77" fmla="*/ 703089 h 5292022"/>
              <a:gd name="connsiteX78" fmla="*/ 109773 w 10693106"/>
              <a:gd name="connsiteY78" fmla="*/ 559156 h 5292022"/>
              <a:gd name="connsiteX79" fmla="*/ 58973 w 10693106"/>
              <a:gd name="connsiteY79" fmla="*/ 482956 h 5292022"/>
              <a:gd name="connsiteX80" fmla="*/ 16640 w 10693106"/>
              <a:gd name="connsiteY80" fmla="*/ 432156 h 5292022"/>
              <a:gd name="connsiteX81" fmla="*/ 8173 w 10693106"/>
              <a:gd name="connsiteY81" fmla="*/ 389822 h 5292022"/>
              <a:gd name="connsiteX82" fmla="*/ 16640 w 10693106"/>
              <a:gd name="connsiteY82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88480 w 10693106"/>
              <a:gd name="connsiteY46" fmla="*/ 4115156 h 5292022"/>
              <a:gd name="connsiteX47" fmla="*/ 7966840 w 10693106"/>
              <a:gd name="connsiteY47" fmla="*/ 4233689 h 5292022"/>
              <a:gd name="connsiteX48" fmla="*/ 7374173 w 10693106"/>
              <a:gd name="connsiteY48" fmla="*/ 4657022 h 5292022"/>
              <a:gd name="connsiteX49" fmla="*/ 7374173 w 10693106"/>
              <a:gd name="connsiteY49" fmla="*/ 4657022 h 5292022"/>
              <a:gd name="connsiteX50" fmla="*/ 7221773 w 10693106"/>
              <a:gd name="connsiteY50" fmla="*/ 4775556 h 5292022"/>
              <a:gd name="connsiteX51" fmla="*/ 7027040 w 10693106"/>
              <a:gd name="connsiteY51" fmla="*/ 4902556 h 5292022"/>
              <a:gd name="connsiteX52" fmla="*/ 6646040 w 10693106"/>
              <a:gd name="connsiteY52" fmla="*/ 5105756 h 5292022"/>
              <a:gd name="connsiteX53" fmla="*/ 6197306 w 10693106"/>
              <a:gd name="connsiteY53" fmla="*/ 5266622 h 5292022"/>
              <a:gd name="connsiteX54" fmla="*/ 5917906 w 10693106"/>
              <a:gd name="connsiteY54" fmla="*/ 5292022 h 5292022"/>
              <a:gd name="connsiteX55" fmla="*/ 5748573 w 10693106"/>
              <a:gd name="connsiteY55" fmla="*/ 5283556 h 5292022"/>
              <a:gd name="connsiteX56" fmla="*/ 5282906 w 10693106"/>
              <a:gd name="connsiteY56" fmla="*/ 5173489 h 5292022"/>
              <a:gd name="connsiteX57" fmla="*/ 4959480 w 10693106"/>
              <a:gd name="connsiteY57" fmla="*/ 4988069 h 5292022"/>
              <a:gd name="connsiteX58" fmla="*/ 4686853 w 10693106"/>
              <a:gd name="connsiteY58" fmla="*/ 4788256 h 5292022"/>
              <a:gd name="connsiteX59" fmla="*/ 3977346 w 10693106"/>
              <a:gd name="connsiteY59" fmla="*/ 4470544 h 5292022"/>
              <a:gd name="connsiteX60" fmla="*/ 3741550 w 10693106"/>
              <a:gd name="connsiteY60" fmla="*/ 4154102 h 5292022"/>
              <a:gd name="connsiteX61" fmla="*/ 3562056 w 10693106"/>
              <a:gd name="connsiteY61" fmla="*/ 3406919 h 5292022"/>
              <a:gd name="connsiteX62" fmla="*/ 3073106 w 10693106"/>
              <a:gd name="connsiteY62" fmla="*/ 3010256 h 5292022"/>
              <a:gd name="connsiteX63" fmla="*/ 2971506 w 10693106"/>
              <a:gd name="connsiteY63" fmla="*/ 2743556 h 5292022"/>
              <a:gd name="connsiteX64" fmla="*/ 2996906 w 10693106"/>
              <a:gd name="connsiteY64" fmla="*/ 2531889 h 5292022"/>
              <a:gd name="connsiteX65" fmla="*/ 3013840 w 10693106"/>
              <a:gd name="connsiteY65" fmla="*/ 2430289 h 5292022"/>
              <a:gd name="connsiteX66" fmla="*/ 2988440 w 10693106"/>
              <a:gd name="connsiteY66" fmla="*/ 2260956 h 5292022"/>
              <a:gd name="connsiteX67" fmla="*/ 2802173 w 10693106"/>
              <a:gd name="connsiteY67" fmla="*/ 2006956 h 5292022"/>
              <a:gd name="connsiteX68" fmla="*/ 2641306 w 10693106"/>
              <a:gd name="connsiteY68" fmla="*/ 1863022 h 5292022"/>
              <a:gd name="connsiteX69" fmla="*/ 2446573 w 10693106"/>
              <a:gd name="connsiteY69" fmla="*/ 1812222 h 5292022"/>
              <a:gd name="connsiteX70" fmla="*/ 2167173 w 10693106"/>
              <a:gd name="connsiteY70" fmla="*/ 1879956 h 5292022"/>
              <a:gd name="connsiteX71" fmla="*/ 1659173 w 10693106"/>
              <a:gd name="connsiteY71" fmla="*/ 2074689 h 5292022"/>
              <a:gd name="connsiteX72" fmla="*/ 914106 w 10693106"/>
              <a:gd name="connsiteY72" fmla="*/ 2032356 h 5292022"/>
              <a:gd name="connsiteX73" fmla="*/ 617773 w 10693106"/>
              <a:gd name="connsiteY73" fmla="*/ 1922289 h 5292022"/>
              <a:gd name="connsiteX74" fmla="*/ 354460 w 10693106"/>
              <a:gd name="connsiteY74" fmla="*/ 1676756 h 5292022"/>
              <a:gd name="connsiteX75" fmla="*/ 245240 w 10693106"/>
              <a:gd name="connsiteY75" fmla="*/ 1219556 h 5292022"/>
              <a:gd name="connsiteX76" fmla="*/ 245240 w 10693106"/>
              <a:gd name="connsiteY76" fmla="*/ 847022 h 5292022"/>
              <a:gd name="connsiteX77" fmla="*/ 236773 w 10693106"/>
              <a:gd name="connsiteY77" fmla="*/ 703089 h 5292022"/>
              <a:gd name="connsiteX78" fmla="*/ 109773 w 10693106"/>
              <a:gd name="connsiteY78" fmla="*/ 559156 h 5292022"/>
              <a:gd name="connsiteX79" fmla="*/ 58973 w 10693106"/>
              <a:gd name="connsiteY79" fmla="*/ 482956 h 5292022"/>
              <a:gd name="connsiteX80" fmla="*/ 16640 w 10693106"/>
              <a:gd name="connsiteY80" fmla="*/ 432156 h 5292022"/>
              <a:gd name="connsiteX81" fmla="*/ 8173 w 10693106"/>
              <a:gd name="connsiteY81" fmla="*/ 389822 h 5292022"/>
              <a:gd name="connsiteX82" fmla="*/ 16640 w 10693106"/>
              <a:gd name="connsiteY82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0700 w 10693106"/>
              <a:gd name="connsiteY46" fmla="*/ 4087216 h 5292022"/>
              <a:gd name="connsiteX47" fmla="*/ 7966840 w 10693106"/>
              <a:gd name="connsiteY47" fmla="*/ 4233689 h 5292022"/>
              <a:gd name="connsiteX48" fmla="*/ 7374173 w 10693106"/>
              <a:gd name="connsiteY48" fmla="*/ 4657022 h 5292022"/>
              <a:gd name="connsiteX49" fmla="*/ 7374173 w 10693106"/>
              <a:gd name="connsiteY49" fmla="*/ 4657022 h 5292022"/>
              <a:gd name="connsiteX50" fmla="*/ 7221773 w 10693106"/>
              <a:gd name="connsiteY50" fmla="*/ 4775556 h 5292022"/>
              <a:gd name="connsiteX51" fmla="*/ 7027040 w 10693106"/>
              <a:gd name="connsiteY51" fmla="*/ 4902556 h 5292022"/>
              <a:gd name="connsiteX52" fmla="*/ 6646040 w 10693106"/>
              <a:gd name="connsiteY52" fmla="*/ 5105756 h 5292022"/>
              <a:gd name="connsiteX53" fmla="*/ 6197306 w 10693106"/>
              <a:gd name="connsiteY53" fmla="*/ 5266622 h 5292022"/>
              <a:gd name="connsiteX54" fmla="*/ 5917906 w 10693106"/>
              <a:gd name="connsiteY54" fmla="*/ 5292022 h 5292022"/>
              <a:gd name="connsiteX55" fmla="*/ 5748573 w 10693106"/>
              <a:gd name="connsiteY55" fmla="*/ 5283556 h 5292022"/>
              <a:gd name="connsiteX56" fmla="*/ 5282906 w 10693106"/>
              <a:gd name="connsiteY56" fmla="*/ 5173489 h 5292022"/>
              <a:gd name="connsiteX57" fmla="*/ 4959480 w 10693106"/>
              <a:gd name="connsiteY57" fmla="*/ 4988069 h 5292022"/>
              <a:gd name="connsiteX58" fmla="*/ 4686853 w 10693106"/>
              <a:gd name="connsiteY58" fmla="*/ 4788256 h 5292022"/>
              <a:gd name="connsiteX59" fmla="*/ 3977346 w 10693106"/>
              <a:gd name="connsiteY59" fmla="*/ 4470544 h 5292022"/>
              <a:gd name="connsiteX60" fmla="*/ 3741550 w 10693106"/>
              <a:gd name="connsiteY60" fmla="*/ 4154102 h 5292022"/>
              <a:gd name="connsiteX61" fmla="*/ 3562056 w 10693106"/>
              <a:gd name="connsiteY61" fmla="*/ 3406919 h 5292022"/>
              <a:gd name="connsiteX62" fmla="*/ 3073106 w 10693106"/>
              <a:gd name="connsiteY62" fmla="*/ 3010256 h 5292022"/>
              <a:gd name="connsiteX63" fmla="*/ 2971506 w 10693106"/>
              <a:gd name="connsiteY63" fmla="*/ 2743556 h 5292022"/>
              <a:gd name="connsiteX64" fmla="*/ 2996906 w 10693106"/>
              <a:gd name="connsiteY64" fmla="*/ 2531889 h 5292022"/>
              <a:gd name="connsiteX65" fmla="*/ 3013840 w 10693106"/>
              <a:gd name="connsiteY65" fmla="*/ 2430289 h 5292022"/>
              <a:gd name="connsiteX66" fmla="*/ 2988440 w 10693106"/>
              <a:gd name="connsiteY66" fmla="*/ 2260956 h 5292022"/>
              <a:gd name="connsiteX67" fmla="*/ 2802173 w 10693106"/>
              <a:gd name="connsiteY67" fmla="*/ 2006956 h 5292022"/>
              <a:gd name="connsiteX68" fmla="*/ 2641306 w 10693106"/>
              <a:gd name="connsiteY68" fmla="*/ 1863022 h 5292022"/>
              <a:gd name="connsiteX69" fmla="*/ 2446573 w 10693106"/>
              <a:gd name="connsiteY69" fmla="*/ 1812222 h 5292022"/>
              <a:gd name="connsiteX70" fmla="*/ 2167173 w 10693106"/>
              <a:gd name="connsiteY70" fmla="*/ 1879956 h 5292022"/>
              <a:gd name="connsiteX71" fmla="*/ 1659173 w 10693106"/>
              <a:gd name="connsiteY71" fmla="*/ 2074689 h 5292022"/>
              <a:gd name="connsiteX72" fmla="*/ 914106 w 10693106"/>
              <a:gd name="connsiteY72" fmla="*/ 2032356 h 5292022"/>
              <a:gd name="connsiteX73" fmla="*/ 617773 w 10693106"/>
              <a:gd name="connsiteY73" fmla="*/ 1922289 h 5292022"/>
              <a:gd name="connsiteX74" fmla="*/ 354460 w 10693106"/>
              <a:gd name="connsiteY74" fmla="*/ 1676756 h 5292022"/>
              <a:gd name="connsiteX75" fmla="*/ 245240 w 10693106"/>
              <a:gd name="connsiteY75" fmla="*/ 1219556 h 5292022"/>
              <a:gd name="connsiteX76" fmla="*/ 245240 w 10693106"/>
              <a:gd name="connsiteY76" fmla="*/ 847022 h 5292022"/>
              <a:gd name="connsiteX77" fmla="*/ 236773 w 10693106"/>
              <a:gd name="connsiteY77" fmla="*/ 703089 h 5292022"/>
              <a:gd name="connsiteX78" fmla="*/ 109773 w 10693106"/>
              <a:gd name="connsiteY78" fmla="*/ 559156 h 5292022"/>
              <a:gd name="connsiteX79" fmla="*/ 58973 w 10693106"/>
              <a:gd name="connsiteY79" fmla="*/ 482956 h 5292022"/>
              <a:gd name="connsiteX80" fmla="*/ 16640 w 10693106"/>
              <a:gd name="connsiteY80" fmla="*/ 432156 h 5292022"/>
              <a:gd name="connsiteX81" fmla="*/ 8173 w 10693106"/>
              <a:gd name="connsiteY81" fmla="*/ 389822 h 5292022"/>
              <a:gd name="connsiteX82" fmla="*/ 16640 w 10693106"/>
              <a:gd name="connsiteY82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25373 w 10693106"/>
              <a:gd name="connsiteY41" fmla="*/ 2227089 h 5292022"/>
              <a:gd name="connsiteX42" fmla="*/ 10608440 w 10693106"/>
              <a:gd name="connsiteY42" fmla="*/ 2252489 h 5292022"/>
              <a:gd name="connsiteX43" fmla="*/ 10362906 w 10693106"/>
              <a:gd name="connsiteY43" fmla="*/ 2912889 h 5292022"/>
              <a:gd name="connsiteX44" fmla="*/ 9948040 w 10693106"/>
              <a:gd name="connsiteY44" fmla="*/ 3336222 h 5292022"/>
              <a:gd name="connsiteX45" fmla="*/ 9067506 w 10693106"/>
              <a:gd name="connsiteY45" fmla="*/ 3861156 h 5292022"/>
              <a:gd name="connsiteX46" fmla="*/ 8370700 w 10693106"/>
              <a:gd name="connsiteY46" fmla="*/ 4087216 h 5292022"/>
              <a:gd name="connsiteX47" fmla="*/ 7966840 w 10693106"/>
              <a:gd name="connsiteY47" fmla="*/ 4233689 h 5292022"/>
              <a:gd name="connsiteX48" fmla="*/ 7374173 w 10693106"/>
              <a:gd name="connsiteY48" fmla="*/ 4657022 h 5292022"/>
              <a:gd name="connsiteX49" fmla="*/ 7374173 w 10693106"/>
              <a:gd name="connsiteY49" fmla="*/ 4657022 h 5292022"/>
              <a:gd name="connsiteX50" fmla="*/ 7221773 w 10693106"/>
              <a:gd name="connsiteY50" fmla="*/ 4775556 h 5292022"/>
              <a:gd name="connsiteX51" fmla="*/ 7027040 w 10693106"/>
              <a:gd name="connsiteY51" fmla="*/ 4902556 h 5292022"/>
              <a:gd name="connsiteX52" fmla="*/ 6646040 w 10693106"/>
              <a:gd name="connsiteY52" fmla="*/ 5105756 h 5292022"/>
              <a:gd name="connsiteX53" fmla="*/ 6197306 w 10693106"/>
              <a:gd name="connsiteY53" fmla="*/ 5266622 h 5292022"/>
              <a:gd name="connsiteX54" fmla="*/ 5917906 w 10693106"/>
              <a:gd name="connsiteY54" fmla="*/ 5292022 h 5292022"/>
              <a:gd name="connsiteX55" fmla="*/ 5748573 w 10693106"/>
              <a:gd name="connsiteY55" fmla="*/ 5283556 h 5292022"/>
              <a:gd name="connsiteX56" fmla="*/ 5282906 w 10693106"/>
              <a:gd name="connsiteY56" fmla="*/ 5173489 h 5292022"/>
              <a:gd name="connsiteX57" fmla="*/ 4959480 w 10693106"/>
              <a:gd name="connsiteY57" fmla="*/ 4988069 h 5292022"/>
              <a:gd name="connsiteX58" fmla="*/ 4686853 w 10693106"/>
              <a:gd name="connsiteY58" fmla="*/ 4788256 h 5292022"/>
              <a:gd name="connsiteX59" fmla="*/ 3977346 w 10693106"/>
              <a:gd name="connsiteY59" fmla="*/ 4470544 h 5292022"/>
              <a:gd name="connsiteX60" fmla="*/ 3741550 w 10693106"/>
              <a:gd name="connsiteY60" fmla="*/ 4154102 h 5292022"/>
              <a:gd name="connsiteX61" fmla="*/ 3562056 w 10693106"/>
              <a:gd name="connsiteY61" fmla="*/ 3406919 h 5292022"/>
              <a:gd name="connsiteX62" fmla="*/ 3073106 w 10693106"/>
              <a:gd name="connsiteY62" fmla="*/ 3010256 h 5292022"/>
              <a:gd name="connsiteX63" fmla="*/ 2971506 w 10693106"/>
              <a:gd name="connsiteY63" fmla="*/ 2743556 h 5292022"/>
              <a:gd name="connsiteX64" fmla="*/ 2996906 w 10693106"/>
              <a:gd name="connsiteY64" fmla="*/ 2531889 h 5292022"/>
              <a:gd name="connsiteX65" fmla="*/ 3013840 w 10693106"/>
              <a:gd name="connsiteY65" fmla="*/ 2430289 h 5292022"/>
              <a:gd name="connsiteX66" fmla="*/ 2988440 w 10693106"/>
              <a:gd name="connsiteY66" fmla="*/ 2260956 h 5292022"/>
              <a:gd name="connsiteX67" fmla="*/ 2802173 w 10693106"/>
              <a:gd name="connsiteY67" fmla="*/ 2006956 h 5292022"/>
              <a:gd name="connsiteX68" fmla="*/ 2641306 w 10693106"/>
              <a:gd name="connsiteY68" fmla="*/ 1863022 h 5292022"/>
              <a:gd name="connsiteX69" fmla="*/ 2446573 w 10693106"/>
              <a:gd name="connsiteY69" fmla="*/ 1812222 h 5292022"/>
              <a:gd name="connsiteX70" fmla="*/ 2167173 w 10693106"/>
              <a:gd name="connsiteY70" fmla="*/ 1879956 h 5292022"/>
              <a:gd name="connsiteX71" fmla="*/ 1659173 w 10693106"/>
              <a:gd name="connsiteY71" fmla="*/ 2074689 h 5292022"/>
              <a:gd name="connsiteX72" fmla="*/ 914106 w 10693106"/>
              <a:gd name="connsiteY72" fmla="*/ 2032356 h 5292022"/>
              <a:gd name="connsiteX73" fmla="*/ 617773 w 10693106"/>
              <a:gd name="connsiteY73" fmla="*/ 1922289 h 5292022"/>
              <a:gd name="connsiteX74" fmla="*/ 354460 w 10693106"/>
              <a:gd name="connsiteY74" fmla="*/ 1676756 h 5292022"/>
              <a:gd name="connsiteX75" fmla="*/ 245240 w 10693106"/>
              <a:gd name="connsiteY75" fmla="*/ 1219556 h 5292022"/>
              <a:gd name="connsiteX76" fmla="*/ 245240 w 10693106"/>
              <a:gd name="connsiteY76" fmla="*/ 847022 h 5292022"/>
              <a:gd name="connsiteX77" fmla="*/ 236773 w 10693106"/>
              <a:gd name="connsiteY77" fmla="*/ 703089 h 5292022"/>
              <a:gd name="connsiteX78" fmla="*/ 109773 w 10693106"/>
              <a:gd name="connsiteY78" fmla="*/ 559156 h 5292022"/>
              <a:gd name="connsiteX79" fmla="*/ 58973 w 10693106"/>
              <a:gd name="connsiteY79" fmla="*/ 482956 h 5292022"/>
              <a:gd name="connsiteX80" fmla="*/ 16640 w 10693106"/>
              <a:gd name="connsiteY80" fmla="*/ 432156 h 5292022"/>
              <a:gd name="connsiteX81" fmla="*/ 8173 w 10693106"/>
              <a:gd name="connsiteY81" fmla="*/ 389822 h 5292022"/>
              <a:gd name="connsiteX82" fmla="*/ 16640 w 10693106"/>
              <a:gd name="connsiteY82" fmla="*/ 339022 h 5292022"/>
              <a:gd name="connsiteX0" fmla="*/ 16640 w 10693106"/>
              <a:gd name="connsiteY0" fmla="*/ 339022 h 5292022"/>
              <a:gd name="connsiteX1" fmla="*/ 58973 w 10693106"/>
              <a:gd name="connsiteY1" fmla="*/ 245889 h 5292022"/>
              <a:gd name="connsiteX2" fmla="*/ 109773 w 10693106"/>
              <a:gd name="connsiteY2" fmla="*/ 178156 h 5292022"/>
              <a:gd name="connsiteX3" fmla="*/ 202906 w 10693106"/>
              <a:gd name="connsiteY3" fmla="*/ 93489 h 5292022"/>
              <a:gd name="connsiteX4" fmla="*/ 236773 w 10693106"/>
              <a:gd name="connsiteY4" fmla="*/ 68089 h 5292022"/>
              <a:gd name="connsiteX5" fmla="*/ 335410 w 10693106"/>
              <a:gd name="connsiteY5" fmla="*/ 58352 h 5292022"/>
              <a:gd name="connsiteX6" fmla="*/ 382400 w 10693106"/>
              <a:gd name="connsiteY6" fmla="*/ 51156 h 5292022"/>
              <a:gd name="connsiteX7" fmla="*/ 434912 w 10693106"/>
              <a:gd name="connsiteY7" fmla="*/ 70071 h 5292022"/>
              <a:gd name="connsiteX8" fmla="*/ 492697 w 10693106"/>
              <a:gd name="connsiteY8" fmla="*/ 74247 h 5292022"/>
              <a:gd name="connsiteX9" fmla="*/ 822897 w 10693106"/>
              <a:gd name="connsiteY9" fmla="*/ 82713 h 5292022"/>
              <a:gd name="connsiteX10" fmla="*/ 1091906 w 10693106"/>
              <a:gd name="connsiteY10" fmla="*/ 356 h 5292022"/>
              <a:gd name="connsiteX11" fmla="*/ 1235840 w 10693106"/>
              <a:gd name="connsiteY11" fmla="*/ 59622 h 5292022"/>
              <a:gd name="connsiteX12" fmla="*/ 1337440 w 10693106"/>
              <a:gd name="connsiteY12" fmla="*/ 135822 h 5292022"/>
              <a:gd name="connsiteX13" fmla="*/ 1422106 w 10693106"/>
              <a:gd name="connsiteY13" fmla="*/ 245889 h 5292022"/>
              <a:gd name="connsiteX14" fmla="*/ 1481373 w 10693106"/>
              <a:gd name="connsiteY14" fmla="*/ 313622 h 5292022"/>
              <a:gd name="connsiteX15" fmla="*/ 1532173 w 10693106"/>
              <a:gd name="connsiteY15" fmla="*/ 347489 h 5292022"/>
              <a:gd name="connsiteX16" fmla="*/ 1684573 w 10693106"/>
              <a:gd name="connsiteY16" fmla="*/ 406756 h 5292022"/>
              <a:gd name="connsiteX17" fmla="*/ 1760773 w 10693106"/>
              <a:gd name="connsiteY17" fmla="*/ 423689 h 5292022"/>
              <a:gd name="connsiteX18" fmla="*/ 2404240 w 10693106"/>
              <a:gd name="connsiteY18" fmla="*/ 355956 h 5292022"/>
              <a:gd name="connsiteX19" fmla="*/ 3398918 w 10693106"/>
              <a:gd name="connsiteY19" fmla="*/ 72322 h 5292022"/>
              <a:gd name="connsiteX20" fmla="*/ 4529373 w 10693106"/>
              <a:gd name="connsiteY20" fmla="*/ 271289 h 5292022"/>
              <a:gd name="connsiteX21" fmla="*/ 5630810 w 10693106"/>
              <a:gd name="connsiteY21" fmla="*/ 1149898 h 5292022"/>
              <a:gd name="connsiteX22" fmla="*/ 6881490 w 10693106"/>
              <a:gd name="connsiteY22" fmla="*/ 1366452 h 5292022"/>
              <a:gd name="connsiteX23" fmla="*/ 7839032 w 10693106"/>
              <a:gd name="connsiteY23" fmla="*/ 1183996 h 5292022"/>
              <a:gd name="connsiteX24" fmla="*/ 8652640 w 10693106"/>
              <a:gd name="connsiteY24" fmla="*/ 677689 h 5292022"/>
              <a:gd name="connsiteX25" fmla="*/ 8982840 w 10693106"/>
              <a:gd name="connsiteY25" fmla="*/ 398289 h 5292022"/>
              <a:gd name="connsiteX26" fmla="*/ 9380773 w 10693106"/>
              <a:gd name="connsiteY26" fmla="*/ 355956 h 5292022"/>
              <a:gd name="connsiteX27" fmla="*/ 9744840 w 10693106"/>
              <a:gd name="connsiteY27" fmla="*/ 466022 h 5292022"/>
              <a:gd name="connsiteX28" fmla="*/ 9888773 w 10693106"/>
              <a:gd name="connsiteY28" fmla="*/ 508356 h 5292022"/>
              <a:gd name="connsiteX29" fmla="*/ 9998840 w 10693106"/>
              <a:gd name="connsiteY29" fmla="*/ 559156 h 5292022"/>
              <a:gd name="connsiteX30" fmla="*/ 10083506 w 10693106"/>
              <a:gd name="connsiteY30" fmla="*/ 618422 h 5292022"/>
              <a:gd name="connsiteX31" fmla="*/ 10286706 w 10693106"/>
              <a:gd name="connsiteY31" fmla="*/ 686156 h 5292022"/>
              <a:gd name="connsiteX32" fmla="*/ 10388306 w 10693106"/>
              <a:gd name="connsiteY32" fmla="*/ 889356 h 5292022"/>
              <a:gd name="connsiteX33" fmla="*/ 10540706 w 10693106"/>
              <a:gd name="connsiteY33" fmla="*/ 1261889 h 5292022"/>
              <a:gd name="connsiteX34" fmla="*/ 10557640 w 10693106"/>
              <a:gd name="connsiteY34" fmla="*/ 1346556 h 5292022"/>
              <a:gd name="connsiteX35" fmla="*/ 10583040 w 10693106"/>
              <a:gd name="connsiteY35" fmla="*/ 1448156 h 5292022"/>
              <a:gd name="connsiteX36" fmla="*/ 10616906 w 10693106"/>
              <a:gd name="connsiteY36" fmla="*/ 1651356 h 5292022"/>
              <a:gd name="connsiteX37" fmla="*/ 10633840 w 10693106"/>
              <a:gd name="connsiteY37" fmla="*/ 1736022 h 5292022"/>
              <a:gd name="connsiteX38" fmla="*/ 10650773 w 10693106"/>
              <a:gd name="connsiteY38" fmla="*/ 1769889 h 5292022"/>
              <a:gd name="connsiteX39" fmla="*/ 10676173 w 10693106"/>
              <a:gd name="connsiteY39" fmla="*/ 1854556 h 5292022"/>
              <a:gd name="connsiteX40" fmla="*/ 10693106 w 10693106"/>
              <a:gd name="connsiteY40" fmla="*/ 2006956 h 5292022"/>
              <a:gd name="connsiteX41" fmla="*/ 10608440 w 10693106"/>
              <a:gd name="connsiteY41" fmla="*/ 2252489 h 5292022"/>
              <a:gd name="connsiteX42" fmla="*/ 10362906 w 10693106"/>
              <a:gd name="connsiteY42" fmla="*/ 2912889 h 5292022"/>
              <a:gd name="connsiteX43" fmla="*/ 9948040 w 10693106"/>
              <a:gd name="connsiteY43" fmla="*/ 3336222 h 5292022"/>
              <a:gd name="connsiteX44" fmla="*/ 9067506 w 10693106"/>
              <a:gd name="connsiteY44" fmla="*/ 3861156 h 5292022"/>
              <a:gd name="connsiteX45" fmla="*/ 8370700 w 10693106"/>
              <a:gd name="connsiteY45" fmla="*/ 4087216 h 5292022"/>
              <a:gd name="connsiteX46" fmla="*/ 7966840 w 10693106"/>
              <a:gd name="connsiteY46" fmla="*/ 4233689 h 5292022"/>
              <a:gd name="connsiteX47" fmla="*/ 7374173 w 10693106"/>
              <a:gd name="connsiteY47" fmla="*/ 4657022 h 5292022"/>
              <a:gd name="connsiteX48" fmla="*/ 7374173 w 10693106"/>
              <a:gd name="connsiteY48" fmla="*/ 4657022 h 5292022"/>
              <a:gd name="connsiteX49" fmla="*/ 7221773 w 10693106"/>
              <a:gd name="connsiteY49" fmla="*/ 4775556 h 5292022"/>
              <a:gd name="connsiteX50" fmla="*/ 7027040 w 10693106"/>
              <a:gd name="connsiteY50" fmla="*/ 4902556 h 5292022"/>
              <a:gd name="connsiteX51" fmla="*/ 6646040 w 10693106"/>
              <a:gd name="connsiteY51" fmla="*/ 5105756 h 5292022"/>
              <a:gd name="connsiteX52" fmla="*/ 6197306 w 10693106"/>
              <a:gd name="connsiteY52" fmla="*/ 5266622 h 5292022"/>
              <a:gd name="connsiteX53" fmla="*/ 5917906 w 10693106"/>
              <a:gd name="connsiteY53" fmla="*/ 5292022 h 5292022"/>
              <a:gd name="connsiteX54" fmla="*/ 5748573 w 10693106"/>
              <a:gd name="connsiteY54" fmla="*/ 5283556 h 5292022"/>
              <a:gd name="connsiteX55" fmla="*/ 5282906 w 10693106"/>
              <a:gd name="connsiteY55" fmla="*/ 5173489 h 5292022"/>
              <a:gd name="connsiteX56" fmla="*/ 4959480 w 10693106"/>
              <a:gd name="connsiteY56" fmla="*/ 4988069 h 5292022"/>
              <a:gd name="connsiteX57" fmla="*/ 4686853 w 10693106"/>
              <a:gd name="connsiteY57" fmla="*/ 4788256 h 5292022"/>
              <a:gd name="connsiteX58" fmla="*/ 3977346 w 10693106"/>
              <a:gd name="connsiteY58" fmla="*/ 4470544 h 5292022"/>
              <a:gd name="connsiteX59" fmla="*/ 3741550 w 10693106"/>
              <a:gd name="connsiteY59" fmla="*/ 4154102 h 5292022"/>
              <a:gd name="connsiteX60" fmla="*/ 3562056 w 10693106"/>
              <a:gd name="connsiteY60" fmla="*/ 3406919 h 5292022"/>
              <a:gd name="connsiteX61" fmla="*/ 3073106 w 10693106"/>
              <a:gd name="connsiteY61" fmla="*/ 3010256 h 5292022"/>
              <a:gd name="connsiteX62" fmla="*/ 2971506 w 10693106"/>
              <a:gd name="connsiteY62" fmla="*/ 2743556 h 5292022"/>
              <a:gd name="connsiteX63" fmla="*/ 2996906 w 10693106"/>
              <a:gd name="connsiteY63" fmla="*/ 2531889 h 5292022"/>
              <a:gd name="connsiteX64" fmla="*/ 3013840 w 10693106"/>
              <a:gd name="connsiteY64" fmla="*/ 2430289 h 5292022"/>
              <a:gd name="connsiteX65" fmla="*/ 2988440 w 10693106"/>
              <a:gd name="connsiteY65" fmla="*/ 2260956 h 5292022"/>
              <a:gd name="connsiteX66" fmla="*/ 2802173 w 10693106"/>
              <a:gd name="connsiteY66" fmla="*/ 2006956 h 5292022"/>
              <a:gd name="connsiteX67" fmla="*/ 2641306 w 10693106"/>
              <a:gd name="connsiteY67" fmla="*/ 1863022 h 5292022"/>
              <a:gd name="connsiteX68" fmla="*/ 2446573 w 10693106"/>
              <a:gd name="connsiteY68" fmla="*/ 1812222 h 5292022"/>
              <a:gd name="connsiteX69" fmla="*/ 2167173 w 10693106"/>
              <a:gd name="connsiteY69" fmla="*/ 1879956 h 5292022"/>
              <a:gd name="connsiteX70" fmla="*/ 1659173 w 10693106"/>
              <a:gd name="connsiteY70" fmla="*/ 2074689 h 5292022"/>
              <a:gd name="connsiteX71" fmla="*/ 914106 w 10693106"/>
              <a:gd name="connsiteY71" fmla="*/ 2032356 h 5292022"/>
              <a:gd name="connsiteX72" fmla="*/ 617773 w 10693106"/>
              <a:gd name="connsiteY72" fmla="*/ 1922289 h 5292022"/>
              <a:gd name="connsiteX73" fmla="*/ 354460 w 10693106"/>
              <a:gd name="connsiteY73" fmla="*/ 1676756 h 5292022"/>
              <a:gd name="connsiteX74" fmla="*/ 245240 w 10693106"/>
              <a:gd name="connsiteY74" fmla="*/ 1219556 h 5292022"/>
              <a:gd name="connsiteX75" fmla="*/ 245240 w 10693106"/>
              <a:gd name="connsiteY75" fmla="*/ 847022 h 5292022"/>
              <a:gd name="connsiteX76" fmla="*/ 236773 w 10693106"/>
              <a:gd name="connsiteY76" fmla="*/ 703089 h 5292022"/>
              <a:gd name="connsiteX77" fmla="*/ 109773 w 10693106"/>
              <a:gd name="connsiteY77" fmla="*/ 559156 h 5292022"/>
              <a:gd name="connsiteX78" fmla="*/ 58973 w 10693106"/>
              <a:gd name="connsiteY78" fmla="*/ 482956 h 5292022"/>
              <a:gd name="connsiteX79" fmla="*/ 16640 w 10693106"/>
              <a:gd name="connsiteY79" fmla="*/ 432156 h 5292022"/>
              <a:gd name="connsiteX80" fmla="*/ 8173 w 10693106"/>
              <a:gd name="connsiteY80" fmla="*/ 389822 h 5292022"/>
              <a:gd name="connsiteX81" fmla="*/ 16640 w 10693106"/>
              <a:gd name="connsiteY81" fmla="*/ 339022 h 5292022"/>
              <a:gd name="connsiteX0" fmla="*/ 16640 w 10677410"/>
              <a:gd name="connsiteY0" fmla="*/ 339022 h 5292022"/>
              <a:gd name="connsiteX1" fmla="*/ 58973 w 10677410"/>
              <a:gd name="connsiteY1" fmla="*/ 245889 h 5292022"/>
              <a:gd name="connsiteX2" fmla="*/ 109773 w 10677410"/>
              <a:gd name="connsiteY2" fmla="*/ 178156 h 5292022"/>
              <a:gd name="connsiteX3" fmla="*/ 202906 w 10677410"/>
              <a:gd name="connsiteY3" fmla="*/ 93489 h 5292022"/>
              <a:gd name="connsiteX4" fmla="*/ 236773 w 10677410"/>
              <a:gd name="connsiteY4" fmla="*/ 68089 h 5292022"/>
              <a:gd name="connsiteX5" fmla="*/ 335410 w 10677410"/>
              <a:gd name="connsiteY5" fmla="*/ 58352 h 5292022"/>
              <a:gd name="connsiteX6" fmla="*/ 382400 w 10677410"/>
              <a:gd name="connsiteY6" fmla="*/ 51156 h 5292022"/>
              <a:gd name="connsiteX7" fmla="*/ 434912 w 10677410"/>
              <a:gd name="connsiteY7" fmla="*/ 70071 h 5292022"/>
              <a:gd name="connsiteX8" fmla="*/ 492697 w 10677410"/>
              <a:gd name="connsiteY8" fmla="*/ 74247 h 5292022"/>
              <a:gd name="connsiteX9" fmla="*/ 822897 w 10677410"/>
              <a:gd name="connsiteY9" fmla="*/ 82713 h 5292022"/>
              <a:gd name="connsiteX10" fmla="*/ 1091906 w 10677410"/>
              <a:gd name="connsiteY10" fmla="*/ 356 h 5292022"/>
              <a:gd name="connsiteX11" fmla="*/ 1235840 w 10677410"/>
              <a:gd name="connsiteY11" fmla="*/ 59622 h 5292022"/>
              <a:gd name="connsiteX12" fmla="*/ 1337440 w 10677410"/>
              <a:gd name="connsiteY12" fmla="*/ 135822 h 5292022"/>
              <a:gd name="connsiteX13" fmla="*/ 1422106 w 10677410"/>
              <a:gd name="connsiteY13" fmla="*/ 245889 h 5292022"/>
              <a:gd name="connsiteX14" fmla="*/ 1481373 w 10677410"/>
              <a:gd name="connsiteY14" fmla="*/ 313622 h 5292022"/>
              <a:gd name="connsiteX15" fmla="*/ 1532173 w 10677410"/>
              <a:gd name="connsiteY15" fmla="*/ 347489 h 5292022"/>
              <a:gd name="connsiteX16" fmla="*/ 1684573 w 10677410"/>
              <a:gd name="connsiteY16" fmla="*/ 406756 h 5292022"/>
              <a:gd name="connsiteX17" fmla="*/ 1760773 w 10677410"/>
              <a:gd name="connsiteY17" fmla="*/ 423689 h 5292022"/>
              <a:gd name="connsiteX18" fmla="*/ 2404240 w 10677410"/>
              <a:gd name="connsiteY18" fmla="*/ 355956 h 5292022"/>
              <a:gd name="connsiteX19" fmla="*/ 3398918 w 10677410"/>
              <a:gd name="connsiteY19" fmla="*/ 72322 h 5292022"/>
              <a:gd name="connsiteX20" fmla="*/ 4529373 w 10677410"/>
              <a:gd name="connsiteY20" fmla="*/ 271289 h 5292022"/>
              <a:gd name="connsiteX21" fmla="*/ 5630810 w 10677410"/>
              <a:gd name="connsiteY21" fmla="*/ 1149898 h 5292022"/>
              <a:gd name="connsiteX22" fmla="*/ 6881490 w 10677410"/>
              <a:gd name="connsiteY22" fmla="*/ 1366452 h 5292022"/>
              <a:gd name="connsiteX23" fmla="*/ 7839032 w 10677410"/>
              <a:gd name="connsiteY23" fmla="*/ 1183996 h 5292022"/>
              <a:gd name="connsiteX24" fmla="*/ 8652640 w 10677410"/>
              <a:gd name="connsiteY24" fmla="*/ 677689 h 5292022"/>
              <a:gd name="connsiteX25" fmla="*/ 8982840 w 10677410"/>
              <a:gd name="connsiteY25" fmla="*/ 398289 h 5292022"/>
              <a:gd name="connsiteX26" fmla="*/ 9380773 w 10677410"/>
              <a:gd name="connsiteY26" fmla="*/ 355956 h 5292022"/>
              <a:gd name="connsiteX27" fmla="*/ 9744840 w 10677410"/>
              <a:gd name="connsiteY27" fmla="*/ 466022 h 5292022"/>
              <a:gd name="connsiteX28" fmla="*/ 9888773 w 10677410"/>
              <a:gd name="connsiteY28" fmla="*/ 508356 h 5292022"/>
              <a:gd name="connsiteX29" fmla="*/ 9998840 w 10677410"/>
              <a:gd name="connsiteY29" fmla="*/ 559156 h 5292022"/>
              <a:gd name="connsiteX30" fmla="*/ 10083506 w 10677410"/>
              <a:gd name="connsiteY30" fmla="*/ 618422 h 5292022"/>
              <a:gd name="connsiteX31" fmla="*/ 10286706 w 10677410"/>
              <a:gd name="connsiteY31" fmla="*/ 686156 h 5292022"/>
              <a:gd name="connsiteX32" fmla="*/ 10388306 w 10677410"/>
              <a:gd name="connsiteY32" fmla="*/ 889356 h 5292022"/>
              <a:gd name="connsiteX33" fmla="*/ 10540706 w 10677410"/>
              <a:gd name="connsiteY33" fmla="*/ 1261889 h 5292022"/>
              <a:gd name="connsiteX34" fmla="*/ 10557640 w 10677410"/>
              <a:gd name="connsiteY34" fmla="*/ 1346556 h 5292022"/>
              <a:gd name="connsiteX35" fmla="*/ 10583040 w 10677410"/>
              <a:gd name="connsiteY35" fmla="*/ 1448156 h 5292022"/>
              <a:gd name="connsiteX36" fmla="*/ 10616906 w 10677410"/>
              <a:gd name="connsiteY36" fmla="*/ 1651356 h 5292022"/>
              <a:gd name="connsiteX37" fmla="*/ 10633840 w 10677410"/>
              <a:gd name="connsiteY37" fmla="*/ 1736022 h 5292022"/>
              <a:gd name="connsiteX38" fmla="*/ 10650773 w 10677410"/>
              <a:gd name="connsiteY38" fmla="*/ 1769889 h 5292022"/>
              <a:gd name="connsiteX39" fmla="*/ 10676173 w 10677410"/>
              <a:gd name="connsiteY39" fmla="*/ 1854556 h 5292022"/>
              <a:gd name="connsiteX40" fmla="*/ 10608440 w 10677410"/>
              <a:gd name="connsiteY40" fmla="*/ 2252489 h 5292022"/>
              <a:gd name="connsiteX41" fmla="*/ 10362906 w 10677410"/>
              <a:gd name="connsiteY41" fmla="*/ 2912889 h 5292022"/>
              <a:gd name="connsiteX42" fmla="*/ 9948040 w 10677410"/>
              <a:gd name="connsiteY42" fmla="*/ 3336222 h 5292022"/>
              <a:gd name="connsiteX43" fmla="*/ 9067506 w 10677410"/>
              <a:gd name="connsiteY43" fmla="*/ 3861156 h 5292022"/>
              <a:gd name="connsiteX44" fmla="*/ 8370700 w 10677410"/>
              <a:gd name="connsiteY44" fmla="*/ 4087216 h 5292022"/>
              <a:gd name="connsiteX45" fmla="*/ 7966840 w 10677410"/>
              <a:gd name="connsiteY45" fmla="*/ 4233689 h 5292022"/>
              <a:gd name="connsiteX46" fmla="*/ 7374173 w 10677410"/>
              <a:gd name="connsiteY46" fmla="*/ 4657022 h 5292022"/>
              <a:gd name="connsiteX47" fmla="*/ 7374173 w 10677410"/>
              <a:gd name="connsiteY47" fmla="*/ 4657022 h 5292022"/>
              <a:gd name="connsiteX48" fmla="*/ 7221773 w 10677410"/>
              <a:gd name="connsiteY48" fmla="*/ 4775556 h 5292022"/>
              <a:gd name="connsiteX49" fmla="*/ 7027040 w 10677410"/>
              <a:gd name="connsiteY49" fmla="*/ 4902556 h 5292022"/>
              <a:gd name="connsiteX50" fmla="*/ 6646040 w 10677410"/>
              <a:gd name="connsiteY50" fmla="*/ 5105756 h 5292022"/>
              <a:gd name="connsiteX51" fmla="*/ 6197306 w 10677410"/>
              <a:gd name="connsiteY51" fmla="*/ 5266622 h 5292022"/>
              <a:gd name="connsiteX52" fmla="*/ 5917906 w 10677410"/>
              <a:gd name="connsiteY52" fmla="*/ 5292022 h 5292022"/>
              <a:gd name="connsiteX53" fmla="*/ 5748573 w 10677410"/>
              <a:gd name="connsiteY53" fmla="*/ 5283556 h 5292022"/>
              <a:gd name="connsiteX54" fmla="*/ 5282906 w 10677410"/>
              <a:gd name="connsiteY54" fmla="*/ 5173489 h 5292022"/>
              <a:gd name="connsiteX55" fmla="*/ 4959480 w 10677410"/>
              <a:gd name="connsiteY55" fmla="*/ 4988069 h 5292022"/>
              <a:gd name="connsiteX56" fmla="*/ 4686853 w 10677410"/>
              <a:gd name="connsiteY56" fmla="*/ 4788256 h 5292022"/>
              <a:gd name="connsiteX57" fmla="*/ 3977346 w 10677410"/>
              <a:gd name="connsiteY57" fmla="*/ 4470544 h 5292022"/>
              <a:gd name="connsiteX58" fmla="*/ 3741550 w 10677410"/>
              <a:gd name="connsiteY58" fmla="*/ 4154102 h 5292022"/>
              <a:gd name="connsiteX59" fmla="*/ 3562056 w 10677410"/>
              <a:gd name="connsiteY59" fmla="*/ 3406919 h 5292022"/>
              <a:gd name="connsiteX60" fmla="*/ 3073106 w 10677410"/>
              <a:gd name="connsiteY60" fmla="*/ 3010256 h 5292022"/>
              <a:gd name="connsiteX61" fmla="*/ 2971506 w 10677410"/>
              <a:gd name="connsiteY61" fmla="*/ 2743556 h 5292022"/>
              <a:gd name="connsiteX62" fmla="*/ 2996906 w 10677410"/>
              <a:gd name="connsiteY62" fmla="*/ 2531889 h 5292022"/>
              <a:gd name="connsiteX63" fmla="*/ 3013840 w 10677410"/>
              <a:gd name="connsiteY63" fmla="*/ 2430289 h 5292022"/>
              <a:gd name="connsiteX64" fmla="*/ 2988440 w 10677410"/>
              <a:gd name="connsiteY64" fmla="*/ 2260956 h 5292022"/>
              <a:gd name="connsiteX65" fmla="*/ 2802173 w 10677410"/>
              <a:gd name="connsiteY65" fmla="*/ 2006956 h 5292022"/>
              <a:gd name="connsiteX66" fmla="*/ 2641306 w 10677410"/>
              <a:gd name="connsiteY66" fmla="*/ 1863022 h 5292022"/>
              <a:gd name="connsiteX67" fmla="*/ 2446573 w 10677410"/>
              <a:gd name="connsiteY67" fmla="*/ 1812222 h 5292022"/>
              <a:gd name="connsiteX68" fmla="*/ 2167173 w 10677410"/>
              <a:gd name="connsiteY68" fmla="*/ 1879956 h 5292022"/>
              <a:gd name="connsiteX69" fmla="*/ 1659173 w 10677410"/>
              <a:gd name="connsiteY69" fmla="*/ 2074689 h 5292022"/>
              <a:gd name="connsiteX70" fmla="*/ 914106 w 10677410"/>
              <a:gd name="connsiteY70" fmla="*/ 2032356 h 5292022"/>
              <a:gd name="connsiteX71" fmla="*/ 617773 w 10677410"/>
              <a:gd name="connsiteY71" fmla="*/ 1922289 h 5292022"/>
              <a:gd name="connsiteX72" fmla="*/ 354460 w 10677410"/>
              <a:gd name="connsiteY72" fmla="*/ 1676756 h 5292022"/>
              <a:gd name="connsiteX73" fmla="*/ 245240 w 10677410"/>
              <a:gd name="connsiteY73" fmla="*/ 1219556 h 5292022"/>
              <a:gd name="connsiteX74" fmla="*/ 245240 w 10677410"/>
              <a:gd name="connsiteY74" fmla="*/ 847022 h 5292022"/>
              <a:gd name="connsiteX75" fmla="*/ 236773 w 10677410"/>
              <a:gd name="connsiteY75" fmla="*/ 703089 h 5292022"/>
              <a:gd name="connsiteX76" fmla="*/ 109773 w 10677410"/>
              <a:gd name="connsiteY76" fmla="*/ 559156 h 5292022"/>
              <a:gd name="connsiteX77" fmla="*/ 58973 w 10677410"/>
              <a:gd name="connsiteY77" fmla="*/ 482956 h 5292022"/>
              <a:gd name="connsiteX78" fmla="*/ 16640 w 10677410"/>
              <a:gd name="connsiteY78" fmla="*/ 432156 h 5292022"/>
              <a:gd name="connsiteX79" fmla="*/ 8173 w 10677410"/>
              <a:gd name="connsiteY79" fmla="*/ 389822 h 5292022"/>
              <a:gd name="connsiteX80" fmla="*/ 16640 w 10677410"/>
              <a:gd name="connsiteY80" fmla="*/ 339022 h 5292022"/>
              <a:gd name="connsiteX0" fmla="*/ 16640 w 10677515"/>
              <a:gd name="connsiteY0" fmla="*/ 339022 h 5292022"/>
              <a:gd name="connsiteX1" fmla="*/ 58973 w 10677515"/>
              <a:gd name="connsiteY1" fmla="*/ 245889 h 5292022"/>
              <a:gd name="connsiteX2" fmla="*/ 109773 w 10677515"/>
              <a:gd name="connsiteY2" fmla="*/ 178156 h 5292022"/>
              <a:gd name="connsiteX3" fmla="*/ 202906 w 10677515"/>
              <a:gd name="connsiteY3" fmla="*/ 93489 h 5292022"/>
              <a:gd name="connsiteX4" fmla="*/ 236773 w 10677515"/>
              <a:gd name="connsiteY4" fmla="*/ 68089 h 5292022"/>
              <a:gd name="connsiteX5" fmla="*/ 335410 w 10677515"/>
              <a:gd name="connsiteY5" fmla="*/ 58352 h 5292022"/>
              <a:gd name="connsiteX6" fmla="*/ 382400 w 10677515"/>
              <a:gd name="connsiteY6" fmla="*/ 51156 h 5292022"/>
              <a:gd name="connsiteX7" fmla="*/ 434912 w 10677515"/>
              <a:gd name="connsiteY7" fmla="*/ 70071 h 5292022"/>
              <a:gd name="connsiteX8" fmla="*/ 492697 w 10677515"/>
              <a:gd name="connsiteY8" fmla="*/ 74247 h 5292022"/>
              <a:gd name="connsiteX9" fmla="*/ 822897 w 10677515"/>
              <a:gd name="connsiteY9" fmla="*/ 82713 h 5292022"/>
              <a:gd name="connsiteX10" fmla="*/ 1091906 w 10677515"/>
              <a:gd name="connsiteY10" fmla="*/ 356 h 5292022"/>
              <a:gd name="connsiteX11" fmla="*/ 1235840 w 10677515"/>
              <a:gd name="connsiteY11" fmla="*/ 59622 h 5292022"/>
              <a:gd name="connsiteX12" fmla="*/ 1337440 w 10677515"/>
              <a:gd name="connsiteY12" fmla="*/ 135822 h 5292022"/>
              <a:gd name="connsiteX13" fmla="*/ 1422106 w 10677515"/>
              <a:gd name="connsiteY13" fmla="*/ 245889 h 5292022"/>
              <a:gd name="connsiteX14" fmla="*/ 1481373 w 10677515"/>
              <a:gd name="connsiteY14" fmla="*/ 313622 h 5292022"/>
              <a:gd name="connsiteX15" fmla="*/ 1532173 w 10677515"/>
              <a:gd name="connsiteY15" fmla="*/ 347489 h 5292022"/>
              <a:gd name="connsiteX16" fmla="*/ 1684573 w 10677515"/>
              <a:gd name="connsiteY16" fmla="*/ 406756 h 5292022"/>
              <a:gd name="connsiteX17" fmla="*/ 1760773 w 10677515"/>
              <a:gd name="connsiteY17" fmla="*/ 423689 h 5292022"/>
              <a:gd name="connsiteX18" fmla="*/ 2404240 w 10677515"/>
              <a:gd name="connsiteY18" fmla="*/ 355956 h 5292022"/>
              <a:gd name="connsiteX19" fmla="*/ 3398918 w 10677515"/>
              <a:gd name="connsiteY19" fmla="*/ 72322 h 5292022"/>
              <a:gd name="connsiteX20" fmla="*/ 4529373 w 10677515"/>
              <a:gd name="connsiteY20" fmla="*/ 271289 h 5292022"/>
              <a:gd name="connsiteX21" fmla="*/ 5630810 w 10677515"/>
              <a:gd name="connsiteY21" fmla="*/ 1149898 h 5292022"/>
              <a:gd name="connsiteX22" fmla="*/ 6881490 w 10677515"/>
              <a:gd name="connsiteY22" fmla="*/ 1366452 h 5292022"/>
              <a:gd name="connsiteX23" fmla="*/ 7839032 w 10677515"/>
              <a:gd name="connsiteY23" fmla="*/ 1183996 h 5292022"/>
              <a:gd name="connsiteX24" fmla="*/ 8652640 w 10677515"/>
              <a:gd name="connsiteY24" fmla="*/ 677689 h 5292022"/>
              <a:gd name="connsiteX25" fmla="*/ 8982840 w 10677515"/>
              <a:gd name="connsiteY25" fmla="*/ 398289 h 5292022"/>
              <a:gd name="connsiteX26" fmla="*/ 9380773 w 10677515"/>
              <a:gd name="connsiteY26" fmla="*/ 355956 h 5292022"/>
              <a:gd name="connsiteX27" fmla="*/ 9744840 w 10677515"/>
              <a:gd name="connsiteY27" fmla="*/ 466022 h 5292022"/>
              <a:gd name="connsiteX28" fmla="*/ 9888773 w 10677515"/>
              <a:gd name="connsiteY28" fmla="*/ 508356 h 5292022"/>
              <a:gd name="connsiteX29" fmla="*/ 9998840 w 10677515"/>
              <a:gd name="connsiteY29" fmla="*/ 559156 h 5292022"/>
              <a:gd name="connsiteX30" fmla="*/ 10083506 w 10677515"/>
              <a:gd name="connsiteY30" fmla="*/ 618422 h 5292022"/>
              <a:gd name="connsiteX31" fmla="*/ 10286706 w 10677515"/>
              <a:gd name="connsiteY31" fmla="*/ 686156 h 5292022"/>
              <a:gd name="connsiteX32" fmla="*/ 10388306 w 10677515"/>
              <a:gd name="connsiteY32" fmla="*/ 889356 h 5292022"/>
              <a:gd name="connsiteX33" fmla="*/ 10540706 w 10677515"/>
              <a:gd name="connsiteY33" fmla="*/ 1261889 h 5292022"/>
              <a:gd name="connsiteX34" fmla="*/ 10557640 w 10677515"/>
              <a:gd name="connsiteY34" fmla="*/ 1346556 h 5292022"/>
              <a:gd name="connsiteX35" fmla="*/ 10583040 w 10677515"/>
              <a:gd name="connsiteY35" fmla="*/ 1448156 h 5292022"/>
              <a:gd name="connsiteX36" fmla="*/ 10616906 w 10677515"/>
              <a:gd name="connsiteY36" fmla="*/ 1651356 h 5292022"/>
              <a:gd name="connsiteX37" fmla="*/ 10650773 w 10677515"/>
              <a:gd name="connsiteY37" fmla="*/ 1769889 h 5292022"/>
              <a:gd name="connsiteX38" fmla="*/ 10676173 w 10677515"/>
              <a:gd name="connsiteY38" fmla="*/ 1854556 h 5292022"/>
              <a:gd name="connsiteX39" fmla="*/ 10608440 w 10677515"/>
              <a:gd name="connsiteY39" fmla="*/ 2252489 h 5292022"/>
              <a:gd name="connsiteX40" fmla="*/ 10362906 w 10677515"/>
              <a:gd name="connsiteY40" fmla="*/ 2912889 h 5292022"/>
              <a:gd name="connsiteX41" fmla="*/ 9948040 w 10677515"/>
              <a:gd name="connsiteY41" fmla="*/ 3336222 h 5292022"/>
              <a:gd name="connsiteX42" fmla="*/ 9067506 w 10677515"/>
              <a:gd name="connsiteY42" fmla="*/ 3861156 h 5292022"/>
              <a:gd name="connsiteX43" fmla="*/ 8370700 w 10677515"/>
              <a:gd name="connsiteY43" fmla="*/ 4087216 h 5292022"/>
              <a:gd name="connsiteX44" fmla="*/ 7966840 w 10677515"/>
              <a:gd name="connsiteY44" fmla="*/ 4233689 h 5292022"/>
              <a:gd name="connsiteX45" fmla="*/ 7374173 w 10677515"/>
              <a:gd name="connsiteY45" fmla="*/ 4657022 h 5292022"/>
              <a:gd name="connsiteX46" fmla="*/ 7374173 w 10677515"/>
              <a:gd name="connsiteY46" fmla="*/ 4657022 h 5292022"/>
              <a:gd name="connsiteX47" fmla="*/ 7221773 w 10677515"/>
              <a:gd name="connsiteY47" fmla="*/ 4775556 h 5292022"/>
              <a:gd name="connsiteX48" fmla="*/ 7027040 w 10677515"/>
              <a:gd name="connsiteY48" fmla="*/ 4902556 h 5292022"/>
              <a:gd name="connsiteX49" fmla="*/ 6646040 w 10677515"/>
              <a:gd name="connsiteY49" fmla="*/ 5105756 h 5292022"/>
              <a:gd name="connsiteX50" fmla="*/ 6197306 w 10677515"/>
              <a:gd name="connsiteY50" fmla="*/ 5266622 h 5292022"/>
              <a:gd name="connsiteX51" fmla="*/ 5917906 w 10677515"/>
              <a:gd name="connsiteY51" fmla="*/ 5292022 h 5292022"/>
              <a:gd name="connsiteX52" fmla="*/ 5748573 w 10677515"/>
              <a:gd name="connsiteY52" fmla="*/ 5283556 h 5292022"/>
              <a:gd name="connsiteX53" fmla="*/ 5282906 w 10677515"/>
              <a:gd name="connsiteY53" fmla="*/ 5173489 h 5292022"/>
              <a:gd name="connsiteX54" fmla="*/ 4959480 w 10677515"/>
              <a:gd name="connsiteY54" fmla="*/ 4988069 h 5292022"/>
              <a:gd name="connsiteX55" fmla="*/ 4686853 w 10677515"/>
              <a:gd name="connsiteY55" fmla="*/ 4788256 h 5292022"/>
              <a:gd name="connsiteX56" fmla="*/ 3977346 w 10677515"/>
              <a:gd name="connsiteY56" fmla="*/ 4470544 h 5292022"/>
              <a:gd name="connsiteX57" fmla="*/ 3741550 w 10677515"/>
              <a:gd name="connsiteY57" fmla="*/ 4154102 h 5292022"/>
              <a:gd name="connsiteX58" fmla="*/ 3562056 w 10677515"/>
              <a:gd name="connsiteY58" fmla="*/ 3406919 h 5292022"/>
              <a:gd name="connsiteX59" fmla="*/ 3073106 w 10677515"/>
              <a:gd name="connsiteY59" fmla="*/ 3010256 h 5292022"/>
              <a:gd name="connsiteX60" fmla="*/ 2971506 w 10677515"/>
              <a:gd name="connsiteY60" fmla="*/ 2743556 h 5292022"/>
              <a:gd name="connsiteX61" fmla="*/ 2996906 w 10677515"/>
              <a:gd name="connsiteY61" fmla="*/ 2531889 h 5292022"/>
              <a:gd name="connsiteX62" fmla="*/ 3013840 w 10677515"/>
              <a:gd name="connsiteY62" fmla="*/ 2430289 h 5292022"/>
              <a:gd name="connsiteX63" fmla="*/ 2988440 w 10677515"/>
              <a:gd name="connsiteY63" fmla="*/ 2260956 h 5292022"/>
              <a:gd name="connsiteX64" fmla="*/ 2802173 w 10677515"/>
              <a:gd name="connsiteY64" fmla="*/ 2006956 h 5292022"/>
              <a:gd name="connsiteX65" fmla="*/ 2641306 w 10677515"/>
              <a:gd name="connsiteY65" fmla="*/ 1863022 h 5292022"/>
              <a:gd name="connsiteX66" fmla="*/ 2446573 w 10677515"/>
              <a:gd name="connsiteY66" fmla="*/ 1812222 h 5292022"/>
              <a:gd name="connsiteX67" fmla="*/ 2167173 w 10677515"/>
              <a:gd name="connsiteY67" fmla="*/ 1879956 h 5292022"/>
              <a:gd name="connsiteX68" fmla="*/ 1659173 w 10677515"/>
              <a:gd name="connsiteY68" fmla="*/ 2074689 h 5292022"/>
              <a:gd name="connsiteX69" fmla="*/ 914106 w 10677515"/>
              <a:gd name="connsiteY69" fmla="*/ 2032356 h 5292022"/>
              <a:gd name="connsiteX70" fmla="*/ 617773 w 10677515"/>
              <a:gd name="connsiteY70" fmla="*/ 1922289 h 5292022"/>
              <a:gd name="connsiteX71" fmla="*/ 354460 w 10677515"/>
              <a:gd name="connsiteY71" fmla="*/ 1676756 h 5292022"/>
              <a:gd name="connsiteX72" fmla="*/ 245240 w 10677515"/>
              <a:gd name="connsiteY72" fmla="*/ 1219556 h 5292022"/>
              <a:gd name="connsiteX73" fmla="*/ 245240 w 10677515"/>
              <a:gd name="connsiteY73" fmla="*/ 847022 h 5292022"/>
              <a:gd name="connsiteX74" fmla="*/ 236773 w 10677515"/>
              <a:gd name="connsiteY74" fmla="*/ 703089 h 5292022"/>
              <a:gd name="connsiteX75" fmla="*/ 109773 w 10677515"/>
              <a:gd name="connsiteY75" fmla="*/ 559156 h 5292022"/>
              <a:gd name="connsiteX76" fmla="*/ 58973 w 10677515"/>
              <a:gd name="connsiteY76" fmla="*/ 482956 h 5292022"/>
              <a:gd name="connsiteX77" fmla="*/ 16640 w 10677515"/>
              <a:gd name="connsiteY77" fmla="*/ 432156 h 5292022"/>
              <a:gd name="connsiteX78" fmla="*/ 8173 w 10677515"/>
              <a:gd name="connsiteY78" fmla="*/ 389822 h 5292022"/>
              <a:gd name="connsiteX79" fmla="*/ 16640 w 10677515"/>
              <a:gd name="connsiteY79" fmla="*/ 339022 h 5292022"/>
              <a:gd name="connsiteX0" fmla="*/ 16640 w 10677821"/>
              <a:gd name="connsiteY0" fmla="*/ 339022 h 5292022"/>
              <a:gd name="connsiteX1" fmla="*/ 58973 w 10677821"/>
              <a:gd name="connsiteY1" fmla="*/ 245889 h 5292022"/>
              <a:gd name="connsiteX2" fmla="*/ 109773 w 10677821"/>
              <a:gd name="connsiteY2" fmla="*/ 178156 h 5292022"/>
              <a:gd name="connsiteX3" fmla="*/ 202906 w 10677821"/>
              <a:gd name="connsiteY3" fmla="*/ 93489 h 5292022"/>
              <a:gd name="connsiteX4" fmla="*/ 236773 w 10677821"/>
              <a:gd name="connsiteY4" fmla="*/ 68089 h 5292022"/>
              <a:gd name="connsiteX5" fmla="*/ 335410 w 10677821"/>
              <a:gd name="connsiteY5" fmla="*/ 58352 h 5292022"/>
              <a:gd name="connsiteX6" fmla="*/ 382400 w 10677821"/>
              <a:gd name="connsiteY6" fmla="*/ 51156 h 5292022"/>
              <a:gd name="connsiteX7" fmla="*/ 434912 w 10677821"/>
              <a:gd name="connsiteY7" fmla="*/ 70071 h 5292022"/>
              <a:gd name="connsiteX8" fmla="*/ 492697 w 10677821"/>
              <a:gd name="connsiteY8" fmla="*/ 74247 h 5292022"/>
              <a:gd name="connsiteX9" fmla="*/ 822897 w 10677821"/>
              <a:gd name="connsiteY9" fmla="*/ 82713 h 5292022"/>
              <a:gd name="connsiteX10" fmla="*/ 1091906 w 10677821"/>
              <a:gd name="connsiteY10" fmla="*/ 356 h 5292022"/>
              <a:gd name="connsiteX11" fmla="*/ 1235840 w 10677821"/>
              <a:gd name="connsiteY11" fmla="*/ 59622 h 5292022"/>
              <a:gd name="connsiteX12" fmla="*/ 1337440 w 10677821"/>
              <a:gd name="connsiteY12" fmla="*/ 135822 h 5292022"/>
              <a:gd name="connsiteX13" fmla="*/ 1422106 w 10677821"/>
              <a:gd name="connsiteY13" fmla="*/ 245889 h 5292022"/>
              <a:gd name="connsiteX14" fmla="*/ 1481373 w 10677821"/>
              <a:gd name="connsiteY14" fmla="*/ 313622 h 5292022"/>
              <a:gd name="connsiteX15" fmla="*/ 1532173 w 10677821"/>
              <a:gd name="connsiteY15" fmla="*/ 347489 h 5292022"/>
              <a:gd name="connsiteX16" fmla="*/ 1684573 w 10677821"/>
              <a:gd name="connsiteY16" fmla="*/ 406756 h 5292022"/>
              <a:gd name="connsiteX17" fmla="*/ 1760773 w 10677821"/>
              <a:gd name="connsiteY17" fmla="*/ 423689 h 5292022"/>
              <a:gd name="connsiteX18" fmla="*/ 2404240 w 10677821"/>
              <a:gd name="connsiteY18" fmla="*/ 355956 h 5292022"/>
              <a:gd name="connsiteX19" fmla="*/ 3398918 w 10677821"/>
              <a:gd name="connsiteY19" fmla="*/ 72322 h 5292022"/>
              <a:gd name="connsiteX20" fmla="*/ 4529373 w 10677821"/>
              <a:gd name="connsiteY20" fmla="*/ 271289 h 5292022"/>
              <a:gd name="connsiteX21" fmla="*/ 5630810 w 10677821"/>
              <a:gd name="connsiteY21" fmla="*/ 1149898 h 5292022"/>
              <a:gd name="connsiteX22" fmla="*/ 6881490 w 10677821"/>
              <a:gd name="connsiteY22" fmla="*/ 1366452 h 5292022"/>
              <a:gd name="connsiteX23" fmla="*/ 7839032 w 10677821"/>
              <a:gd name="connsiteY23" fmla="*/ 1183996 h 5292022"/>
              <a:gd name="connsiteX24" fmla="*/ 8652640 w 10677821"/>
              <a:gd name="connsiteY24" fmla="*/ 677689 h 5292022"/>
              <a:gd name="connsiteX25" fmla="*/ 8982840 w 10677821"/>
              <a:gd name="connsiteY25" fmla="*/ 398289 h 5292022"/>
              <a:gd name="connsiteX26" fmla="*/ 9380773 w 10677821"/>
              <a:gd name="connsiteY26" fmla="*/ 355956 h 5292022"/>
              <a:gd name="connsiteX27" fmla="*/ 9744840 w 10677821"/>
              <a:gd name="connsiteY27" fmla="*/ 466022 h 5292022"/>
              <a:gd name="connsiteX28" fmla="*/ 9888773 w 10677821"/>
              <a:gd name="connsiteY28" fmla="*/ 508356 h 5292022"/>
              <a:gd name="connsiteX29" fmla="*/ 9998840 w 10677821"/>
              <a:gd name="connsiteY29" fmla="*/ 559156 h 5292022"/>
              <a:gd name="connsiteX30" fmla="*/ 10083506 w 10677821"/>
              <a:gd name="connsiteY30" fmla="*/ 618422 h 5292022"/>
              <a:gd name="connsiteX31" fmla="*/ 10286706 w 10677821"/>
              <a:gd name="connsiteY31" fmla="*/ 686156 h 5292022"/>
              <a:gd name="connsiteX32" fmla="*/ 10388306 w 10677821"/>
              <a:gd name="connsiteY32" fmla="*/ 889356 h 5292022"/>
              <a:gd name="connsiteX33" fmla="*/ 10540706 w 10677821"/>
              <a:gd name="connsiteY33" fmla="*/ 1261889 h 5292022"/>
              <a:gd name="connsiteX34" fmla="*/ 10557640 w 10677821"/>
              <a:gd name="connsiteY34" fmla="*/ 1346556 h 5292022"/>
              <a:gd name="connsiteX35" fmla="*/ 10583040 w 10677821"/>
              <a:gd name="connsiteY35" fmla="*/ 1448156 h 5292022"/>
              <a:gd name="connsiteX36" fmla="*/ 10650773 w 10677821"/>
              <a:gd name="connsiteY36" fmla="*/ 1769889 h 5292022"/>
              <a:gd name="connsiteX37" fmla="*/ 10676173 w 10677821"/>
              <a:gd name="connsiteY37" fmla="*/ 1854556 h 5292022"/>
              <a:gd name="connsiteX38" fmla="*/ 10608440 w 10677821"/>
              <a:gd name="connsiteY38" fmla="*/ 2252489 h 5292022"/>
              <a:gd name="connsiteX39" fmla="*/ 10362906 w 10677821"/>
              <a:gd name="connsiteY39" fmla="*/ 2912889 h 5292022"/>
              <a:gd name="connsiteX40" fmla="*/ 9948040 w 10677821"/>
              <a:gd name="connsiteY40" fmla="*/ 3336222 h 5292022"/>
              <a:gd name="connsiteX41" fmla="*/ 9067506 w 10677821"/>
              <a:gd name="connsiteY41" fmla="*/ 3861156 h 5292022"/>
              <a:gd name="connsiteX42" fmla="*/ 8370700 w 10677821"/>
              <a:gd name="connsiteY42" fmla="*/ 4087216 h 5292022"/>
              <a:gd name="connsiteX43" fmla="*/ 7966840 w 10677821"/>
              <a:gd name="connsiteY43" fmla="*/ 4233689 h 5292022"/>
              <a:gd name="connsiteX44" fmla="*/ 7374173 w 10677821"/>
              <a:gd name="connsiteY44" fmla="*/ 4657022 h 5292022"/>
              <a:gd name="connsiteX45" fmla="*/ 7374173 w 10677821"/>
              <a:gd name="connsiteY45" fmla="*/ 4657022 h 5292022"/>
              <a:gd name="connsiteX46" fmla="*/ 7221773 w 10677821"/>
              <a:gd name="connsiteY46" fmla="*/ 4775556 h 5292022"/>
              <a:gd name="connsiteX47" fmla="*/ 7027040 w 10677821"/>
              <a:gd name="connsiteY47" fmla="*/ 4902556 h 5292022"/>
              <a:gd name="connsiteX48" fmla="*/ 6646040 w 10677821"/>
              <a:gd name="connsiteY48" fmla="*/ 5105756 h 5292022"/>
              <a:gd name="connsiteX49" fmla="*/ 6197306 w 10677821"/>
              <a:gd name="connsiteY49" fmla="*/ 5266622 h 5292022"/>
              <a:gd name="connsiteX50" fmla="*/ 5917906 w 10677821"/>
              <a:gd name="connsiteY50" fmla="*/ 5292022 h 5292022"/>
              <a:gd name="connsiteX51" fmla="*/ 5748573 w 10677821"/>
              <a:gd name="connsiteY51" fmla="*/ 5283556 h 5292022"/>
              <a:gd name="connsiteX52" fmla="*/ 5282906 w 10677821"/>
              <a:gd name="connsiteY52" fmla="*/ 5173489 h 5292022"/>
              <a:gd name="connsiteX53" fmla="*/ 4959480 w 10677821"/>
              <a:gd name="connsiteY53" fmla="*/ 4988069 h 5292022"/>
              <a:gd name="connsiteX54" fmla="*/ 4686853 w 10677821"/>
              <a:gd name="connsiteY54" fmla="*/ 4788256 h 5292022"/>
              <a:gd name="connsiteX55" fmla="*/ 3977346 w 10677821"/>
              <a:gd name="connsiteY55" fmla="*/ 4470544 h 5292022"/>
              <a:gd name="connsiteX56" fmla="*/ 3741550 w 10677821"/>
              <a:gd name="connsiteY56" fmla="*/ 4154102 h 5292022"/>
              <a:gd name="connsiteX57" fmla="*/ 3562056 w 10677821"/>
              <a:gd name="connsiteY57" fmla="*/ 3406919 h 5292022"/>
              <a:gd name="connsiteX58" fmla="*/ 3073106 w 10677821"/>
              <a:gd name="connsiteY58" fmla="*/ 3010256 h 5292022"/>
              <a:gd name="connsiteX59" fmla="*/ 2971506 w 10677821"/>
              <a:gd name="connsiteY59" fmla="*/ 2743556 h 5292022"/>
              <a:gd name="connsiteX60" fmla="*/ 2996906 w 10677821"/>
              <a:gd name="connsiteY60" fmla="*/ 2531889 h 5292022"/>
              <a:gd name="connsiteX61" fmla="*/ 3013840 w 10677821"/>
              <a:gd name="connsiteY61" fmla="*/ 2430289 h 5292022"/>
              <a:gd name="connsiteX62" fmla="*/ 2988440 w 10677821"/>
              <a:gd name="connsiteY62" fmla="*/ 2260956 h 5292022"/>
              <a:gd name="connsiteX63" fmla="*/ 2802173 w 10677821"/>
              <a:gd name="connsiteY63" fmla="*/ 2006956 h 5292022"/>
              <a:gd name="connsiteX64" fmla="*/ 2641306 w 10677821"/>
              <a:gd name="connsiteY64" fmla="*/ 1863022 h 5292022"/>
              <a:gd name="connsiteX65" fmla="*/ 2446573 w 10677821"/>
              <a:gd name="connsiteY65" fmla="*/ 1812222 h 5292022"/>
              <a:gd name="connsiteX66" fmla="*/ 2167173 w 10677821"/>
              <a:gd name="connsiteY66" fmla="*/ 1879956 h 5292022"/>
              <a:gd name="connsiteX67" fmla="*/ 1659173 w 10677821"/>
              <a:gd name="connsiteY67" fmla="*/ 2074689 h 5292022"/>
              <a:gd name="connsiteX68" fmla="*/ 914106 w 10677821"/>
              <a:gd name="connsiteY68" fmla="*/ 2032356 h 5292022"/>
              <a:gd name="connsiteX69" fmla="*/ 617773 w 10677821"/>
              <a:gd name="connsiteY69" fmla="*/ 1922289 h 5292022"/>
              <a:gd name="connsiteX70" fmla="*/ 354460 w 10677821"/>
              <a:gd name="connsiteY70" fmla="*/ 1676756 h 5292022"/>
              <a:gd name="connsiteX71" fmla="*/ 245240 w 10677821"/>
              <a:gd name="connsiteY71" fmla="*/ 1219556 h 5292022"/>
              <a:gd name="connsiteX72" fmla="*/ 245240 w 10677821"/>
              <a:gd name="connsiteY72" fmla="*/ 847022 h 5292022"/>
              <a:gd name="connsiteX73" fmla="*/ 236773 w 10677821"/>
              <a:gd name="connsiteY73" fmla="*/ 703089 h 5292022"/>
              <a:gd name="connsiteX74" fmla="*/ 109773 w 10677821"/>
              <a:gd name="connsiteY74" fmla="*/ 559156 h 5292022"/>
              <a:gd name="connsiteX75" fmla="*/ 58973 w 10677821"/>
              <a:gd name="connsiteY75" fmla="*/ 482956 h 5292022"/>
              <a:gd name="connsiteX76" fmla="*/ 16640 w 10677821"/>
              <a:gd name="connsiteY76" fmla="*/ 432156 h 5292022"/>
              <a:gd name="connsiteX77" fmla="*/ 8173 w 10677821"/>
              <a:gd name="connsiteY77" fmla="*/ 389822 h 5292022"/>
              <a:gd name="connsiteX78" fmla="*/ 16640 w 10677821"/>
              <a:gd name="connsiteY78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8982840 w 10676727"/>
              <a:gd name="connsiteY25" fmla="*/ 398289 h 5292022"/>
              <a:gd name="connsiteX26" fmla="*/ 9380773 w 10676727"/>
              <a:gd name="connsiteY26" fmla="*/ 355956 h 5292022"/>
              <a:gd name="connsiteX27" fmla="*/ 9744840 w 10676727"/>
              <a:gd name="connsiteY27" fmla="*/ 466022 h 5292022"/>
              <a:gd name="connsiteX28" fmla="*/ 9888773 w 10676727"/>
              <a:gd name="connsiteY28" fmla="*/ 508356 h 5292022"/>
              <a:gd name="connsiteX29" fmla="*/ 9998840 w 10676727"/>
              <a:gd name="connsiteY29" fmla="*/ 559156 h 5292022"/>
              <a:gd name="connsiteX30" fmla="*/ 10083506 w 10676727"/>
              <a:gd name="connsiteY30" fmla="*/ 618422 h 5292022"/>
              <a:gd name="connsiteX31" fmla="*/ 10286706 w 10676727"/>
              <a:gd name="connsiteY31" fmla="*/ 686156 h 5292022"/>
              <a:gd name="connsiteX32" fmla="*/ 10388306 w 10676727"/>
              <a:gd name="connsiteY32" fmla="*/ 889356 h 5292022"/>
              <a:gd name="connsiteX33" fmla="*/ 10540706 w 10676727"/>
              <a:gd name="connsiteY33" fmla="*/ 1261889 h 5292022"/>
              <a:gd name="connsiteX34" fmla="*/ 10557640 w 10676727"/>
              <a:gd name="connsiteY34" fmla="*/ 1346556 h 5292022"/>
              <a:gd name="connsiteX35" fmla="*/ 10583040 w 10676727"/>
              <a:gd name="connsiteY35" fmla="*/ 1448156 h 5292022"/>
              <a:gd name="connsiteX36" fmla="*/ 10676173 w 10676727"/>
              <a:gd name="connsiteY36" fmla="*/ 1854556 h 5292022"/>
              <a:gd name="connsiteX37" fmla="*/ 10608440 w 10676727"/>
              <a:gd name="connsiteY37" fmla="*/ 2252489 h 5292022"/>
              <a:gd name="connsiteX38" fmla="*/ 10362906 w 10676727"/>
              <a:gd name="connsiteY38" fmla="*/ 2912889 h 5292022"/>
              <a:gd name="connsiteX39" fmla="*/ 9948040 w 10676727"/>
              <a:gd name="connsiteY39" fmla="*/ 3336222 h 5292022"/>
              <a:gd name="connsiteX40" fmla="*/ 9067506 w 10676727"/>
              <a:gd name="connsiteY40" fmla="*/ 3861156 h 5292022"/>
              <a:gd name="connsiteX41" fmla="*/ 8370700 w 10676727"/>
              <a:gd name="connsiteY41" fmla="*/ 4087216 h 5292022"/>
              <a:gd name="connsiteX42" fmla="*/ 7966840 w 10676727"/>
              <a:gd name="connsiteY42" fmla="*/ 4233689 h 5292022"/>
              <a:gd name="connsiteX43" fmla="*/ 7374173 w 10676727"/>
              <a:gd name="connsiteY43" fmla="*/ 4657022 h 5292022"/>
              <a:gd name="connsiteX44" fmla="*/ 7374173 w 10676727"/>
              <a:gd name="connsiteY44" fmla="*/ 4657022 h 5292022"/>
              <a:gd name="connsiteX45" fmla="*/ 7221773 w 10676727"/>
              <a:gd name="connsiteY45" fmla="*/ 4775556 h 5292022"/>
              <a:gd name="connsiteX46" fmla="*/ 7027040 w 10676727"/>
              <a:gd name="connsiteY46" fmla="*/ 4902556 h 5292022"/>
              <a:gd name="connsiteX47" fmla="*/ 6646040 w 10676727"/>
              <a:gd name="connsiteY47" fmla="*/ 5105756 h 5292022"/>
              <a:gd name="connsiteX48" fmla="*/ 6197306 w 10676727"/>
              <a:gd name="connsiteY48" fmla="*/ 5266622 h 5292022"/>
              <a:gd name="connsiteX49" fmla="*/ 5917906 w 10676727"/>
              <a:gd name="connsiteY49" fmla="*/ 5292022 h 5292022"/>
              <a:gd name="connsiteX50" fmla="*/ 5748573 w 10676727"/>
              <a:gd name="connsiteY50" fmla="*/ 5283556 h 5292022"/>
              <a:gd name="connsiteX51" fmla="*/ 5282906 w 10676727"/>
              <a:gd name="connsiteY51" fmla="*/ 5173489 h 5292022"/>
              <a:gd name="connsiteX52" fmla="*/ 4959480 w 10676727"/>
              <a:gd name="connsiteY52" fmla="*/ 4988069 h 5292022"/>
              <a:gd name="connsiteX53" fmla="*/ 4686853 w 10676727"/>
              <a:gd name="connsiteY53" fmla="*/ 4788256 h 5292022"/>
              <a:gd name="connsiteX54" fmla="*/ 3977346 w 10676727"/>
              <a:gd name="connsiteY54" fmla="*/ 4470544 h 5292022"/>
              <a:gd name="connsiteX55" fmla="*/ 3741550 w 10676727"/>
              <a:gd name="connsiteY55" fmla="*/ 4154102 h 5292022"/>
              <a:gd name="connsiteX56" fmla="*/ 3562056 w 10676727"/>
              <a:gd name="connsiteY56" fmla="*/ 3406919 h 5292022"/>
              <a:gd name="connsiteX57" fmla="*/ 3073106 w 10676727"/>
              <a:gd name="connsiteY57" fmla="*/ 3010256 h 5292022"/>
              <a:gd name="connsiteX58" fmla="*/ 2971506 w 10676727"/>
              <a:gd name="connsiteY58" fmla="*/ 2743556 h 5292022"/>
              <a:gd name="connsiteX59" fmla="*/ 2996906 w 10676727"/>
              <a:gd name="connsiteY59" fmla="*/ 2531889 h 5292022"/>
              <a:gd name="connsiteX60" fmla="*/ 3013840 w 10676727"/>
              <a:gd name="connsiteY60" fmla="*/ 2430289 h 5292022"/>
              <a:gd name="connsiteX61" fmla="*/ 2988440 w 10676727"/>
              <a:gd name="connsiteY61" fmla="*/ 2260956 h 5292022"/>
              <a:gd name="connsiteX62" fmla="*/ 2802173 w 10676727"/>
              <a:gd name="connsiteY62" fmla="*/ 2006956 h 5292022"/>
              <a:gd name="connsiteX63" fmla="*/ 2641306 w 10676727"/>
              <a:gd name="connsiteY63" fmla="*/ 1863022 h 5292022"/>
              <a:gd name="connsiteX64" fmla="*/ 2446573 w 10676727"/>
              <a:gd name="connsiteY64" fmla="*/ 1812222 h 5292022"/>
              <a:gd name="connsiteX65" fmla="*/ 2167173 w 10676727"/>
              <a:gd name="connsiteY65" fmla="*/ 1879956 h 5292022"/>
              <a:gd name="connsiteX66" fmla="*/ 1659173 w 10676727"/>
              <a:gd name="connsiteY66" fmla="*/ 2074689 h 5292022"/>
              <a:gd name="connsiteX67" fmla="*/ 914106 w 10676727"/>
              <a:gd name="connsiteY67" fmla="*/ 2032356 h 5292022"/>
              <a:gd name="connsiteX68" fmla="*/ 617773 w 10676727"/>
              <a:gd name="connsiteY68" fmla="*/ 1922289 h 5292022"/>
              <a:gd name="connsiteX69" fmla="*/ 354460 w 10676727"/>
              <a:gd name="connsiteY69" fmla="*/ 1676756 h 5292022"/>
              <a:gd name="connsiteX70" fmla="*/ 245240 w 10676727"/>
              <a:gd name="connsiteY70" fmla="*/ 1219556 h 5292022"/>
              <a:gd name="connsiteX71" fmla="*/ 245240 w 10676727"/>
              <a:gd name="connsiteY71" fmla="*/ 847022 h 5292022"/>
              <a:gd name="connsiteX72" fmla="*/ 236773 w 10676727"/>
              <a:gd name="connsiteY72" fmla="*/ 703089 h 5292022"/>
              <a:gd name="connsiteX73" fmla="*/ 109773 w 10676727"/>
              <a:gd name="connsiteY73" fmla="*/ 559156 h 5292022"/>
              <a:gd name="connsiteX74" fmla="*/ 58973 w 10676727"/>
              <a:gd name="connsiteY74" fmla="*/ 482956 h 5292022"/>
              <a:gd name="connsiteX75" fmla="*/ 16640 w 10676727"/>
              <a:gd name="connsiteY75" fmla="*/ 432156 h 5292022"/>
              <a:gd name="connsiteX76" fmla="*/ 8173 w 10676727"/>
              <a:gd name="connsiteY76" fmla="*/ 389822 h 5292022"/>
              <a:gd name="connsiteX77" fmla="*/ 16640 w 10676727"/>
              <a:gd name="connsiteY77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8982840 w 10676727"/>
              <a:gd name="connsiteY25" fmla="*/ 398289 h 5292022"/>
              <a:gd name="connsiteX26" fmla="*/ 9380773 w 10676727"/>
              <a:gd name="connsiteY26" fmla="*/ 355956 h 5292022"/>
              <a:gd name="connsiteX27" fmla="*/ 9744840 w 10676727"/>
              <a:gd name="connsiteY27" fmla="*/ 466022 h 5292022"/>
              <a:gd name="connsiteX28" fmla="*/ 9888773 w 10676727"/>
              <a:gd name="connsiteY28" fmla="*/ 508356 h 5292022"/>
              <a:gd name="connsiteX29" fmla="*/ 9998840 w 10676727"/>
              <a:gd name="connsiteY29" fmla="*/ 559156 h 5292022"/>
              <a:gd name="connsiteX30" fmla="*/ 10083506 w 10676727"/>
              <a:gd name="connsiteY30" fmla="*/ 618422 h 5292022"/>
              <a:gd name="connsiteX31" fmla="*/ 10286706 w 10676727"/>
              <a:gd name="connsiteY31" fmla="*/ 686156 h 5292022"/>
              <a:gd name="connsiteX32" fmla="*/ 10388306 w 10676727"/>
              <a:gd name="connsiteY32" fmla="*/ 889356 h 5292022"/>
              <a:gd name="connsiteX33" fmla="*/ 10540706 w 10676727"/>
              <a:gd name="connsiteY33" fmla="*/ 1261889 h 5292022"/>
              <a:gd name="connsiteX34" fmla="*/ 10583040 w 10676727"/>
              <a:gd name="connsiteY34" fmla="*/ 1448156 h 5292022"/>
              <a:gd name="connsiteX35" fmla="*/ 10676173 w 10676727"/>
              <a:gd name="connsiteY35" fmla="*/ 1854556 h 5292022"/>
              <a:gd name="connsiteX36" fmla="*/ 10608440 w 10676727"/>
              <a:gd name="connsiteY36" fmla="*/ 2252489 h 5292022"/>
              <a:gd name="connsiteX37" fmla="*/ 10362906 w 10676727"/>
              <a:gd name="connsiteY37" fmla="*/ 2912889 h 5292022"/>
              <a:gd name="connsiteX38" fmla="*/ 9948040 w 10676727"/>
              <a:gd name="connsiteY38" fmla="*/ 3336222 h 5292022"/>
              <a:gd name="connsiteX39" fmla="*/ 9067506 w 10676727"/>
              <a:gd name="connsiteY39" fmla="*/ 3861156 h 5292022"/>
              <a:gd name="connsiteX40" fmla="*/ 8370700 w 10676727"/>
              <a:gd name="connsiteY40" fmla="*/ 4087216 h 5292022"/>
              <a:gd name="connsiteX41" fmla="*/ 7966840 w 10676727"/>
              <a:gd name="connsiteY41" fmla="*/ 4233689 h 5292022"/>
              <a:gd name="connsiteX42" fmla="*/ 7374173 w 10676727"/>
              <a:gd name="connsiteY42" fmla="*/ 4657022 h 5292022"/>
              <a:gd name="connsiteX43" fmla="*/ 7374173 w 10676727"/>
              <a:gd name="connsiteY43" fmla="*/ 4657022 h 5292022"/>
              <a:gd name="connsiteX44" fmla="*/ 7221773 w 10676727"/>
              <a:gd name="connsiteY44" fmla="*/ 4775556 h 5292022"/>
              <a:gd name="connsiteX45" fmla="*/ 7027040 w 10676727"/>
              <a:gd name="connsiteY45" fmla="*/ 4902556 h 5292022"/>
              <a:gd name="connsiteX46" fmla="*/ 6646040 w 10676727"/>
              <a:gd name="connsiteY46" fmla="*/ 5105756 h 5292022"/>
              <a:gd name="connsiteX47" fmla="*/ 6197306 w 10676727"/>
              <a:gd name="connsiteY47" fmla="*/ 5266622 h 5292022"/>
              <a:gd name="connsiteX48" fmla="*/ 5917906 w 10676727"/>
              <a:gd name="connsiteY48" fmla="*/ 5292022 h 5292022"/>
              <a:gd name="connsiteX49" fmla="*/ 5748573 w 10676727"/>
              <a:gd name="connsiteY49" fmla="*/ 5283556 h 5292022"/>
              <a:gd name="connsiteX50" fmla="*/ 5282906 w 10676727"/>
              <a:gd name="connsiteY50" fmla="*/ 5173489 h 5292022"/>
              <a:gd name="connsiteX51" fmla="*/ 4959480 w 10676727"/>
              <a:gd name="connsiteY51" fmla="*/ 4988069 h 5292022"/>
              <a:gd name="connsiteX52" fmla="*/ 4686853 w 10676727"/>
              <a:gd name="connsiteY52" fmla="*/ 4788256 h 5292022"/>
              <a:gd name="connsiteX53" fmla="*/ 3977346 w 10676727"/>
              <a:gd name="connsiteY53" fmla="*/ 4470544 h 5292022"/>
              <a:gd name="connsiteX54" fmla="*/ 3741550 w 10676727"/>
              <a:gd name="connsiteY54" fmla="*/ 4154102 h 5292022"/>
              <a:gd name="connsiteX55" fmla="*/ 3562056 w 10676727"/>
              <a:gd name="connsiteY55" fmla="*/ 3406919 h 5292022"/>
              <a:gd name="connsiteX56" fmla="*/ 3073106 w 10676727"/>
              <a:gd name="connsiteY56" fmla="*/ 3010256 h 5292022"/>
              <a:gd name="connsiteX57" fmla="*/ 2971506 w 10676727"/>
              <a:gd name="connsiteY57" fmla="*/ 2743556 h 5292022"/>
              <a:gd name="connsiteX58" fmla="*/ 2996906 w 10676727"/>
              <a:gd name="connsiteY58" fmla="*/ 2531889 h 5292022"/>
              <a:gd name="connsiteX59" fmla="*/ 3013840 w 10676727"/>
              <a:gd name="connsiteY59" fmla="*/ 2430289 h 5292022"/>
              <a:gd name="connsiteX60" fmla="*/ 2988440 w 10676727"/>
              <a:gd name="connsiteY60" fmla="*/ 2260956 h 5292022"/>
              <a:gd name="connsiteX61" fmla="*/ 2802173 w 10676727"/>
              <a:gd name="connsiteY61" fmla="*/ 2006956 h 5292022"/>
              <a:gd name="connsiteX62" fmla="*/ 2641306 w 10676727"/>
              <a:gd name="connsiteY62" fmla="*/ 1863022 h 5292022"/>
              <a:gd name="connsiteX63" fmla="*/ 2446573 w 10676727"/>
              <a:gd name="connsiteY63" fmla="*/ 1812222 h 5292022"/>
              <a:gd name="connsiteX64" fmla="*/ 2167173 w 10676727"/>
              <a:gd name="connsiteY64" fmla="*/ 1879956 h 5292022"/>
              <a:gd name="connsiteX65" fmla="*/ 1659173 w 10676727"/>
              <a:gd name="connsiteY65" fmla="*/ 2074689 h 5292022"/>
              <a:gd name="connsiteX66" fmla="*/ 914106 w 10676727"/>
              <a:gd name="connsiteY66" fmla="*/ 2032356 h 5292022"/>
              <a:gd name="connsiteX67" fmla="*/ 617773 w 10676727"/>
              <a:gd name="connsiteY67" fmla="*/ 1922289 h 5292022"/>
              <a:gd name="connsiteX68" fmla="*/ 354460 w 10676727"/>
              <a:gd name="connsiteY68" fmla="*/ 1676756 h 5292022"/>
              <a:gd name="connsiteX69" fmla="*/ 245240 w 10676727"/>
              <a:gd name="connsiteY69" fmla="*/ 1219556 h 5292022"/>
              <a:gd name="connsiteX70" fmla="*/ 245240 w 10676727"/>
              <a:gd name="connsiteY70" fmla="*/ 847022 h 5292022"/>
              <a:gd name="connsiteX71" fmla="*/ 236773 w 10676727"/>
              <a:gd name="connsiteY71" fmla="*/ 703089 h 5292022"/>
              <a:gd name="connsiteX72" fmla="*/ 109773 w 10676727"/>
              <a:gd name="connsiteY72" fmla="*/ 559156 h 5292022"/>
              <a:gd name="connsiteX73" fmla="*/ 58973 w 10676727"/>
              <a:gd name="connsiteY73" fmla="*/ 482956 h 5292022"/>
              <a:gd name="connsiteX74" fmla="*/ 16640 w 10676727"/>
              <a:gd name="connsiteY74" fmla="*/ 432156 h 5292022"/>
              <a:gd name="connsiteX75" fmla="*/ 8173 w 10676727"/>
              <a:gd name="connsiteY75" fmla="*/ 389822 h 5292022"/>
              <a:gd name="connsiteX76" fmla="*/ 16640 w 10676727"/>
              <a:gd name="connsiteY76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8982840 w 10676727"/>
              <a:gd name="connsiteY25" fmla="*/ 398289 h 5292022"/>
              <a:gd name="connsiteX26" fmla="*/ 9380773 w 10676727"/>
              <a:gd name="connsiteY26" fmla="*/ 355956 h 5292022"/>
              <a:gd name="connsiteX27" fmla="*/ 9744840 w 10676727"/>
              <a:gd name="connsiteY27" fmla="*/ 466022 h 5292022"/>
              <a:gd name="connsiteX28" fmla="*/ 9888773 w 10676727"/>
              <a:gd name="connsiteY28" fmla="*/ 508356 h 5292022"/>
              <a:gd name="connsiteX29" fmla="*/ 9998840 w 10676727"/>
              <a:gd name="connsiteY29" fmla="*/ 559156 h 5292022"/>
              <a:gd name="connsiteX30" fmla="*/ 10083506 w 10676727"/>
              <a:gd name="connsiteY30" fmla="*/ 618422 h 5292022"/>
              <a:gd name="connsiteX31" fmla="*/ 10286706 w 10676727"/>
              <a:gd name="connsiteY31" fmla="*/ 686156 h 5292022"/>
              <a:gd name="connsiteX32" fmla="*/ 10388306 w 10676727"/>
              <a:gd name="connsiteY32" fmla="*/ 889356 h 5292022"/>
              <a:gd name="connsiteX33" fmla="*/ 10583040 w 10676727"/>
              <a:gd name="connsiteY33" fmla="*/ 1448156 h 5292022"/>
              <a:gd name="connsiteX34" fmla="*/ 10676173 w 10676727"/>
              <a:gd name="connsiteY34" fmla="*/ 1854556 h 5292022"/>
              <a:gd name="connsiteX35" fmla="*/ 10608440 w 10676727"/>
              <a:gd name="connsiteY35" fmla="*/ 2252489 h 5292022"/>
              <a:gd name="connsiteX36" fmla="*/ 10362906 w 10676727"/>
              <a:gd name="connsiteY36" fmla="*/ 2912889 h 5292022"/>
              <a:gd name="connsiteX37" fmla="*/ 9948040 w 10676727"/>
              <a:gd name="connsiteY37" fmla="*/ 3336222 h 5292022"/>
              <a:gd name="connsiteX38" fmla="*/ 9067506 w 10676727"/>
              <a:gd name="connsiteY38" fmla="*/ 3861156 h 5292022"/>
              <a:gd name="connsiteX39" fmla="*/ 8370700 w 10676727"/>
              <a:gd name="connsiteY39" fmla="*/ 4087216 h 5292022"/>
              <a:gd name="connsiteX40" fmla="*/ 7966840 w 10676727"/>
              <a:gd name="connsiteY40" fmla="*/ 4233689 h 5292022"/>
              <a:gd name="connsiteX41" fmla="*/ 7374173 w 10676727"/>
              <a:gd name="connsiteY41" fmla="*/ 4657022 h 5292022"/>
              <a:gd name="connsiteX42" fmla="*/ 7374173 w 10676727"/>
              <a:gd name="connsiteY42" fmla="*/ 4657022 h 5292022"/>
              <a:gd name="connsiteX43" fmla="*/ 7221773 w 10676727"/>
              <a:gd name="connsiteY43" fmla="*/ 4775556 h 5292022"/>
              <a:gd name="connsiteX44" fmla="*/ 7027040 w 10676727"/>
              <a:gd name="connsiteY44" fmla="*/ 4902556 h 5292022"/>
              <a:gd name="connsiteX45" fmla="*/ 6646040 w 10676727"/>
              <a:gd name="connsiteY45" fmla="*/ 5105756 h 5292022"/>
              <a:gd name="connsiteX46" fmla="*/ 6197306 w 10676727"/>
              <a:gd name="connsiteY46" fmla="*/ 5266622 h 5292022"/>
              <a:gd name="connsiteX47" fmla="*/ 5917906 w 10676727"/>
              <a:gd name="connsiteY47" fmla="*/ 5292022 h 5292022"/>
              <a:gd name="connsiteX48" fmla="*/ 5748573 w 10676727"/>
              <a:gd name="connsiteY48" fmla="*/ 5283556 h 5292022"/>
              <a:gd name="connsiteX49" fmla="*/ 5282906 w 10676727"/>
              <a:gd name="connsiteY49" fmla="*/ 5173489 h 5292022"/>
              <a:gd name="connsiteX50" fmla="*/ 4959480 w 10676727"/>
              <a:gd name="connsiteY50" fmla="*/ 4988069 h 5292022"/>
              <a:gd name="connsiteX51" fmla="*/ 4686853 w 10676727"/>
              <a:gd name="connsiteY51" fmla="*/ 4788256 h 5292022"/>
              <a:gd name="connsiteX52" fmla="*/ 3977346 w 10676727"/>
              <a:gd name="connsiteY52" fmla="*/ 4470544 h 5292022"/>
              <a:gd name="connsiteX53" fmla="*/ 3741550 w 10676727"/>
              <a:gd name="connsiteY53" fmla="*/ 4154102 h 5292022"/>
              <a:gd name="connsiteX54" fmla="*/ 3562056 w 10676727"/>
              <a:gd name="connsiteY54" fmla="*/ 3406919 h 5292022"/>
              <a:gd name="connsiteX55" fmla="*/ 3073106 w 10676727"/>
              <a:gd name="connsiteY55" fmla="*/ 3010256 h 5292022"/>
              <a:gd name="connsiteX56" fmla="*/ 2971506 w 10676727"/>
              <a:gd name="connsiteY56" fmla="*/ 2743556 h 5292022"/>
              <a:gd name="connsiteX57" fmla="*/ 2996906 w 10676727"/>
              <a:gd name="connsiteY57" fmla="*/ 2531889 h 5292022"/>
              <a:gd name="connsiteX58" fmla="*/ 3013840 w 10676727"/>
              <a:gd name="connsiteY58" fmla="*/ 2430289 h 5292022"/>
              <a:gd name="connsiteX59" fmla="*/ 2988440 w 10676727"/>
              <a:gd name="connsiteY59" fmla="*/ 2260956 h 5292022"/>
              <a:gd name="connsiteX60" fmla="*/ 2802173 w 10676727"/>
              <a:gd name="connsiteY60" fmla="*/ 2006956 h 5292022"/>
              <a:gd name="connsiteX61" fmla="*/ 2641306 w 10676727"/>
              <a:gd name="connsiteY61" fmla="*/ 1863022 h 5292022"/>
              <a:gd name="connsiteX62" fmla="*/ 2446573 w 10676727"/>
              <a:gd name="connsiteY62" fmla="*/ 1812222 h 5292022"/>
              <a:gd name="connsiteX63" fmla="*/ 2167173 w 10676727"/>
              <a:gd name="connsiteY63" fmla="*/ 1879956 h 5292022"/>
              <a:gd name="connsiteX64" fmla="*/ 1659173 w 10676727"/>
              <a:gd name="connsiteY64" fmla="*/ 2074689 h 5292022"/>
              <a:gd name="connsiteX65" fmla="*/ 914106 w 10676727"/>
              <a:gd name="connsiteY65" fmla="*/ 2032356 h 5292022"/>
              <a:gd name="connsiteX66" fmla="*/ 617773 w 10676727"/>
              <a:gd name="connsiteY66" fmla="*/ 1922289 h 5292022"/>
              <a:gd name="connsiteX67" fmla="*/ 354460 w 10676727"/>
              <a:gd name="connsiteY67" fmla="*/ 1676756 h 5292022"/>
              <a:gd name="connsiteX68" fmla="*/ 245240 w 10676727"/>
              <a:gd name="connsiteY68" fmla="*/ 1219556 h 5292022"/>
              <a:gd name="connsiteX69" fmla="*/ 245240 w 10676727"/>
              <a:gd name="connsiteY69" fmla="*/ 847022 h 5292022"/>
              <a:gd name="connsiteX70" fmla="*/ 236773 w 10676727"/>
              <a:gd name="connsiteY70" fmla="*/ 703089 h 5292022"/>
              <a:gd name="connsiteX71" fmla="*/ 109773 w 10676727"/>
              <a:gd name="connsiteY71" fmla="*/ 559156 h 5292022"/>
              <a:gd name="connsiteX72" fmla="*/ 58973 w 10676727"/>
              <a:gd name="connsiteY72" fmla="*/ 482956 h 5292022"/>
              <a:gd name="connsiteX73" fmla="*/ 16640 w 10676727"/>
              <a:gd name="connsiteY73" fmla="*/ 432156 h 5292022"/>
              <a:gd name="connsiteX74" fmla="*/ 8173 w 10676727"/>
              <a:gd name="connsiteY74" fmla="*/ 389822 h 5292022"/>
              <a:gd name="connsiteX75" fmla="*/ 16640 w 10676727"/>
              <a:gd name="connsiteY75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8982840 w 10676727"/>
              <a:gd name="connsiteY25" fmla="*/ 398289 h 5292022"/>
              <a:gd name="connsiteX26" fmla="*/ 9380773 w 10676727"/>
              <a:gd name="connsiteY26" fmla="*/ 355956 h 5292022"/>
              <a:gd name="connsiteX27" fmla="*/ 9744840 w 10676727"/>
              <a:gd name="connsiteY27" fmla="*/ 466022 h 5292022"/>
              <a:gd name="connsiteX28" fmla="*/ 9888773 w 10676727"/>
              <a:gd name="connsiteY28" fmla="*/ 508356 h 5292022"/>
              <a:gd name="connsiteX29" fmla="*/ 9998840 w 10676727"/>
              <a:gd name="connsiteY29" fmla="*/ 559156 h 5292022"/>
              <a:gd name="connsiteX30" fmla="*/ 10083506 w 10676727"/>
              <a:gd name="connsiteY30" fmla="*/ 618422 h 5292022"/>
              <a:gd name="connsiteX31" fmla="*/ 10388306 w 10676727"/>
              <a:gd name="connsiteY31" fmla="*/ 889356 h 5292022"/>
              <a:gd name="connsiteX32" fmla="*/ 10583040 w 10676727"/>
              <a:gd name="connsiteY32" fmla="*/ 1448156 h 5292022"/>
              <a:gd name="connsiteX33" fmla="*/ 10676173 w 10676727"/>
              <a:gd name="connsiteY33" fmla="*/ 1854556 h 5292022"/>
              <a:gd name="connsiteX34" fmla="*/ 10608440 w 10676727"/>
              <a:gd name="connsiteY34" fmla="*/ 2252489 h 5292022"/>
              <a:gd name="connsiteX35" fmla="*/ 10362906 w 10676727"/>
              <a:gd name="connsiteY35" fmla="*/ 2912889 h 5292022"/>
              <a:gd name="connsiteX36" fmla="*/ 9948040 w 10676727"/>
              <a:gd name="connsiteY36" fmla="*/ 3336222 h 5292022"/>
              <a:gd name="connsiteX37" fmla="*/ 9067506 w 10676727"/>
              <a:gd name="connsiteY37" fmla="*/ 3861156 h 5292022"/>
              <a:gd name="connsiteX38" fmla="*/ 8370700 w 10676727"/>
              <a:gd name="connsiteY38" fmla="*/ 4087216 h 5292022"/>
              <a:gd name="connsiteX39" fmla="*/ 7966840 w 10676727"/>
              <a:gd name="connsiteY39" fmla="*/ 4233689 h 5292022"/>
              <a:gd name="connsiteX40" fmla="*/ 7374173 w 10676727"/>
              <a:gd name="connsiteY40" fmla="*/ 4657022 h 5292022"/>
              <a:gd name="connsiteX41" fmla="*/ 7374173 w 10676727"/>
              <a:gd name="connsiteY41" fmla="*/ 4657022 h 5292022"/>
              <a:gd name="connsiteX42" fmla="*/ 7221773 w 10676727"/>
              <a:gd name="connsiteY42" fmla="*/ 4775556 h 5292022"/>
              <a:gd name="connsiteX43" fmla="*/ 7027040 w 10676727"/>
              <a:gd name="connsiteY43" fmla="*/ 4902556 h 5292022"/>
              <a:gd name="connsiteX44" fmla="*/ 6646040 w 10676727"/>
              <a:gd name="connsiteY44" fmla="*/ 5105756 h 5292022"/>
              <a:gd name="connsiteX45" fmla="*/ 6197306 w 10676727"/>
              <a:gd name="connsiteY45" fmla="*/ 5266622 h 5292022"/>
              <a:gd name="connsiteX46" fmla="*/ 5917906 w 10676727"/>
              <a:gd name="connsiteY46" fmla="*/ 5292022 h 5292022"/>
              <a:gd name="connsiteX47" fmla="*/ 5748573 w 10676727"/>
              <a:gd name="connsiteY47" fmla="*/ 5283556 h 5292022"/>
              <a:gd name="connsiteX48" fmla="*/ 5282906 w 10676727"/>
              <a:gd name="connsiteY48" fmla="*/ 5173489 h 5292022"/>
              <a:gd name="connsiteX49" fmla="*/ 4959480 w 10676727"/>
              <a:gd name="connsiteY49" fmla="*/ 4988069 h 5292022"/>
              <a:gd name="connsiteX50" fmla="*/ 4686853 w 10676727"/>
              <a:gd name="connsiteY50" fmla="*/ 4788256 h 5292022"/>
              <a:gd name="connsiteX51" fmla="*/ 3977346 w 10676727"/>
              <a:gd name="connsiteY51" fmla="*/ 4470544 h 5292022"/>
              <a:gd name="connsiteX52" fmla="*/ 3741550 w 10676727"/>
              <a:gd name="connsiteY52" fmla="*/ 4154102 h 5292022"/>
              <a:gd name="connsiteX53" fmla="*/ 3562056 w 10676727"/>
              <a:gd name="connsiteY53" fmla="*/ 3406919 h 5292022"/>
              <a:gd name="connsiteX54" fmla="*/ 3073106 w 10676727"/>
              <a:gd name="connsiteY54" fmla="*/ 3010256 h 5292022"/>
              <a:gd name="connsiteX55" fmla="*/ 2971506 w 10676727"/>
              <a:gd name="connsiteY55" fmla="*/ 2743556 h 5292022"/>
              <a:gd name="connsiteX56" fmla="*/ 2996906 w 10676727"/>
              <a:gd name="connsiteY56" fmla="*/ 2531889 h 5292022"/>
              <a:gd name="connsiteX57" fmla="*/ 3013840 w 10676727"/>
              <a:gd name="connsiteY57" fmla="*/ 2430289 h 5292022"/>
              <a:gd name="connsiteX58" fmla="*/ 2988440 w 10676727"/>
              <a:gd name="connsiteY58" fmla="*/ 2260956 h 5292022"/>
              <a:gd name="connsiteX59" fmla="*/ 2802173 w 10676727"/>
              <a:gd name="connsiteY59" fmla="*/ 2006956 h 5292022"/>
              <a:gd name="connsiteX60" fmla="*/ 2641306 w 10676727"/>
              <a:gd name="connsiteY60" fmla="*/ 1863022 h 5292022"/>
              <a:gd name="connsiteX61" fmla="*/ 2446573 w 10676727"/>
              <a:gd name="connsiteY61" fmla="*/ 1812222 h 5292022"/>
              <a:gd name="connsiteX62" fmla="*/ 2167173 w 10676727"/>
              <a:gd name="connsiteY62" fmla="*/ 1879956 h 5292022"/>
              <a:gd name="connsiteX63" fmla="*/ 1659173 w 10676727"/>
              <a:gd name="connsiteY63" fmla="*/ 2074689 h 5292022"/>
              <a:gd name="connsiteX64" fmla="*/ 914106 w 10676727"/>
              <a:gd name="connsiteY64" fmla="*/ 2032356 h 5292022"/>
              <a:gd name="connsiteX65" fmla="*/ 617773 w 10676727"/>
              <a:gd name="connsiteY65" fmla="*/ 1922289 h 5292022"/>
              <a:gd name="connsiteX66" fmla="*/ 354460 w 10676727"/>
              <a:gd name="connsiteY66" fmla="*/ 1676756 h 5292022"/>
              <a:gd name="connsiteX67" fmla="*/ 245240 w 10676727"/>
              <a:gd name="connsiteY67" fmla="*/ 1219556 h 5292022"/>
              <a:gd name="connsiteX68" fmla="*/ 245240 w 10676727"/>
              <a:gd name="connsiteY68" fmla="*/ 847022 h 5292022"/>
              <a:gd name="connsiteX69" fmla="*/ 236773 w 10676727"/>
              <a:gd name="connsiteY69" fmla="*/ 703089 h 5292022"/>
              <a:gd name="connsiteX70" fmla="*/ 109773 w 10676727"/>
              <a:gd name="connsiteY70" fmla="*/ 559156 h 5292022"/>
              <a:gd name="connsiteX71" fmla="*/ 58973 w 10676727"/>
              <a:gd name="connsiteY71" fmla="*/ 482956 h 5292022"/>
              <a:gd name="connsiteX72" fmla="*/ 16640 w 10676727"/>
              <a:gd name="connsiteY72" fmla="*/ 432156 h 5292022"/>
              <a:gd name="connsiteX73" fmla="*/ 8173 w 10676727"/>
              <a:gd name="connsiteY73" fmla="*/ 389822 h 5292022"/>
              <a:gd name="connsiteX74" fmla="*/ 16640 w 10676727"/>
              <a:gd name="connsiteY74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8982840 w 10676727"/>
              <a:gd name="connsiteY25" fmla="*/ 398289 h 5292022"/>
              <a:gd name="connsiteX26" fmla="*/ 9380773 w 10676727"/>
              <a:gd name="connsiteY26" fmla="*/ 355956 h 5292022"/>
              <a:gd name="connsiteX27" fmla="*/ 9744840 w 10676727"/>
              <a:gd name="connsiteY27" fmla="*/ 466022 h 5292022"/>
              <a:gd name="connsiteX28" fmla="*/ 9888773 w 10676727"/>
              <a:gd name="connsiteY28" fmla="*/ 508356 h 5292022"/>
              <a:gd name="connsiteX29" fmla="*/ 10083506 w 10676727"/>
              <a:gd name="connsiteY29" fmla="*/ 618422 h 5292022"/>
              <a:gd name="connsiteX30" fmla="*/ 10388306 w 10676727"/>
              <a:gd name="connsiteY30" fmla="*/ 889356 h 5292022"/>
              <a:gd name="connsiteX31" fmla="*/ 10583040 w 10676727"/>
              <a:gd name="connsiteY31" fmla="*/ 1448156 h 5292022"/>
              <a:gd name="connsiteX32" fmla="*/ 10676173 w 10676727"/>
              <a:gd name="connsiteY32" fmla="*/ 1854556 h 5292022"/>
              <a:gd name="connsiteX33" fmla="*/ 10608440 w 10676727"/>
              <a:gd name="connsiteY33" fmla="*/ 2252489 h 5292022"/>
              <a:gd name="connsiteX34" fmla="*/ 10362906 w 10676727"/>
              <a:gd name="connsiteY34" fmla="*/ 2912889 h 5292022"/>
              <a:gd name="connsiteX35" fmla="*/ 9948040 w 10676727"/>
              <a:gd name="connsiteY35" fmla="*/ 3336222 h 5292022"/>
              <a:gd name="connsiteX36" fmla="*/ 9067506 w 10676727"/>
              <a:gd name="connsiteY36" fmla="*/ 3861156 h 5292022"/>
              <a:gd name="connsiteX37" fmla="*/ 8370700 w 10676727"/>
              <a:gd name="connsiteY37" fmla="*/ 4087216 h 5292022"/>
              <a:gd name="connsiteX38" fmla="*/ 7966840 w 10676727"/>
              <a:gd name="connsiteY38" fmla="*/ 4233689 h 5292022"/>
              <a:gd name="connsiteX39" fmla="*/ 7374173 w 10676727"/>
              <a:gd name="connsiteY39" fmla="*/ 4657022 h 5292022"/>
              <a:gd name="connsiteX40" fmla="*/ 7374173 w 10676727"/>
              <a:gd name="connsiteY40" fmla="*/ 4657022 h 5292022"/>
              <a:gd name="connsiteX41" fmla="*/ 7221773 w 10676727"/>
              <a:gd name="connsiteY41" fmla="*/ 4775556 h 5292022"/>
              <a:gd name="connsiteX42" fmla="*/ 7027040 w 10676727"/>
              <a:gd name="connsiteY42" fmla="*/ 4902556 h 5292022"/>
              <a:gd name="connsiteX43" fmla="*/ 6646040 w 10676727"/>
              <a:gd name="connsiteY43" fmla="*/ 5105756 h 5292022"/>
              <a:gd name="connsiteX44" fmla="*/ 6197306 w 10676727"/>
              <a:gd name="connsiteY44" fmla="*/ 5266622 h 5292022"/>
              <a:gd name="connsiteX45" fmla="*/ 5917906 w 10676727"/>
              <a:gd name="connsiteY45" fmla="*/ 5292022 h 5292022"/>
              <a:gd name="connsiteX46" fmla="*/ 5748573 w 10676727"/>
              <a:gd name="connsiteY46" fmla="*/ 5283556 h 5292022"/>
              <a:gd name="connsiteX47" fmla="*/ 5282906 w 10676727"/>
              <a:gd name="connsiteY47" fmla="*/ 5173489 h 5292022"/>
              <a:gd name="connsiteX48" fmla="*/ 4959480 w 10676727"/>
              <a:gd name="connsiteY48" fmla="*/ 4988069 h 5292022"/>
              <a:gd name="connsiteX49" fmla="*/ 4686853 w 10676727"/>
              <a:gd name="connsiteY49" fmla="*/ 4788256 h 5292022"/>
              <a:gd name="connsiteX50" fmla="*/ 3977346 w 10676727"/>
              <a:gd name="connsiteY50" fmla="*/ 4470544 h 5292022"/>
              <a:gd name="connsiteX51" fmla="*/ 3741550 w 10676727"/>
              <a:gd name="connsiteY51" fmla="*/ 4154102 h 5292022"/>
              <a:gd name="connsiteX52" fmla="*/ 3562056 w 10676727"/>
              <a:gd name="connsiteY52" fmla="*/ 3406919 h 5292022"/>
              <a:gd name="connsiteX53" fmla="*/ 3073106 w 10676727"/>
              <a:gd name="connsiteY53" fmla="*/ 3010256 h 5292022"/>
              <a:gd name="connsiteX54" fmla="*/ 2971506 w 10676727"/>
              <a:gd name="connsiteY54" fmla="*/ 2743556 h 5292022"/>
              <a:gd name="connsiteX55" fmla="*/ 2996906 w 10676727"/>
              <a:gd name="connsiteY55" fmla="*/ 2531889 h 5292022"/>
              <a:gd name="connsiteX56" fmla="*/ 3013840 w 10676727"/>
              <a:gd name="connsiteY56" fmla="*/ 2430289 h 5292022"/>
              <a:gd name="connsiteX57" fmla="*/ 2988440 w 10676727"/>
              <a:gd name="connsiteY57" fmla="*/ 2260956 h 5292022"/>
              <a:gd name="connsiteX58" fmla="*/ 2802173 w 10676727"/>
              <a:gd name="connsiteY58" fmla="*/ 2006956 h 5292022"/>
              <a:gd name="connsiteX59" fmla="*/ 2641306 w 10676727"/>
              <a:gd name="connsiteY59" fmla="*/ 1863022 h 5292022"/>
              <a:gd name="connsiteX60" fmla="*/ 2446573 w 10676727"/>
              <a:gd name="connsiteY60" fmla="*/ 1812222 h 5292022"/>
              <a:gd name="connsiteX61" fmla="*/ 2167173 w 10676727"/>
              <a:gd name="connsiteY61" fmla="*/ 1879956 h 5292022"/>
              <a:gd name="connsiteX62" fmla="*/ 1659173 w 10676727"/>
              <a:gd name="connsiteY62" fmla="*/ 2074689 h 5292022"/>
              <a:gd name="connsiteX63" fmla="*/ 914106 w 10676727"/>
              <a:gd name="connsiteY63" fmla="*/ 2032356 h 5292022"/>
              <a:gd name="connsiteX64" fmla="*/ 617773 w 10676727"/>
              <a:gd name="connsiteY64" fmla="*/ 1922289 h 5292022"/>
              <a:gd name="connsiteX65" fmla="*/ 354460 w 10676727"/>
              <a:gd name="connsiteY65" fmla="*/ 1676756 h 5292022"/>
              <a:gd name="connsiteX66" fmla="*/ 245240 w 10676727"/>
              <a:gd name="connsiteY66" fmla="*/ 1219556 h 5292022"/>
              <a:gd name="connsiteX67" fmla="*/ 245240 w 10676727"/>
              <a:gd name="connsiteY67" fmla="*/ 847022 h 5292022"/>
              <a:gd name="connsiteX68" fmla="*/ 236773 w 10676727"/>
              <a:gd name="connsiteY68" fmla="*/ 703089 h 5292022"/>
              <a:gd name="connsiteX69" fmla="*/ 109773 w 10676727"/>
              <a:gd name="connsiteY69" fmla="*/ 559156 h 5292022"/>
              <a:gd name="connsiteX70" fmla="*/ 58973 w 10676727"/>
              <a:gd name="connsiteY70" fmla="*/ 482956 h 5292022"/>
              <a:gd name="connsiteX71" fmla="*/ 16640 w 10676727"/>
              <a:gd name="connsiteY71" fmla="*/ 432156 h 5292022"/>
              <a:gd name="connsiteX72" fmla="*/ 8173 w 10676727"/>
              <a:gd name="connsiteY72" fmla="*/ 389822 h 5292022"/>
              <a:gd name="connsiteX73" fmla="*/ 16640 w 10676727"/>
              <a:gd name="connsiteY73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8982840 w 10676727"/>
              <a:gd name="connsiteY25" fmla="*/ 398289 h 5292022"/>
              <a:gd name="connsiteX26" fmla="*/ 9380773 w 10676727"/>
              <a:gd name="connsiteY26" fmla="*/ 355956 h 5292022"/>
              <a:gd name="connsiteX27" fmla="*/ 9744840 w 10676727"/>
              <a:gd name="connsiteY27" fmla="*/ 466022 h 5292022"/>
              <a:gd name="connsiteX28" fmla="*/ 10083506 w 10676727"/>
              <a:gd name="connsiteY28" fmla="*/ 618422 h 5292022"/>
              <a:gd name="connsiteX29" fmla="*/ 10388306 w 10676727"/>
              <a:gd name="connsiteY29" fmla="*/ 889356 h 5292022"/>
              <a:gd name="connsiteX30" fmla="*/ 10583040 w 10676727"/>
              <a:gd name="connsiteY30" fmla="*/ 1448156 h 5292022"/>
              <a:gd name="connsiteX31" fmla="*/ 10676173 w 10676727"/>
              <a:gd name="connsiteY31" fmla="*/ 1854556 h 5292022"/>
              <a:gd name="connsiteX32" fmla="*/ 10608440 w 10676727"/>
              <a:gd name="connsiteY32" fmla="*/ 2252489 h 5292022"/>
              <a:gd name="connsiteX33" fmla="*/ 10362906 w 10676727"/>
              <a:gd name="connsiteY33" fmla="*/ 2912889 h 5292022"/>
              <a:gd name="connsiteX34" fmla="*/ 9948040 w 10676727"/>
              <a:gd name="connsiteY34" fmla="*/ 3336222 h 5292022"/>
              <a:gd name="connsiteX35" fmla="*/ 9067506 w 10676727"/>
              <a:gd name="connsiteY35" fmla="*/ 3861156 h 5292022"/>
              <a:gd name="connsiteX36" fmla="*/ 8370700 w 10676727"/>
              <a:gd name="connsiteY36" fmla="*/ 4087216 h 5292022"/>
              <a:gd name="connsiteX37" fmla="*/ 7966840 w 10676727"/>
              <a:gd name="connsiteY37" fmla="*/ 4233689 h 5292022"/>
              <a:gd name="connsiteX38" fmla="*/ 7374173 w 10676727"/>
              <a:gd name="connsiteY38" fmla="*/ 4657022 h 5292022"/>
              <a:gd name="connsiteX39" fmla="*/ 7374173 w 10676727"/>
              <a:gd name="connsiteY39" fmla="*/ 4657022 h 5292022"/>
              <a:gd name="connsiteX40" fmla="*/ 7221773 w 10676727"/>
              <a:gd name="connsiteY40" fmla="*/ 4775556 h 5292022"/>
              <a:gd name="connsiteX41" fmla="*/ 7027040 w 10676727"/>
              <a:gd name="connsiteY41" fmla="*/ 4902556 h 5292022"/>
              <a:gd name="connsiteX42" fmla="*/ 6646040 w 10676727"/>
              <a:gd name="connsiteY42" fmla="*/ 5105756 h 5292022"/>
              <a:gd name="connsiteX43" fmla="*/ 6197306 w 10676727"/>
              <a:gd name="connsiteY43" fmla="*/ 5266622 h 5292022"/>
              <a:gd name="connsiteX44" fmla="*/ 5917906 w 10676727"/>
              <a:gd name="connsiteY44" fmla="*/ 5292022 h 5292022"/>
              <a:gd name="connsiteX45" fmla="*/ 5748573 w 10676727"/>
              <a:gd name="connsiteY45" fmla="*/ 5283556 h 5292022"/>
              <a:gd name="connsiteX46" fmla="*/ 5282906 w 10676727"/>
              <a:gd name="connsiteY46" fmla="*/ 5173489 h 5292022"/>
              <a:gd name="connsiteX47" fmla="*/ 4959480 w 10676727"/>
              <a:gd name="connsiteY47" fmla="*/ 4988069 h 5292022"/>
              <a:gd name="connsiteX48" fmla="*/ 4686853 w 10676727"/>
              <a:gd name="connsiteY48" fmla="*/ 4788256 h 5292022"/>
              <a:gd name="connsiteX49" fmla="*/ 3977346 w 10676727"/>
              <a:gd name="connsiteY49" fmla="*/ 4470544 h 5292022"/>
              <a:gd name="connsiteX50" fmla="*/ 3741550 w 10676727"/>
              <a:gd name="connsiteY50" fmla="*/ 4154102 h 5292022"/>
              <a:gd name="connsiteX51" fmla="*/ 3562056 w 10676727"/>
              <a:gd name="connsiteY51" fmla="*/ 3406919 h 5292022"/>
              <a:gd name="connsiteX52" fmla="*/ 3073106 w 10676727"/>
              <a:gd name="connsiteY52" fmla="*/ 3010256 h 5292022"/>
              <a:gd name="connsiteX53" fmla="*/ 2971506 w 10676727"/>
              <a:gd name="connsiteY53" fmla="*/ 2743556 h 5292022"/>
              <a:gd name="connsiteX54" fmla="*/ 2996906 w 10676727"/>
              <a:gd name="connsiteY54" fmla="*/ 2531889 h 5292022"/>
              <a:gd name="connsiteX55" fmla="*/ 3013840 w 10676727"/>
              <a:gd name="connsiteY55" fmla="*/ 2430289 h 5292022"/>
              <a:gd name="connsiteX56" fmla="*/ 2988440 w 10676727"/>
              <a:gd name="connsiteY56" fmla="*/ 2260956 h 5292022"/>
              <a:gd name="connsiteX57" fmla="*/ 2802173 w 10676727"/>
              <a:gd name="connsiteY57" fmla="*/ 2006956 h 5292022"/>
              <a:gd name="connsiteX58" fmla="*/ 2641306 w 10676727"/>
              <a:gd name="connsiteY58" fmla="*/ 1863022 h 5292022"/>
              <a:gd name="connsiteX59" fmla="*/ 2446573 w 10676727"/>
              <a:gd name="connsiteY59" fmla="*/ 1812222 h 5292022"/>
              <a:gd name="connsiteX60" fmla="*/ 2167173 w 10676727"/>
              <a:gd name="connsiteY60" fmla="*/ 1879956 h 5292022"/>
              <a:gd name="connsiteX61" fmla="*/ 1659173 w 10676727"/>
              <a:gd name="connsiteY61" fmla="*/ 2074689 h 5292022"/>
              <a:gd name="connsiteX62" fmla="*/ 914106 w 10676727"/>
              <a:gd name="connsiteY62" fmla="*/ 2032356 h 5292022"/>
              <a:gd name="connsiteX63" fmla="*/ 617773 w 10676727"/>
              <a:gd name="connsiteY63" fmla="*/ 1922289 h 5292022"/>
              <a:gd name="connsiteX64" fmla="*/ 354460 w 10676727"/>
              <a:gd name="connsiteY64" fmla="*/ 1676756 h 5292022"/>
              <a:gd name="connsiteX65" fmla="*/ 245240 w 10676727"/>
              <a:gd name="connsiteY65" fmla="*/ 1219556 h 5292022"/>
              <a:gd name="connsiteX66" fmla="*/ 245240 w 10676727"/>
              <a:gd name="connsiteY66" fmla="*/ 847022 h 5292022"/>
              <a:gd name="connsiteX67" fmla="*/ 236773 w 10676727"/>
              <a:gd name="connsiteY67" fmla="*/ 703089 h 5292022"/>
              <a:gd name="connsiteX68" fmla="*/ 109773 w 10676727"/>
              <a:gd name="connsiteY68" fmla="*/ 559156 h 5292022"/>
              <a:gd name="connsiteX69" fmla="*/ 58973 w 10676727"/>
              <a:gd name="connsiteY69" fmla="*/ 482956 h 5292022"/>
              <a:gd name="connsiteX70" fmla="*/ 16640 w 10676727"/>
              <a:gd name="connsiteY70" fmla="*/ 432156 h 5292022"/>
              <a:gd name="connsiteX71" fmla="*/ 8173 w 10676727"/>
              <a:gd name="connsiteY71" fmla="*/ 389822 h 5292022"/>
              <a:gd name="connsiteX72" fmla="*/ 16640 w 10676727"/>
              <a:gd name="connsiteY72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8982840 w 10676727"/>
              <a:gd name="connsiteY25" fmla="*/ 398289 h 5292022"/>
              <a:gd name="connsiteX26" fmla="*/ 9380773 w 10676727"/>
              <a:gd name="connsiteY26" fmla="*/ 355956 h 5292022"/>
              <a:gd name="connsiteX27" fmla="*/ 10083506 w 10676727"/>
              <a:gd name="connsiteY27" fmla="*/ 618422 h 5292022"/>
              <a:gd name="connsiteX28" fmla="*/ 10388306 w 10676727"/>
              <a:gd name="connsiteY28" fmla="*/ 889356 h 5292022"/>
              <a:gd name="connsiteX29" fmla="*/ 10583040 w 10676727"/>
              <a:gd name="connsiteY29" fmla="*/ 1448156 h 5292022"/>
              <a:gd name="connsiteX30" fmla="*/ 10676173 w 10676727"/>
              <a:gd name="connsiteY30" fmla="*/ 1854556 h 5292022"/>
              <a:gd name="connsiteX31" fmla="*/ 10608440 w 10676727"/>
              <a:gd name="connsiteY31" fmla="*/ 2252489 h 5292022"/>
              <a:gd name="connsiteX32" fmla="*/ 10362906 w 10676727"/>
              <a:gd name="connsiteY32" fmla="*/ 2912889 h 5292022"/>
              <a:gd name="connsiteX33" fmla="*/ 9948040 w 10676727"/>
              <a:gd name="connsiteY33" fmla="*/ 3336222 h 5292022"/>
              <a:gd name="connsiteX34" fmla="*/ 9067506 w 10676727"/>
              <a:gd name="connsiteY34" fmla="*/ 3861156 h 5292022"/>
              <a:gd name="connsiteX35" fmla="*/ 8370700 w 10676727"/>
              <a:gd name="connsiteY35" fmla="*/ 4087216 h 5292022"/>
              <a:gd name="connsiteX36" fmla="*/ 7966840 w 10676727"/>
              <a:gd name="connsiteY36" fmla="*/ 4233689 h 5292022"/>
              <a:gd name="connsiteX37" fmla="*/ 7374173 w 10676727"/>
              <a:gd name="connsiteY37" fmla="*/ 4657022 h 5292022"/>
              <a:gd name="connsiteX38" fmla="*/ 7374173 w 10676727"/>
              <a:gd name="connsiteY38" fmla="*/ 4657022 h 5292022"/>
              <a:gd name="connsiteX39" fmla="*/ 7221773 w 10676727"/>
              <a:gd name="connsiteY39" fmla="*/ 4775556 h 5292022"/>
              <a:gd name="connsiteX40" fmla="*/ 7027040 w 10676727"/>
              <a:gd name="connsiteY40" fmla="*/ 4902556 h 5292022"/>
              <a:gd name="connsiteX41" fmla="*/ 6646040 w 10676727"/>
              <a:gd name="connsiteY41" fmla="*/ 5105756 h 5292022"/>
              <a:gd name="connsiteX42" fmla="*/ 6197306 w 10676727"/>
              <a:gd name="connsiteY42" fmla="*/ 5266622 h 5292022"/>
              <a:gd name="connsiteX43" fmla="*/ 5917906 w 10676727"/>
              <a:gd name="connsiteY43" fmla="*/ 5292022 h 5292022"/>
              <a:gd name="connsiteX44" fmla="*/ 5748573 w 10676727"/>
              <a:gd name="connsiteY44" fmla="*/ 5283556 h 5292022"/>
              <a:gd name="connsiteX45" fmla="*/ 5282906 w 10676727"/>
              <a:gd name="connsiteY45" fmla="*/ 5173489 h 5292022"/>
              <a:gd name="connsiteX46" fmla="*/ 4959480 w 10676727"/>
              <a:gd name="connsiteY46" fmla="*/ 4988069 h 5292022"/>
              <a:gd name="connsiteX47" fmla="*/ 4686853 w 10676727"/>
              <a:gd name="connsiteY47" fmla="*/ 4788256 h 5292022"/>
              <a:gd name="connsiteX48" fmla="*/ 3977346 w 10676727"/>
              <a:gd name="connsiteY48" fmla="*/ 4470544 h 5292022"/>
              <a:gd name="connsiteX49" fmla="*/ 3741550 w 10676727"/>
              <a:gd name="connsiteY49" fmla="*/ 4154102 h 5292022"/>
              <a:gd name="connsiteX50" fmla="*/ 3562056 w 10676727"/>
              <a:gd name="connsiteY50" fmla="*/ 3406919 h 5292022"/>
              <a:gd name="connsiteX51" fmla="*/ 3073106 w 10676727"/>
              <a:gd name="connsiteY51" fmla="*/ 3010256 h 5292022"/>
              <a:gd name="connsiteX52" fmla="*/ 2971506 w 10676727"/>
              <a:gd name="connsiteY52" fmla="*/ 2743556 h 5292022"/>
              <a:gd name="connsiteX53" fmla="*/ 2996906 w 10676727"/>
              <a:gd name="connsiteY53" fmla="*/ 2531889 h 5292022"/>
              <a:gd name="connsiteX54" fmla="*/ 3013840 w 10676727"/>
              <a:gd name="connsiteY54" fmla="*/ 2430289 h 5292022"/>
              <a:gd name="connsiteX55" fmla="*/ 2988440 w 10676727"/>
              <a:gd name="connsiteY55" fmla="*/ 2260956 h 5292022"/>
              <a:gd name="connsiteX56" fmla="*/ 2802173 w 10676727"/>
              <a:gd name="connsiteY56" fmla="*/ 2006956 h 5292022"/>
              <a:gd name="connsiteX57" fmla="*/ 2641306 w 10676727"/>
              <a:gd name="connsiteY57" fmla="*/ 1863022 h 5292022"/>
              <a:gd name="connsiteX58" fmla="*/ 2446573 w 10676727"/>
              <a:gd name="connsiteY58" fmla="*/ 1812222 h 5292022"/>
              <a:gd name="connsiteX59" fmla="*/ 2167173 w 10676727"/>
              <a:gd name="connsiteY59" fmla="*/ 1879956 h 5292022"/>
              <a:gd name="connsiteX60" fmla="*/ 1659173 w 10676727"/>
              <a:gd name="connsiteY60" fmla="*/ 2074689 h 5292022"/>
              <a:gd name="connsiteX61" fmla="*/ 914106 w 10676727"/>
              <a:gd name="connsiteY61" fmla="*/ 2032356 h 5292022"/>
              <a:gd name="connsiteX62" fmla="*/ 617773 w 10676727"/>
              <a:gd name="connsiteY62" fmla="*/ 1922289 h 5292022"/>
              <a:gd name="connsiteX63" fmla="*/ 354460 w 10676727"/>
              <a:gd name="connsiteY63" fmla="*/ 1676756 h 5292022"/>
              <a:gd name="connsiteX64" fmla="*/ 245240 w 10676727"/>
              <a:gd name="connsiteY64" fmla="*/ 1219556 h 5292022"/>
              <a:gd name="connsiteX65" fmla="*/ 245240 w 10676727"/>
              <a:gd name="connsiteY65" fmla="*/ 847022 h 5292022"/>
              <a:gd name="connsiteX66" fmla="*/ 236773 w 10676727"/>
              <a:gd name="connsiteY66" fmla="*/ 703089 h 5292022"/>
              <a:gd name="connsiteX67" fmla="*/ 109773 w 10676727"/>
              <a:gd name="connsiteY67" fmla="*/ 559156 h 5292022"/>
              <a:gd name="connsiteX68" fmla="*/ 58973 w 10676727"/>
              <a:gd name="connsiteY68" fmla="*/ 482956 h 5292022"/>
              <a:gd name="connsiteX69" fmla="*/ 16640 w 10676727"/>
              <a:gd name="connsiteY69" fmla="*/ 432156 h 5292022"/>
              <a:gd name="connsiteX70" fmla="*/ 8173 w 10676727"/>
              <a:gd name="connsiteY70" fmla="*/ 389822 h 5292022"/>
              <a:gd name="connsiteX71" fmla="*/ 16640 w 10676727"/>
              <a:gd name="connsiteY71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9380773 w 10676727"/>
              <a:gd name="connsiteY25" fmla="*/ 355956 h 5292022"/>
              <a:gd name="connsiteX26" fmla="*/ 10083506 w 10676727"/>
              <a:gd name="connsiteY26" fmla="*/ 618422 h 5292022"/>
              <a:gd name="connsiteX27" fmla="*/ 10388306 w 10676727"/>
              <a:gd name="connsiteY27" fmla="*/ 889356 h 5292022"/>
              <a:gd name="connsiteX28" fmla="*/ 10583040 w 10676727"/>
              <a:gd name="connsiteY28" fmla="*/ 1448156 h 5292022"/>
              <a:gd name="connsiteX29" fmla="*/ 10676173 w 10676727"/>
              <a:gd name="connsiteY29" fmla="*/ 1854556 h 5292022"/>
              <a:gd name="connsiteX30" fmla="*/ 10608440 w 10676727"/>
              <a:gd name="connsiteY30" fmla="*/ 2252489 h 5292022"/>
              <a:gd name="connsiteX31" fmla="*/ 10362906 w 10676727"/>
              <a:gd name="connsiteY31" fmla="*/ 2912889 h 5292022"/>
              <a:gd name="connsiteX32" fmla="*/ 9948040 w 10676727"/>
              <a:gd name="connsiteY32" fmla="*/ 3336222 h 5292022"/>
              <a:gd name="connsiteX33" fmla="*/ 9067506 w 10676727"/>
              <a:gd name="connsiteY33" fmla="*/ 3861156 h 5292022"/>
              <a:gd name="connsiteX34" fmla="*/ 8370700 w 10676727"/>
              <a:gd name="connsiteY34" fmla="*/ 4087216 h 5292022"/>
              <a:gd name="connsiteX35" fmla="*/ 7966840 w 10676727"/>
              <a:gd name="connsiteY35" fmla="*/ 4233689 h 5292022"/>
              <a:gd name="connsiteX36" fmla="*/ 7374173 w 10676727"/>
              <a:gd name="connsiteY36" fmla="*/ 4657022 h 5292022"/>
              <a:gd name="connsiteX37" fmla="*/ 7374173 w 10676727"/>
              <a:gd name="connsiteY37" fmla="*/ 4657022 h 5292022"/>
              <a:gd name="connsiteX38" fmla="*/ 7221773 w 10676727"/>
              <a:gd name="connsiteY38" fmla="*/ 4775556 h 5292022"/>
              <a:gd name="connsiteX39" fmla="*/ 7027040 w 10676727"/>
              <a:gd name="connsiteY39" fmla="*/ 4902556 h 5292022"/>
              <a:gd name="connsiteX40" fmla="*/ 6646040 w 10676727"/>
              <a:gd name="connsiteY40" fmla="*/ 5105756 h 5292022"/>
              <a:gd name="connsiteX41" fmla="*/ 6197306 w 10676727"/>
              <a:gd name="connsiteY41" fmla="*/ 5266622 h 5292022"/>
              <a:gd name="connsiteX42" fmla="*/ 5917906 w 10676727"/>
              <a:gd name="connsiteY42" fmla="*/ 5292022 h 5292022"/>
              <a:gd name="connsiteX43" fmla="*/ 5748573 w 10676727"/>
              <a:gd name="connsiteY43" fmla="*/ 5283556 h 5292022"/>
              <a:gd name="connsiteX44" fmla="*/ 5282906 w 10676727"/>
              <a:gd name="connsiteY44" fmla="*/ 5173489 h 5292022"/>
              <a:gd name="connsiteX45" fmla="*/ 4959480 w 10676727"/>
              <a:gd name="connsiteY45" fmla="*/ 4988069 h 5292022"/>
              <a:gd name="connsiteX46" fmla="*/ 4686853 w 10676727"/>
              <a:gd name="connsiteY46" fmla="*/ 4788256 h 5292022"/>
              <a:gd name="connsiteX47" fmla="*/ 3977346 w 10676727"/>
              <a:gd name="connsiteY47" fmla="*/ 4470544 h 5292022"/>
              <a:gd name="connsiteX48" fmla="*/ 3741550 w 10676727"/>
              <a:gd name="connsiteY48" fmla="*/ 4154102 h 5292022"/>
              <a:gd name="connsiteX49" fmla="*/ 3562056 w 10676727"/>
              <a:gd name="connsiteY49" fmla="*/ 3406919 h 5292022"/>
              <a:gd name="connsiteX50" fmla="*/ 3073106 w 10676727"/>
              <a:gd name="connsiteY50" fmla="*/ 3010256 h 5292022"/>
              <a:gd name="connsiteX51" fmla="*/ 2971506 w 10676727"/>
              <a:gd name="connsiteY51" fmla="*/ 2743556 h 5292022"/>
              <a:gd name="connsiteX52" fmla="*/ 2996906 w 10676727"/>
              <a:gd name="connsiteY52" fmla="*/ 2531889 h 5292022"/>
              <a:gd name="connsiteX53" fmla="*/ 3013840 w 10676727"/>
              <a:gd name="connsiteY53" fmla="*/ 2430289 h 5292022"/>
              <a:gd name="connsiteX54" fmla="*/ 2988440 w 10676727"/>
              <a:gd name="connsiteY54" fmla="*/ 2260956 h 5292022"/>
              <a:gd name="connsiteX55" fmla="*/ 2802173 w 10676727"/>
              <a:gd name="connsiteY55" fmla="*/ 2006956 h 5292022"/>
              <a:gd name="connsiteX56" fmla="*/ 2641306 w 10676727"/>
              <a:gd name="connsiteY56" fmla="*/ 1863022 h 5292022"/>
              <a:gd name="connsiteX57" fmla="*/ 2446573 w 10676727"/>
              <a:gd name="connsiteY57" fmla="*/ 1812222 h 5292022"/>
              <a:gd name="connsiteX58" fmla="*/ 2167173 w 10676727"/>
              <a:gd name="connsiteY58" fmla="*/ 1879956 h 5292022"/>
              <a:gd name="connsiteX59" fmla="*/ 1659173 w 10676727"/>
              <a:gd name="connsiteY59" fmla="*/ 2074689 h 5292022"/>
              <a:gd name="connsiteX60" fmla="*/ 914106 w 10676727"/>
              <a:gd name="connsiteY60" fmla="*/ 2032356 h 5292022"/>
              <a:gd name="connsiteX61" fmla="*/ 617773 w 10676727"/>
              <a:gd name="connsiteY61" fmla="*/ 1922289 h 5292022"/>
              <a:gd name="connsiteX62" fmla="*/ 354460 w 10676727"/>
              <a:gd name="connsiteY62" fmla="*/ 1676756 h 5292022"/>
              <a:gd name="connsiteX63" fmla="*/ 245240 w 10676727"/>
              <a:gd name="connsiteY63" fmla="*/ 1219556 h 5292022"/>
              <a:gd name="connsiteX64" fmla="*/ 245240 w 10676727"/>
              <a:gd name="connsiteY64" fmla="*/ 847022 h 5292022"/>
              <a:gd name="connsiteX65" fmla="*/ 236773 w 10676727"/>
              <a:gd name="connsiteY65" fmla="*/ 703089 h 5292022"/>
              <a:gd name="connsiteX66" fmla="*/ 109773 w 10676727"/>
              <a:gd name="connsiteY66" fmla="*/ 559156 h 5292022"/>
              <a:gd name="connsiteX67" fmla="*/ 58973 w 10676727"/>
              <a:gd name="connsiteY67" fmla="*/ 482956 h 5292022"/>
              <a:gd name="connsiteX68" fmla="*/ 16640 w 10676727"/>
              <a:gd name="connsiteY68" fmla="*/ 432156 h 5292022"/>
              <a:gd name="connsiteX69" fmla="*/ 8173 w 10676727"/>
              <a:gd name="connsiteY69" fmla="*/ 389822 h 5292022"/>
              <a:gd name="connsiteX70" fmla="*/ 16640 w 10676727"/>
              <a:gd name="connsiteY70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10083506 w 10676727"/>
              <a:gd name="connsiteY25" fmla="*/ 618422 h 5292022"/>
              <a:gd name="connsiteX26" fmla="*/ 10388306 w 10676727"/>
              <a:gd name="connsiteY26" fmla="*/ 889356 h 5292022"/>
              <a:gd name="connsiteX27" fmla="*/ 10583040 w 10676727"/>
              <a:gd name="connsiteY27" fmla="*/ 1448156 h 5292022"/>
              <a:gd name="connsiteX28" fmla="*/ 10676173 w 10676727"/>
              <a:gd name="connsiteY28" fmla="*/ 1854556 h 5292022"/>
              <a:gd name="connsiteX29" fmla="*/ 10608440 w 10676727"/>
              <a:gd name="connsiteY29" fmla="*/ 2252489 h 5292022"/>
              <a:gd name="connsiteX30" fmla="*/ 10362906 w 10676727"/>
              <a:gd name="connsiteY30" fmla="*/ 2912889 h 5292022"/>
              <a:gd name="connsiteX31" fmla="*/ 9948040 w 10676727"/>
              <a:gd name="connsiteY31" fmla="*/ 3336222 h 5292022"/>
              <a:gd name="connsiteX32" fmla="*/ 9067506 w 10676727"/>
              <a:gd name="connsiteY32" fmla="*/ 3861156 h 5292022"/>
              <a:gd name="connsiteX33" fmla="*/ 8370700 w 10676727"/>
              <a:gd name="connsiteY33" fmla="*/ 4087216 h 5292022"/>
              <a:gd name="connsiteX34" fmla="*/ 7966840 w 10676727"/>
              <a:gd name="connsiteY34" fmla="*/ 4233689 h 5292022"/>
              <a:gd name="connsiteX35" fmla="*/ 7374173 w 10676727"/>
              <a:gd name="connsiteY35" fmla="*/ 4657022 h 5292022"/>
              <a:gd name="connsiteX36" fmla="*/ 7374173 w 10676727"/>
              <a:gd name="connsiteY36" fmla="*/ 4657022 h 5292022"/>
              <a:gd name="connsiteX37" fmla="*/ 7221773 w 10676727"/>
              <a:gd name="connsiteY37" fmla="*/ 4775556 h 5292022"/>
              <a:gd name="connsiteX38" fmla="*/ 7027040 w 10676727"/>
              <a:gd name="connsiteY38" fmla="*/ 4902556 h 5292022"/>
              <a:gd name="connsiteX39" fmla="*/ 6646040 w 10676727"/>
              <a:gd name="connsiteY39" fmla="*/ 5105756 h 5292022"/>
              <a:gd name="connsiteX40" fmla="*/ 6197306 w 10676727"/>
              <a:gd name="connsiteY40" fmla="*/ 5266622 h 5292022"/>
              <a:gd name="connsiteX41" fmla="*/ 5917906 w 10676727"/>
              <a:gd name="connsiteY41" fmla="*/ 5292022 h 5292022"/>
              <a:gd name="connsiteX42" fmla="*/ 5748573 w 10676727"/>
              <a:gd name="connsiteY42" fmla="*/ 5283556 h 5292022"/>
              <a:gd name="connsiteX43" fmla="*/ 5282906 w 10676727"/>
              <a:gd name="connsiteY43" fmla="*/ 5173489 h 5292022"/>
              <a:gd name="connsiteX44" fmla="*/ 4959480 w 10676727"/>
              <a:gd name="connsiteY44" fmla="*/ 4988069 h 5292022"/>
              <a:gd name="connsiteX45" fmla="*/ 4686853 w 10676727"/>
              <a:gd name="connsiteY45" fmla="*/ 4788256 h 5292022"/>
              <a:gd name="connsiteX46" fmla="*/ 3977346 w 10676727"/>
              <a:gd name="connsiteY46" fmla="*/ 4470544 h 5292022"/>
              <a:gd name="connsiteX47" fmla="*/ 3741550 w 10676727"/>
              <a:gd name="connsiteY47" fmla="*/ 4154102 h 5292022"/>
              <a:gd name="connsiteX48" fmla="*/ 3562056 w 10676727"/>
              <a:gd name="connsiteY48" fmla="*/ 3406919 h 5292022"/>
              <a:gd name="connsiteX49" fmla="*/ 3073106 w 10676727"/>
              <a:gd name="connsiteY49" fmla="*/ 3010256 h 5292022"/>
              <a:gd name="connsiteX50" fmla="*/ 2971506 w 10676727"/>
              <a:gd name="connsiteY50" fmla="*/ 2743556 h 5292022"/>
              <a:gd name="connsiteX51" fmla="*/ 2996906 w 10676727"/>
              <a:gd name="connsiteY51" fmla="*/ 2531889 h 5292022"/>
              <a:gd name="connsiteX52" fmla="*/ 3013840 w 10676727"/>
              <a:gd name="connsiteY52" fmla="*/ 2430289 h 5292022"/>
              <a:gd name="connsiteX53" fmla="*/ 2988440 w 10676727"/>
              <a:gd name="connsiteY53" fmla="*/ 2260956 h 5292022"/>
              <a:gd name="connsiteX54" fmla="*/ 2802173 w 10676727"/>
              <a:gd name="connsiteY54" fmla="*/ 2006956 h 5292022"/>
              <a:gd name="connsiteX55" fmla="*/ 2641306 w 10676727"/>
              <a:gd name="connsiteY55" fmla="*/ 1863022 h 5292022"/>
              <a:gd name="connsiteX56" fmla="*/ 2446573 w 10676727"/>
              <a:gd name="connsiteY56" fmla="*/ 1812222 h 5292022"/>
              <a:gd name="connsiteX57" fmla="*/ 2167173 w 10676727"/>
              <a:gd name="connsiteY57" fmla="*/ 1879956 h 5292022"/>
              <a:gd name="connsiteX58" fmla="*/ 1659173 w 10676727"/>
              <a:gd name="connsiteY58" fmla="*/ 2074689 h 5292022"/>
              <a:gd name="connsiteX59" fmla="*/ 914106 w 10676727"/>
              <a:gd name="connsiteY59" fmla="*/ 2032356 h 5292022"/>
              <a:gd name="connsiteX60" fmla="*/ 617773 w 10676727"/>
              <a:gd name="connsiteY60" fmla="*/ 1922289 h 5292022"/>
              <a:gd name="connsiteX61" fmla="*/ 354460 w 10676727"/>
              <a:gd name="connsiteY61" fmla="*/ 1676756 h 5292022"/>
              <a:gd name="connsiteX62" fmla="*/ 245240 w 10676727"/>
              <a:gd name="connsiteY62" fmla="*/ 1219556 h 5292022"/>
              <a:gd name="connsiteX63" fmla="*/ 245240 w 10676727"/>
              <a:gd name="connsiteY63" fmla="*/ 847022 h 5292022"/>
              <a:gd name="connsiteX64" fmla="*/ 236773 w 10676727"/>
              <a:gd name="connsiteY64" fmla="*/ 703089 h 5292022"/>
              <a:gd name="connsiteX65" fmla="*/ 109773 w 10676727"/>
              <a:gd name="connsiteY65" fmla="*/ 559156 h 5292022"/>
              <a:gd name="connsiteX66" fmla="*/ 58973 w 10676727"/>
              <a:gd name="connsiteY66" fmla="*/ 482956 h 5292022"/>
              <a:gd name="connsiteX67" fmla="*/ 16640 w 10676727"/>
              <a:gd name="connsiteY67" fmla="*/ 432156 h 5292022"/>
              <a:gd name="connsiteX68" fmla="*/ 8173 w 10676727"/>
              <a:gd name="connsiteY68" fmla="*/ 389822 h 5292022"/>
              <a:gd name="connsiteX69" fmla="*/ 16640 w 10676727"/>
              <a:gd name="connsiteY69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9689806 w 10676727"/>
              <a:gd name="connsiteY25" fmla="*/ 526982 h 5292022"/>
              <a:gd name="connsiteX26" fmla="*/ 10388306 w 10676727"/>
              <a:gd name="connsiteY26" fmla="*/ 889356 h 5292022"/>
              <a:gd name="connsiteX27" fmla="*/ 10583040 w 10676727"/>
              <a:gd name="connsiteY27" fmla="*/ 1448156 h 5292022"/>
              <a:gd name="connsiteX28" fmla="*/ 10676173 w 10676727"/>
              <a:gd name="connsiteY28" fmla="*/ 1854556 h 5292022"/>
              <a:gd name="connsiteX29" fmla="*/ 10608440 w 10676727"/>
              <a:gd name="connsiteY29" fmla="*/ 2252489 h 5292022"/>
              <a:gd name="connsiteX30" fmla="*/ 10362906 w 10676727"/>
              <a:gd name="connsiteY30" fmla="*/ 2912889 h 5292022"/>
              <a:gd name="connsiteX31" fmla="*/ 9948040 w 10676727"/>
              <a:gd name="connsiteY31" fmla="*/ 3336222 h 5292022"/>
              <a:gd name="connsiteX32" fmla="*/ 9067506 w 10676727"/>
              <a:gd name="connsiteY32" fmla="*/ 3861156 h 5292022"/>
              <a:gd name="connsiteX33" fmla="*/ 8370700 w 10676727"/>
              <a:gd name="connsiteY33" fmla="*/ 4087216 h 5292022"/>
              <a:gd name="connsiteX34" fmla="*/ 7966840 w 10676727"/>
              <a:gd name="connsiteY34" fmla="*/ 4233689 h 5292022"/>
              <a:gd name="connsiteX35" fmla="*/ 7374173 w 10676727"/>
              <a:gd name="connsiteY35" fmla="*/ 4657022 h 5292022"/>
              <a:gd name="connsiteX36" fmla="*/ 7374173 w 10676727"/>
              <a:gd name="connsiteY36" fmla="*/ 4657022 h 5292022"/>
              <a:gd name="connsiteX37" fmla="*/ 7221773 w 10676727"/>
              <a:gd name="connsiteY37" fmla="*/ 4775556 h 5292022"/>
              <a:gd name="connsiteX38" fmla="*/ 7027040 w 10676727"/>
              <a:gd name="connsiteY38" fmla="*/ 4902556 h 5292022"/>
              <a:gd name="connsiteX39" fmla="*/ 6646040 w 10676727"/>
              <a:gd name="connsiteY39" fmla="*/ 5105756 h 5292022"/>
              <a:gd name="connsiteX40" fmla="*/ 6197306 w 10676727"/>
              <a:gd name="connsiteY40" fmla="*/ 5266622 h 5292022"/>
              <a:gd name="connsiteX41" fmla="*/ 5917906 w 10676727"/>
              <a:gd name="connsiteY41" fmla="*/ 5292022 h 5292022"/>
              <a:gd name="connsiteX42" fmla="*/ 5748573 w 10676727"/>
              <a:gd name="connsiteY42" fmla="*/ 5283556 h 5292022"/>
              <a:gd name="connsiteX43" fmla="*/ 5282906 w 10676727"/>
              <a:gd name="connsiteY43" fmla="*/ 5173489 h 5292022"/>
              <a:gd name="connsiteX44" fmla="*/ 4959480 w 10676727"/>
              <a:gd name="connsiteY44" fmla="*/ 4988069 h 5292022"/>
              <a:gd name="connsiteX45" fmla="*/ 4686853 w 10676727"/>
              <a:gd name="connsiteY45" fmla="*/ 4788256 h 5292022"/>
              <a:gd name="connsiteX46" fmla="*/ 3977346 w 10676727"/>
              <a:gd name="connsiteY46" fmla="*/ 4470544 h 5292022"/>
              <a:gd name="connsiteX47" fmla="*/ 3741550 w 10676727"/>
              <a:gd name="connsiteY47" fmla="*/ 4154102 h 5292022"/>
              <a:gd name="connsiteX48" fmla="*/ 3562056 w 10676727"/>
              <a:gd name="connsiteY48" fmla="*/ 3406919 h 5292022"/>
              <a:gd name="connsiteX49" fmla="*/ 3073106 w 10676727"/>
              <a:gd name="connsiteY49" fmla="*/ 3010256 h 5292022"/>
              <a:gd name="connsiteX50" fmla="*/ 2971506 w 10676727"/>
              <a:gd name="connsiteY50" fmla="*/ 2743556 h 5292022"/>
              <a:gd name="connsiteX51" fmla="*/ 2996906 w 10676727"/>
              <a:gd name="connsiteY51" fmla="*/ 2531889 h 5292022"/>
              <a:gd name="connsiteX52" fmla="*/ 3013840 w 10676727"/>
              <a:gd name="connsiteY52" fmla="*/ 2430289 h 5292022"/>
              <a:gd name="connsiteX53" fmla="*/ 2988440 w 10676727"/>
              <a:gd name="connsiteY53" fmla="*/ 2260956 h 5292022"/>
              <a:gd name="connsiteX54" fmla="*/ 2802173 w 10676727"/>
              <a:gd name="connsiteY54" fmla="*/ 2006956 h 5292022"/>
              <a:gd name="connsiteX55" fmla="*/ 2641306 w 10676727"/>
              <a:gd name="connsiteY55" fmla="*/ 1863022 h 5292022"/>
              <a:gd name="connsiteX56" fmla="*/ 2446573 w 10676727"/>
              <a:gd name="connsiteY56" fmla="*/ 1812222 h 5292022"/>
              <a:gd name="connsiteX57" fmla="*/ 2167173 w 10676727"/>
              <a:gd name="connsiteY57" fmla="*/ 1879956 h 5292022"/>
              <a:gd name="connsiteX58" fmla="*/ 1659173 w 10676727"/>
              <a:gd name="connsiteY58" fmla="*/ 2074689 h 5292022"/>
              <a:gd name="connsiteX59" fmla="*/ 914106 w 10676727"/>
              <a:gd name="connsiteY59" fmla="*/ 2032356 h 5292022"/>
              <a:gd name="connsiteX60" fmla="*/ 617773 w 10676727"/>
              <a:gd name="connsiteY60" fmla="*/ 1922289 h 5292022"/>
              <a:gd name="connsiteX61" fmla="*/ 354460 w 10676727"/>
              <a:gd name="connsiteY61" fmla="*/ 1676756 h 5292022"/>
              <a:gd name="connsiteX62" fmla="*/ 245240 w 10676727"/>
              <a:gd name="connsiteY62" fmla="*/ 1219556 h 5292022"/>
              <a:gd name="connsiteX63" fmla="*/ 245240 w 10676727"/>
              <a:gd name="connsiteY63" fmla="*/ 847022 h 5292022"/>
              <a:gd name="connsiteX64" fmla="*/ 236773 w 10676727"/>
              <a:gd name="connsiteY64" fmla="*/ 703089 h 5292022"/>
              <a:gd name="connsiteX65" fmla="*/ 109773 w 10676727"/>
              <a:gd name="connsiteY65" fmla="*/ 559156 h 5292022"/>
              <a:gd name="connsiteX66" fmla="*/ 58973 w 10676727"/>
              <a:gd name="connsiteY66" fmla="*/ 482956 h 5292022"/>
              <a:gd name="connsiteX67" fmla="*/ 16640 w 10676727"/>
              <a:gd name="connsiteY67" fmla="*/ 432156 h 5292022"/>
              <a:gd name="connsiteX68" fmla="*/ 8173 w 10676727"/>
              <a:gd name="connsiteY68" fmla="*/ 389822 h 5292022"/>
              <a:gd name="connsiteX69" fmla="*/ 16640 w 10676727"/>
              <a:gd name="connsiteY69" fmla="*/ 339022 h 5292022"/>
              <a:gd name="connsiteX0" fmla="*/ 16640 w 10676727"/>
              <a:gd name="connsiteY0" fmla="*/ 339022 h 5292022"/>
              <a:gd name="connsiteX1" fmla="*/ 58973 w 10676727"/>
              <a:gd name="connsiteY1" fmla="*/ 245889 h 5292022"/>
              <a:gd name="connsiteX2" fmla="*/ 109773 w 10676727"/>
              <a:gd name="connsiteY2" fmla="*/ 178156 h 5292022"/>
              <a:gd name="connsiteX3" fmla="*/ 202906 w 10676727"/>
              <a:gd name="connsiteY3" fmla="*/ 93489 h 5292022"/>
              <a:gd name="connsiteX4" fmla="*/ 236773 w 10676727"/>
              <a:gd name="connsiteY4" fmla="*/ 68089 h 5292022"/>
              <a:gd name="connsiteX5" fmla="*/ 335410 w 10676727"/>
              <a:gd name="connsiteY5" fmla="*/ 58352 h 5292022"/>
              <a:gd name="connsiteX6" fmla="*/ 382400 w 10676727"/>
              <a:gd name="connsiteY6" fmla="*/ 51156 h 5292022"/>
              <a:gd name="connsiteX7" fmla="*/ 434912 w 10676727"/>
              <a:gd name="connsiteY7" fmla="*/ 70071 h 5292022"/>
              <a:gd name="connsiteX8" fmla="*/ 492697 w 10676727"/>
              <a:gd name="connsiteY8" fmla="*/ 74247 h 5292022"/>
              <a:gd name="connsiteX9" fmla="*/ 822897 w 10676727"/>
              <a:gd name="connsiteY9" fmla="*/ 82713 h 5292022"/>
              <a:gd name="connsiteX10" fmla="*/ 1091906 w 10676727"/>
              <a:gd name="connsiteY10" fmla="*/ 356 h 5292022"/>
              <a:gd name="connsiteX11" fmla="*/ 1235840 w 10676727"/>
              <a:gd name="connsiteY11" fmla="*/ 59622 h 5292022"/>
              <a:gd name="connsiteX12" fmla="*/ 1337440 w 10676727"/>
              <a:gd name="connsiteY12" fmla="*/ 135822 h 5292022"/>
              <a:gd name="connsiteX13" fmla="*/ 1422106 w 10676727"/>
              <a:gd name="connsiteY13" fmla="*/ 245889 h 5292022"/>
              <a:gd name="connsiteX14" fmla="*/ 1481373 w 10676727"/>
              <a:gd name="connsiteY14" fmla="*/ 313622 h 5292022"/>
              <a:gd name="connsiteX15" fmla="*/ 1532173 w 10676727"/>
              <a:gd name="connsiteY15" fmla="*/ 347489 h 5292022"/>
              <a:gd name="connsiteX16" fmla="*/ 1684573 w 10676727"/>
              <a:gd name="connsiteY16" fmla="*/ 406756 h 5292022"/>
              <a:gd name="connsiteX17" fmla="*/ 1760773 w 10676727"/>
              <a:gd name="connsiteY17" fmla="*/ 423689 h 5292022"/>
              <a:gd name="connsiteX18" fmla="*/ 2404240 w 10676727"/>
              <a:gd name="connsiteY18" fmla="*/ 355956 h 5292022"/>
              <a:gd name="connsiteX19" fmla="*/ 3398918 w 10676727"/>
              <a:gd name="connsiteY19" fmla="*/ 72322 h 5292022"/>
              <a:gd name="connsiteX20" fmla="*/ 4529373 w 10676727"/>
              <a:gd name="connsiteY20" fmla="*/ 271289 h 5292022"/>
              <a:gd name="connsiteX21" fmla="*/ 5630810 w 10676727"/>
              <a:gd name="connsiteY21" fmla="*/ 1149898 h 5292022"/>
              <a:gd name="connsiteX22" fmla="*/ 6881490 w 10676727"/>
              <a:gd name="connsiteY22" fmla="*/ 1366452 h 5292022"/>
              <a:gd name="connsiteX23" fmla="*/ 7839032 w 10676727"/>
              <a:gd name="connsiteY23" fmla="*/ 1183996 h 5292022"/>
              <a:gd name="connsiteX24" fmla="*/ 8652640 w 10676727"/>
              <a:gd name="connsiteY24" fmla="*/ 677689 h 5292022"/>
              <a:gd name="connsiteX25" fmla="*/ 9689806 w 10676727"/>
              <a:gd name="connsiteY25" fmla="*/ 526982 h 5292022"/>
              <a:gd name="connsiteX26" fmla="*/ 10388306 w 10676727"/>
              <a:gd name="connsiteY26" fmla="*/ 889356 h 5292022"/>
              <a:gd name="connsiteX27" fmla="*/ 10583040 w 10676727"/>
              <a:gd name="connsiteY27" fmla="*/ 1448156 h 5292022"/>
              <a:gd name="connsiteX28" fmla="*/ 10676173 w 10676727"/>
              <a:gd name="connsiteY28" fmla="*/ 1854556 h 5292022"/>
              <a:gd name="connsiteX29" fmla="*/ 10608440 w 10676727"/>
              <a:gd name="connsiteY29" fmla="*/ 2252489 h 5292022"/>
              <a:gd name="connsiteX30" fmla="*/ 10362906 w 10676727"/>
              <a:gd name="connsiteY30" fmla="*/ 2912889 h 5292022"/>
              <a:gd name="connsiteX31" fmla="*/ 9948040 w 10676727"/>
              <a:gd name="connsiteY31" fmla="*/ 3336222 h 5292022"/>
              <a:gd name="connsiteX32" fmla="*/ 9067506 w 10676727"/>
              <a:gd name="connsiteY32" fmla="*/ 3861156 h 5292022"/>
              <a:gd name="connsiteX33" fmla="*/ 8370700 w 10676727"/>
              <a:gd name="connsiteY33" fmla="*/ 4087216 h 5292022"/>
              <a:gd name="connsiteX34" fmla="*/ 7966840 w 10676727"/>
              <a:gd name="connsiteY34" fmla="*/ 4233689 h 5292022"/>
              <a:gd name="connsiteX35" fmla="*/ 7374173 w 10676727"/>
              <a:gd name="connsiteY35" fmla="*/ 4657022 h 5292022"/>
              <a:gd name="connsiteX36" fmla="*/ 7374173 w 10676727"/>
              <a:gd name="connsiteY36" fmla="*/ 4657022 h 5292022"/>
              <a:gd name="connsiteX37" fmla="*/ 7221773 w 10676727"/>
              <a:gd name="connsiteY37" fmla="*/ 4775556 h 5292022"/>
              <a:gd name="connsiteX38" fmla="*/ 7027040 w 10676727"/>
              <a:gd name="connsiteY38" fmla="*/ 4902556 h 5292022"/>
              <a:gd name="connsiteX39" fmla="*/ 6646040 w 10676727"/>
              <a:gd name="connsiteY39" fmla="*/ 5105756 h 5292022"/>
              <a:gd name="connsiteX40" fmla="*/ 6197306 w 10676727"/>
              <a:gd name="connsiteY40" fmla="*/ 5266622 h 5292022"/>
              <a:gd name="connsiteX41" fmla="*/ 5917906 w 10676727"/>
              <a:gd name="connsiteY41" fmla="*/ 5292022 h 5292022"/>
              <a:gd name="connsiteX42" fmla="*/ 5748573 w 10676727"/>
              <a:gd name="connsiteY42" fmla="*/ 5283556 h 5292022"/>
              <a:gd name="connsiteX43" fmla="*/ 5282906 w 10676727"/>
              <a:gd name="connsiteY43" fmla="*/ 5173489 h 5292022"/>
              <a:gd name="connsiteX44" fmla="*/ 4959480 w 10676727"/>
              <a:gd name="connsiteY44" fmla="*/ 4988069 h 5292022"/>
              <a:gd name="connsiteX45" fmla="*/ 4686853 w 10676727"/>
              <a:gd name="connsiteY45" fmla="*/ 4788256 h 5292022"/>
              <a:gd name="connsiteX46" fmla="*/ 3977346 w 10676727"/>
              <a:gd name="connsiteY46" fmla="*/ 4470544 h 5292022"/>
              <a:gd name="connsiteX47" fmla="*/ 3741550 w 10676727"/>
              <a:gd name="connsiteY47" fmla="*/ 4154102 h 5292022"/>
              <a:gd name="connsiteX48" fmla="*/ 3562056 w 10676727"/>
              <a:gd name="connsiteY48" fmla="*/ 3406919 h 5292022"/>
              <a:gd name="connsiteX49" fmla="*/ 3073106 w 10676727"/>
              <a:gd name="connsiteY49" fmla="*/ 3010256 h 5292022"/>
              <a:gd name="connsiteX50" fmla="*/ 2971506 w 10676727"/>
              <a:gd name="connsiteY50" fmla="*/ 2743556 h 5292022"/>
              <a:gd name="connsiteX51" fmla="*/ 2996906 w 10676727"/>
              <a:gd name="connsiteY51" fmla="*/ 2531889 h 5292022"/>
              <a:gd name="connsiteX52" fmla="*/ 3013840 w 10676727"/>
              <a:gd name="connsiteY52" fmla="*/ 2430289 h 5292022"/>
              <a:gd name="connsiteX53" fmla="*/ 2988440 w 10676727"/>
              <a:gd name="connsiteY53" fmla="*/ 2260956 h 5292022"/>
              <a:gd name="connsiteX54" fmla="*/ 2802173 w 10676727"/>
              <a:gd name="connsiteY54" fmla="*/ 2006956 h 5292022"/>
              <a:gd name="connsiteX55" fmla="*/ 2641306 w 10676727"/>
              <a:gd name="connsiteY55" fmla="*/ 1863022 h 5292022"/>
              <a:gd name="connsiteX56" fmla="*/ 2446573 w 10676727"/>
              <a:gd name="connsiteY56" fmla="*/ 1812222 h 5292022"/>
              <a:gd name="connsiteX57" fmla="*/ 2167173 w 10676727"/>
              <a:gd name="connsiteY57" fmla="*/ 1879956 h 5292022"/>
              <a:gd name="connsiteX58" fmla="*/ 1659173 w 10676727"/>
              <a:gd name="connsiteY58" fmla="*/ 2074689 h 5292022"/>
              <a:gd name="connsiteX59" fmla="*/ 914106 w 10676727"/>
              <a:gd name="connsiteY59" fmla="*/ 2032356 h 5292022"/>
              <a:gd name="connsiteX60" fmla="*/ 617773 w 10676727"/>
              <a:gd name="connsiteY60" fmla="*/ 1922289 h 5292022"/>
              <a:gd name="connsiteX61" fmla="*/ 354460 w 10676727"/>
              <a:gd name="connsiteY61" fmla="*/ 1676756 h 5292022"/>
              <a:gd name="connsiteX62" fmla="*/ 245240 w 10676727"/>
              <a:gd name="connsiteY62" fmla="*/ 1219556 h 5292022"/>
              <a:gd name="connsiteX63" fmla="*/ 245240 w 10676727"/>
              <a:gd name="connsiteY63" fmla="*/ 847022 h 5292022"/>
              <a:gd name="connsiteX64" fmla="*/ 236773 w 10676727"/>
              <a:gd name="connsiteY64" fmla="*/ 703089 h 5292022"/>
              <a:gd name="connsiteX65" fmla="*/ 109773 w 10676727"/>
              <a:gd name="connsiteY65" fmla="*/ 559156 h 5292022"/>
              <a:gd name="connsiteX66" fmla="*/ 16640 w 10676727"/>
              <a:gd name="connsiteY66" fmla="*/ 432156 h 5292022"/>
              <a:gd name="connsiteX67" fmla="*/ 8173 w 10676727"/>
              <a:gd name="connsiteY67" fmla="*/ 389822 h 5292022"/>
              <a:gd name="connsiteX68" fmla="*/ 16640 w 10676727"/>
              <a:gd name="connsiteY68" fmla="*/ 339022 h 5292022"/>
              <a:gd name="connsiteX0" fmla="*/ 8746 w 10668833"/>
              <a:gd name="connsiteY0" fmla="*/ 339022 h 5292022"/>
              <a:gd name="connsiteX1" fmla="*/ 51079 w 10668833"/>
              <a:gd name="connsiteY1" fmla="*/ 245889 h 5292022"/>
              <a:gd name="connsiteX2" fmla="*/ 101879 w 10668833"/>
              <a:gd name="connsiteY2" fmla="*/ 178156 h 5292022"/>
              <a:gd name="connsiteX3" fmla="*/ 195012 w 10668833"/>
              <a:gd name="connsiteY3" fmla="*/ 93489 h 5292022"/>
              <a:gd name="connsiteX4" fmla="*/ 228879 w 10668833"/>
              <a:gd name="connsiteY4" fmla="*/ 68089 h 5292022"/>
              <a:gd name="connsiteX5" fmla="*/ 327516 w 10668833"/>
              <a:gd name="connsiteY5" fmla="*/ 58352 h 5292022"/>
              <a:gd name="connsiteX6" fmla="*/ 374506 w 10668833"/>
              <a:gd name="connsiteY6" fmla="*/ 51156 h 5292022"/>
              <a:gd name="connsiteX7" fmla="*/ 427018 w 10668833"/>
              <a:gd name="connsiteY7" fmla="*/ 70071 h 5292022"/>
              <a:gd name="connsiteX8" fmla="*/ 484803 w 10668833"/>
              <a:gd name="connsiteY8" fmla="*/ 74247 h 5292022"/>
              <a:gd name="connsiteX9" fmla="*/ 815003 w 10668833"/>
              <a:gd name="connsiteY9" fmla="*/ 82713 h 5292022"/>
              <a:gd name="connsiteX10" fmla="*/ 1084012 w 10668833"/>
              <a:gd name="connsiteY10" fmla="*/ 356 h 5292022"/>
              <a:gd name="connsiteX11" fmla="*/ 1227946 w 10668833"/>
              <a:gd name="connsiteY11" fmla="*/ 59622 h 5292022"/>
              <a:gd name="connsiteX12" fmla="*/ 1329546 w 10668833"/>
              <a:gd name="connsiteY12" fmla="*/ 135822 h 5292022"/>
              <a:gd name="connsiteX13" fmla="*/ 1414212 w 10668833"/>
              <a:gd name="connsiteY13" fmla="*/ 245889 h 5292022"/>
              <a:gd name="connsiteX14" fmla="*/ 1473479 w 10668833"/>
              <a:gd name="connsiteY14" fmla="*/ 313622 h 5292022"/>
              <a:gd name="connsiteX15" fmla="*/ 1524279 w 10668833"/>
              <a:gd name="connsiteY15" fmla="*/ 347489 h 5292022"/>
              <a:gd name="connsiteX16" fmla="*/ 1676679 w 10668833"/>
              <a:gd name="connsiteY16" fmla="*/ 406756 h 5292022"/>
              <a:gd name="connsiteX17" fmla="*/ 1752879 w 10668833"/>
              <a:gd name="connsiteY17" fmla="*/ 423689 h 5292022"/>
              <a:gd name="connsiteX18" fmla="*/ 2396346 w 10668833"/>
              <a:gd name="connsiteY18" fmla="*/ 355956 h 5292022"/>
              <a:gd name="connsiteX19" fmla="*/ 3391024 w 10668833"/>
              <a:gd name="connsiteY19" fmla="*/ 72322 h 5292022"/>
              <a:gd name="connsiteX20" fmla="*/ 4521479 w 10668833"/>
              <a:gd name="connsiteY20" fmla="*/ 271289 h 5292022"/>
              <a:gd name="connsiteX21" fmla="*/ 5622916 w 10668833"/>
              <a:gd name="connsiteY21" fmla="*/ 1149898 h 5292022"/>
              <a:gd name="connsiteX22" fmla="*/ 6873596 w 10668833"/>
              <a:gd name="connsiteY22" fmla="*/ 1366452 h 5292022"/>
              <a:gd name="connsiteX23" fmla="*/ 7831138 w 10668833"/>
              <a:gd name="connsiteY23" fmla="*/ 1183996 h 5292022"/>
              <a:gd name="connsiteX24" fmla="*/ 8644746 w 10668833"/>
              <a:gd name="connsiteY24" fmla="*/ 677689 h 5292022"/>
              <a:gd name="connsiteX25" fmla="*/ 9681912 w 10668833"/>
              <a:gd name="connsiteY25" fmla="*/ 526982 h 5292022"/>
              <a:gd name="connsiteX26" fmla="*/ 10380412 w 10668833"/>
              <a:gd name="connsiteY26" fmla="*/ 889356 h 5292022"/>
              <a:gd name="connsiteX27" fmla="*/ 10575146 w 10668833"/>
              <a:gd name="connsiteY27" fmla="*/ 1448156 h 5292022"/>
              <a:gd name="connsiteX28" fmla="*/ 10668279 w 10668833"/>
              <a:gd name="connsiteY28" fmla="*/ 1854556 h 5292022"/>
              <a:gd name="connsiteX29" fmla="*/ 10600546 w 10668833"/>
              <a:gd name="connsiteY29" fmla="*/ 2252489 h 5292022"/>
              <a:gd name="connsiteX30" fmla="*/ 10355012 w 10668833"/>
              <a:gd name="connsiteY30" fmla="*/ 2912889 h 5292022"/>
              <a:gd name="connsiteX31" fmla="*/ 9940146 w 10668833"/>
              <a:gd name="connsiteY31" fmla="*/ 3336222 h 5292022"/>
              <a:gd name="connsiteX32" fmla="*/ 9059612 w 10668833"/>
              <a:gd name="connsiteY32" fmla="*/ 3861156 h 5292022"/>
              <a:gd name="connsiteX33" fmla="*/ 8362806 w 10668833"/>
              <a:gd name="connsiteY33" fmla="*/ 4087216 h 5292022"/>
              <a:gd name="connsiteX34" fmla="*/ 7958946 w 10668833"/>
              <a:gd name="connsiteY34" fmla="*/ 4233689 h 5292022"/>
              <a:gd name="connsiteX35" fmla="*/ 7366279 w 10668833"/>
              <a:gd name="connsiteY35" fmla="*/ 4657022 h 5292022"/>
              <a:gd name="connsiteX36" fmla="*/ 7366279 w 10668833"/>
              <a:gd name="connsiteY36" fmla="*/ 4657022 h 5292022"/>
              <a:gd name="connsiteX37" fmla="*/ 7213879 w 10668833"/>
              <a:gd name="connsiteY37" fmla="*/ 4775556 h 5292022"/>
              <a:gd name="connsiteX38" fmla="*/ 7019146 w 10668833"/>
              <a:gd name="connsiteY38" fmla="*/ 4902556 h 5292022"/>
              <a:gd name="connsiteX39" fmla="*/ 6638146 w 10668833"/>
              <a:gd name="connsiteY39" fmla="*/ 5105756 h 5292022"/>
              <a:gd name="connsiteX40" fmla="*/ 6189412 w 10668833"/>
              <a:gd name="connsiteY40" fmla="*/ 5266622 h 5292022"/>
              <a:gd name="connsiteX41" fmla="*/ 5910012 w 10668833"/>
              <a:gd name="connsiteY41" fmla="*/ 5292022 h 5292022"/>
              <a:gd name="connsiteX42" fmla="*/ 5740679 w 10668833"/>
              <a:gd name="connsiteY42" fmla="*/ 5283556 h 5292022"/>
              <a:gd name="connsiteX43" fmla="*/ 5275012 w 10668833"/>
              <a:gd name="connsiteY43" fmla="*/ 5173489 h 5292022"/>
              <a:gd name="connsiteX44" fmla="*/ 4951586 w 10668833"/>
              <a:gd name="connsiteY44" fmla="*/ 4988069 h 5292022"/>
              <a:gd name="connsiteX45" fmla="*/ 4678959 w 10668833"/>
              <a:gd name="connsiteY45" fmla="*/ 4788256 h 5292022"/>
              <a:gd name="connsiteX46" fmla="*/ 3969452 w 10668833"/>
              <a:gd name="connsiteY46" fmla="*/ 4470544 h 5292022"/>
              <a:gd name="connsiteX47" fmla="*/ 3733656 w 10668833"/>
              <a:gd name="connsiteY47" fmla="*/ 4154102 h 5292022"/>
              <a:gd name="connsiteX48" fmla="*/ 3554162 w 10668833"/>
              <a:gd name="connsiteY48" fmla="*/ 3406919 h 5292022"/>
              <a:gd name="connsiteX49" fmla="*/ 3065212 w 10668833"/>
              <a:gd name="connsiteY49" fmla="*/ 3010256 h 5292022"/>
              <a:gd name="connsiteX50" fmla="*/ 2963612 w 10668833"/>
              <a:gd name="connsiteY50" fmla="*/ 2743556 h 5292022"/>
              <a:gd name="connsiteX51" fmla="*/ 2989012 w 10668833"/>
              <a:gd name="connsiteY51" fmla="*/ 2531889 h 5292022"/>
              <a:gd name="connsiteX52" fmla="*/ 3005946 w 10668833"/>
              <a:gd name="connsiteY52" fmla="*/ 2430289 h 5292022"/>
              <a:gd name="connsiteX53" fmla="*/ 2980546 w 10668833"/>
              <a:gd name="connsiteY53" fmla="*/ 2260956 h 5292022"/>
              <a:gd name="connsiteX54" fmla="*/ 2794279 w 10668833"/>
              <a:gd name="connsiteY54" fmla="*/ 2006956 h 5292022"/>
              <a:gd name="connsiteX55" fmla="*/ 2633412 w 10668833"/>
              <a:gd name="connsiteY55" fmla="*/ 1863022 h 5292022"/>
              <a:gd name="connsiteX56" fmla="*/ 2438679 w 10668833"/>
              <a:gd name="connsiteY56" fmla="*/ 1812222 h 5292022"/>
              <a:gd name="connsiteX57" fmla="*/ 2159279 w 10668833"/>
              <a:gd name="connsiteY57" fmla="*/ 1879956 h 5292022"/>
              <a:gd name="connsiteX58" fmla="*/ 1651279 w 10668833"/>
              <a:gd name="connsiteY58" fmla="*/ 2074689 h 5292022"/>
              <a:gd name="connsiteX59" fmla="*/ 906212 w 10668833"/>
              <a:gd name="connsiteY59" fmla="*/ 2032356 h 5292022"/>
              <a:gd name="connsiteX60" fmla="*/ 609879 w 10668833"/>
              <a:gd name="connsiteY60" fmla="*/ 1922289 h 5292022"/>
              <a:gd name="connsiteX61" fmla="*/ 346566 w 10668833"/>
              <a:gd name="connsiteY61" fmla="*/ 1676756 h 5292022"/>
              <a:gd name="connsiteX62" fmla="*/ 237346 w 10668833"/>
              <a:gd name="connsiteY62" fmla="*/ 1219556 h 5292022"/>
              <a:gd name="connsiteX63" fmla="*/ 237346 w 10668833"/>
              <a:gd name="connsiteY63" fmla="*/ 847022 h 5292022"/>
              <a:gd name="connsiteX64" fmla="*/ 228879 w 10668833"/>
              <a:gd name="connsiteY64" fmla="*/ 703089 h 5292022"/>
              <a:gd name="connsiteX65" fmla="*/ 101879 w 10668833"/>
              <a:gd name="connsiteY65" fmla="*/ 559156 h 5292022"/>
              <a:gd name="connsiteX66" fmla="*/ 8746 w 10668833"/>
              <a:gd name="connsiteY66" fmla="*/ 432156 h 5292022"/>
              <a:gd name="connsiteX67" fmla="*/ 8746 w 10668833"/>
              <a:gd name="connsiteY67" fmla="*/ 339022 h 5292022"/>
              <a:gd name="connsiteX0" fmla="*/ 1294 w 10661381"/>
              <a:gd name="connsiteY0" fmla="*/ 432156 h 5292022"/>
              <a:gd name="connsiteX1" fmla="*/ 43627 w 10661381"/>
              <a:gd name="connsiteY1" fmla="*/ 245889 h 5292022"/>
              <a:gd name="connsiteX2" fmla="*/ 94427 w 10661381"/>
              <a:gd name="connsiteY2" fmla="*/ 178156 h 5292022"/>
              <a:gd name="connsiteX3" fmla="*/ 187560 w 10661381"/>
              <a:gd name="connsiteY3" fmla="*/ 93489 h 5292022"/>
              <a:gd name="connsiteX4" fmla="*/ 221427 w 10661381"/>
              <a:gd name="connsiteY4" fmla="*/ 68089 h 5292022"/>
              <a:gd name="connsiteX5" fmla="*/ 320064 w 10661381"/>
              <a:gd name="connsiteY5" fmla="*/ 58352 h 5292022"/>
              <a:gd name="connsiteX6" fmla="*/ 367054 w 10661381"/>
              <a:gd name="connsiteY6" fmla="*/ 51156 h 5292022"/>
              <a:gd name="connsiteX7" fmla="*/ 419566 w 10661381"/>
              <a:gd name="connsiteY7" fmla="*/ 70071 h 5292022"/>
              <a:gd name="connsiteX8" fmla="*/ 477351 w 10661381"/>
              <a:gd name="connsiteY8" fmla="*/ 74247 h 5292022"/>
              <a:gd name="connsiteX9" fmla="*/ 807551 w 10661381"/>
              <a:gd name="connsiteY9" fmla="*/ 82713 h 5292022"/>
              <a:gd name="connsiteX10" fmla="*/ 1076560 w 10661381"/>
              <a:gd name="connsiteY10" fmla="*/ 356 h 5292022"/>
              <a:gd name="connsiteX11" fmla="*/ 1220494 w 10661381"/>
              <a:gd name="connsiteY11" fmla="*/ 59622 h 5292022"/>
              <a:gd name="connsiteX12" fmla="*/ 1322094 w 10661381"/>
              <a:gd name="connsiteY12" fmla="*/ 135822 h 5292022"/>
              <a:gd name="connsiteX13" fmla="*/ 1406760 w 10661381"/>
              <a:gd name="connsiteY13" fmla="*/ 245889 h 5292022"/>
              <a:gd name="connsiteX14" fmla="*/ 1466027 w 10661381"/>
              <a:gd name="connsiteY14" fmla="*/ 313622 h 5292022"/>
              <a:gd name="connsiteX15" fmla="*/ 1516827 w 10661381"/>
              <a:gd name="connsiteY15" fmla="*/ 347489 h 5292022"/>
              <a:gd name="connsiteX16" fmla="*/ 1669227 w 10661381"/>
              <a:gd name="connsiteY16" fmla="*/ 406756 h 5292022"/>
              <a:gd name="connsiteX17" fmla="*/ 1745427 w 10661381"/>
              <a:gd name="connsiteY17" fmla="*/ 423689 h 5292022"/>
              <a:gd name="connsiteX18" fmla="*/ 2388894 w 10661381"/>
              <a:gd name="connsiteY18" fmla="*/ 355956 h 5292022"/>
              <a:gd name="connsiteX19" fmla="*/ 3383572 w 10661381"/>
              <a:gd name="connsiteY19" fmla="*/ 72322 h 5292022"/>
              <a:gd name="connsiteX20" fmla="*/ 4514027 w 10661381"/>
              <a:gd name="connsiteY20" fmla="*/ 271289 h 5292022"/>
              <a:gd name="connsiteX21" fmla="*/ 5615464 w 10661381"/>
              <a:gd name="connsiteY21" fmla="*/ 1149898 h 5292022"/>
              <a:gd name="connsiteX22" fmla="*/ 6866144 w 10661381"/>
              <a:gd name="connsiteY22" fmla="*/ 1366452 h 5292022"/>
              <a:gd name="connsiteX23" fmla="*/ 7823686 w 10661381"/>
              <a:gd name="connsiteY23" fmla="*/ 1183996 h 5292022"/>
              <a:gd name="connsiteX24" fmla="*/ 8637294 w 10661381"/>
              <a:gd name="connsiteY24" fmla="*/ 677689 h 5292022"/>
              <a:gd name="connsiteX25" fmla="*/ 9674460 w 10661381"/>
              <a:gd name="connsiteY25" fmla="*/ 526982 h 5292022"/>
              <a:gd name="connsiteX26" fmla="*/ 10372960 w 10661381"/>
              <a:gd name="connsiteY26" fmla="*/ 889356 h 5292022"/>
              <a:gd name="connsiteX27" fmla="*/ 10567694 w 10661381"/>
              <a:gd name="connsiteY27" fmla="*/ 1448156 h 5292022"/>
              <a:gd name="connsiteX28" fmla="*/ 10660827 w 10661381"/>
              <a:gd name="connsiteY28" fmla="*/ 1854556 h 5292022"/>
              <a:gd name="connsiteX29" fmla="*/ 10593094 w 10661381"/>
              <a:gd name="connsiteY29" fmla="*/ 2252489 h 5292022"/>
              <a:gd name="connsiteX30" fmla="*/ 10347560 w 10661381"/>
              <a:gd name="connsiteY30" fmla="*/ 2912889 h 5292022"/>
              <a:gd name="connsiteX31" fmla="*/ 9932694 w 10661381"/>
              <a:gd name="connsiteY31" fmla="*/ 3336222 h 5292022"/>
              <a:gd name="connsiteX32" fmla="*/ 9052160 w 10661381"/>
              <a:gd name="connsiteY32" fmla="*/ 3861156 h 5292022"/>
              <a:gd name="connsiteX33" fmla="*/ 8355354 w 10661381"/>
              <a:gd name="connsiteY33" fmla="*/ 4087216 h 5292022"/>
              <a:gd name="connsiteX34" fmla="*/ 7951494 w 10661381"/>
              <a:gd name="connsiteY34" fmla="*/ 4233689 h 5292022"/>
              <a:gd name="connsiteX35" fmla="*/ 7358827 w 10661381"/>
              <a:gd name="connsiteY35" fmla="*/ 4657022 h 5292022"/>
              <a:gd name="connsiteX36" fmla="*/ 7358827 w 10661381"/>
              <a:gd name="connsiteY36" fmla="*/ 4657022 h 5292022"/>
              <a:gd name="connsiteX37" fmla="*/ 7206427 w 10661381"/>
              <a:gd name="connsiteY37" fmla="*/ 4775556 h 5292022"/>
              <a:gd name="connsiteX38" fmla="*/ 7011694 w 10661381"/>
              <a:gd name="connsiteY38" fmla="*/ 4902556 h 5292022"/>
              <a:gd name="connsiteX39" fmla="*/ 6630694 w 10661381"/>
              <a:gd name="connsiteY39" fmla="*/ 5105756 h 5292022"/>
              <a:gd name="connsiteX40" fmla="*/ 6181960 w 10661381"/>
              <a:gd name="connsiteY40" fmla="*/ 5266622 h 5292022"/>
              <a:gd name="connsiteX41" fmla="*/ 5902560 w 10661381"/>
              <a:gd name="connsiteY41" fmla="*/ 5292022 h 5292022"/>
              <a:gd name="connsiteX42" fmla="*/ 5733227 w 10661381"/>
              <a:gd name="connsiteY42" fmla="*/ 5283556 h 5292022"/>
              <a:gd name="connsiteX43" fmla="*/ 5267560 w 10661381"/>
              <a:gd name="connsiteY43" fmla="*/ 5173489 h 5292022"/>
              <a:gd name="connsiteX44" fmla="*/ 4944134 w 10661381"/>
              <a:gd name="connsiteY44" fmla="*/ 4988069 h 5292022"/>
              <a:gd name="connsiteX45" fmla="*/ 4671507 w 10661381"/>
              <a:gd name="connsiteY45" fmla="*/ 4788256 h 5292022"/>
              <a:gd name="connsiteX46" fmla="*/ 3962000 w 10661381"/>
              <a:gd name="connsiteY46" fmla="*/ 4470544 h 5292022"/>
              <a:gd name="connsiteX47" fmla="*/ 3726204 w 10661381"/>
              <a:gd name="connsiteY47" fmla="*/ 4154102 h 5292022"/>
              <a:gd name="connsiteX48" fmla="*/ 3546710 w 10661381"/>
              <a:gd name="connsiteY48" fmla="*/ 3406919 h 5292022"/>
              <a:gd name="connsiteX49" fmla="*/ 3057760 w 10661381"/>
              <a:gd name="connsiteY49" fmla="*/ 3010256 h 5292022"/>
              <a:gd name="connsiteX50" fmla="*/ 2956160 w 10661381"/>
              <a:gd name="connsiteY50" fmla="*/ 2743556 h 5292022"/>
              <a:gd name="connsiteX51" fmla="*/ 2981560 w 10661381"/>
              <a:gd name="connsiteY51" fmla="*/ 2531889 h 5292022"/>
              <a:gd name="connsiteX52" fmla="*/ 2998494 w 10661381"/>
              <a:gd name="connsiteY52" fmla="*/ 2430289 h 5292022"/>
              <a:gd name="connsiteX53" fmla="*/ 2973094 w 10661381"/>
              <a:gd name="connsiteY53" fmla="*/ 2260956 h 5292022"/>
              <a:gd name="connsiteX54" fmla="*/ 2786827 w 10661381"/>
              <a:gd name="connsiteY54" fmla="*/ 2006956 h 5292022"/>
              <a:gd name="connsiteX55" fmla="*/ 2625960 w 10661381"/>
              <a:gd name="connsiteY55" fmla="*/ 1863022 h 5292022"/>
              <a:gd name="connsiteX56" fmla="*/ 2431227 w 10661381"/>
              <a:gd name="connsiteY56" fmla="*/ 1812222 h 5292022"/>
              <a:gd name="connsiteX57" fmla="*/ 2151827 w 10661381"/>
              <a:gd name="connsiteY57" fmla="*/ 1879956 h 5292022"/>
              <a:gd name="connsiteX58" fmla="*/ 1643827 w 10661381"/>
              <a:gd name="connsiteY58" fmla="*/ 2074689 h 5292022"/>
              <a:gd name="connsiteX59" fmla="*/ 898760 w 10661381"/>
              <a:gd name="connsiteY59" fmla="*/ 2032356 h 5292022"/>
              <a:gd name="connsiteX60" fmla="*/ 602427 w 10661381"/>
              <a:gd name="connsiteY60" fmla="*/ 1922289 h 5292022"/>
              <a:gd name="connsiteX61" fmla="*/ 339114 w 10661381"/>
              <a:gd name="connsiteY61" fmla="*/ 1676756 h 5292022"/>
              <a:gd name="connsiteX62" fmla="*/ 229894 w 10661381"/>
              <a:gd name="connsiteY62" fmla="*/ 1219556 h 5292022"/>
              <a:gd name="connsiteX63" fmla="*/ 229894 w 10661381"/>
              <a:gd name="connsiteY63" fmla="*/ 847022 h 5292022"/>
              <a:gd name="connsiteX64" fmla="*/ 221427 w 10661381"/>
              <a:gd name="connsiteY64" fmla="*/ 703089 h 5292022"/>
              <a:gd name="connsiteX65" fmla="*/ 94427 w 10661381"/>
              <a:gd name="connsiteY65" fmla="*/ 559156 h 5292022"/>
              <a:gd name="connsiteX66" fmla="*/ 1294 w 10661381"/>
              <a:gd name="connsiteY66" fmla="*/ 432156 h 5292022"/>
              <a:gd name="connsiteX0" fmla="*/ 50800 w 10617754"/>
              <a:gd name="connsiteY0" fmla="*/ 559156 h 5292022"/>
              <a:gd name="connsiteX1" fmla="*/ 0 w 10617754"/>
              <a:gd name="connsiteY1" fmla="*/ 245889 h 5292022"/>
              <a:gd name="connsiteX2" fmla="*/ 50800 w 10617754"/>
              <a:gd name="connsiteY2" fmla="*/ 178156 h 5292022"/>
              <a:gd name="connsiteX3" fmla="*/ 143933 w 10617754"/>
              <a:gd name="connsiteY3" fmla="*/ 93489 h 5292022"/>
              <a:gd name="connsiteX4" fmla="*/ 177800 w 10617754"/>
              <a:gd name="connsiteY4" fmla="*/ 68089 h 5292022"/>
              <a:gd name="connsiteX5" fmla="*/ 276437 w 10617754"/>
              <a:gd name="connsiteY5" fmla="*/ 58352 h 5292022"/>
              <a:gd name="connsiteX6" fmla="*/ 323427 w 10617754"/>
              <a:gd name="connsiteY6" fmla="*/ 51156 h 5292022"/>
              <a:gd name="connsiteX7" fmla="*/ 375939 w 10617754"/>
              <a:gd name="connsiteY7" fmla="*/ 70071 h 5292022"/>
              <a:gd name="connsiteX8" fmla="*/ 433724 w 10617754"/>
              <a:gd name="connsiteY8" fmla="*/ 74247 h 5292022"/>
              <a:gd name="connsiteX9" fmla="*/ 763924 w 10617754"/>
              <a:gd name="connsiteY9" fmla="*/ 82713 h 5292022"/>
              <a:gd name="connsiteX10" fmla="*/ 1032933 w 10617754"/>
              <a:gd name="connsiteY10" fmla="*/ 356 h 5292022"/>
              <a:gd name="connsiteX11" fmla="*/ 1176867 w 10617754"/>
              <a:gd name="connsiteY11" fmla="*/ 59622 h 5292022"/>
              <a:gd name="connsiteX12" fmla="*/ 1278467 w 10617754"/>
              <a:gd name="connsiteY12" fmla="*/ 135822 h 5292022"/>
              <a:gd name="connsiteX13" fmla="*/ 1363133 w 10617754"/>
              <a:gd name="connsiteY13" fmla="*/ 245889 h 5292022"/>
              <a:gd name="connsiteX14" fmla="*/ 1422400 w 10617754"/>
              <a:gd name="connsiteY14" fmla="*/ 313622 h 5292022"/>
              <a:gd name="connsiteX15" fmla="*/ 1473200 w 10617754"/>
              <a:gd name="connsiteY15" fmla="*/ 347489 h 5292022"/>
              <a:gd name="connsiteX16" fmla="*/ 1625600 w 10617754"/>
              <a:gd name="connsiteY16" fmla="*/ 406756 h 5292022"/>
              <a:gd name="connsiteX17" fmla="*/ 1701800 w 10617754"/>
              <a:gd name="connsiteY17" fmla="*/ 423689 h 5292022"/>
              <a:gd name="connsiteX18" fmla="*/ 2345267 w 10617754"/>
              <a:gd name="connsiteY18" fmla="*/ 355956 h 5292022"/>
              <a:gd name="connsiteX19" fmla="*/ 3339945 w 10617754"/>
              <a:gd name="connsiteY19" fmla="*/ 72322 h 5292022"/>
              <a:gd name="connsiteX20" fmla="*/ 4470400 w 10617754"/>
              <a:gd name="connsiteY20" fmla="*/ 271289 h 5292022"/>
              <a:gd name="connsiteX21" fmla="*/ 5571837 w 10617754"/>
              <a:gd name="connsiteY21" fmla="*/ 1149898 h 5292022"/>
              <a:gd name="connsiteX22" fmla="*/ 6822517 w 10617754"/>
              <a:gd name="connsiteY22" fmla="*/ 1366452 h 5292022"/>
              <a:gd name="connsiteX23" fmla="*/ 7780059 w 10617754"/>
              <a:gd name="connsiteY23" fmla="*/ 1183996 h 5292022"/>
              <a:gd name="connsiteX24" fmla="*/ 8593667 w 10617754"/>
              <a:gd name="connsiteY24" fmla="*/ 677689 h 5292022"/>
              <a:gd name="connsiteX25" fmla="*/ 9630833 w 10617754"/>
              <a:gd name="connsiteY25" fmla="*/ 526982 h 5292022"/>
              <a:gd name="connsiteX26" fmla="*/ 10329333 w 10617754"/>
              <a:gd name="connsiteY26" fmla="*/ 889356 h 5292022"/>
              <a:gd name="connsiteX27" fmla="*/ 10524067 w 10617754"/>
              <a:gd name="connsiteY27" fmla="*/ 1448156 h 5292022"/>
              <a:gd name="connsiteX28" fmla="*/ 10617200 w 10617754"/>
              <a:gd name="connsiteY28" fmla="*/ 1854556 h 5292022"/>
              <a:gd name="connsiteX29" fmla="*/ 10549467 w 10617754"/>
              <a:gd name="connsiteY29" fmla="*/ 2252489 h 5292022"/>
              <a:gd name="connsiteX30" fmla="*/ 10303933 w 10617754"/>
              <a:gd name="connsiteY30" fmla="*/ 2912889 h 5292022"/>
              <a:gd name="connsiteX31" fmla="*/ 9889067 w 10617754"/>
              <a:gd name="connsiteY31" fmla="*/ 3336222 h 5292022"/>
              <a:gd name="connsiteX32" fmla="*/ 9008533 w 10617754"/>
              <a:gd name="connsiteY32" fmla="*/ 3861156 h 5292022"/>
              <a:gd name="connsiteX33" fmla="*/ 8311727 w 10617754"/>
              <a:gd name="connsiteY33" fmla="*/ 4087216 h 5292022"/>
              <a:gd name="connsiteX34" fmla="*/ 7907867 w 10617754"/>
              <a:gd name="connsiteY34" fmla="*/ 4233689 h 5292022"/>
              <a:gd name="connsiteX35" fmla="*/ 7315200 w 10617754"/>
              <a:gd name="connsiteY35" fmla="*/ 4657022 h 5292022"/>
              <a:gd name="connsiteX36" fmla="*/ 7315200 w 10617754"/>
              <a:gd name="connsiteY36" fmla="*/ 4657022 h 5292022"/>
              <a:gd name="connsiteX37" fmla="*/ 7162800 w 10617754"/>
              <a:gd name="connsiteY37" fmla="*/ 4775556 h 5292022"/>
              <a:gd name="connsiteX38" fmla="*/ 6968067 w 10617754"/>
              <a:gd name="connsiteY38" fmla="*/ 4902556 h 5292022"/>
              <a:gd name="connsiteX39" fmla="*/ 6587067 w 10617754"/>
              <a:gd name="connsiteY39" fmla="*/ 5105756 h 5292022"/>
              <a:gd name="connsiteX40" fmla="*/ 6138333 w 10617754"/>
              <a:gd name="connsiteY40" fmla="*/ 5266622 h 5292022"/>
              <a:gd name="connsiteX41" fmla="*/ 5858933 w 10617754"/>
              <a:gd name="connsiteY41" fmla="*/ 5292022 h 5292022"/>
              <a:gd name="connsiteX42" fmla="*/ 5689600 w 10617754"/>
              <a:gd name="connsiteY42" fmla="*/ 5283556 h 5292022"/>
              <a:gd name="connsiteX43" fmla="*/ 5223933 w 10617754"/>
              <a:gd name="connsiteY43" fmla="*/ 5173489 h 5292022"/>
              <a:gd name="connsiteX44" fmla="*/ 4900507 w 10617754"/>
              <a:gd name="connsiteY44" fmla="*/ 4988069 h 5292022"/>
              <a:gd name="connsiteX45" fmla="*/ 4627880 w 10617754"/>
              <a:gd name="connsiteY45" fmla="*/ 4788256 h 5292022"/>
              <a:gd name="connsiteX46" fmla="*/ 3918373 w 10617754"/>
              <a:gd name="connsiteY46" fmla="*/ 4470544 h 5292022"/>
              <a:gd name="connsiteX47" fmla="*/ 3682577 w 10617754"/>
              <a:gd name="connsiteY47" fmla="*/ 4154102 h 5292022"/>
              <a:gd name="connsiteX48" fmla="*/ 3503083 w 10617754"/>
              <a:gd name="connsiteY48" fmla="*/ 3406919 h 5292022"/>
              <a:gd name="connsiteX49" fmla="*/ 3014133 w 10617754"/>
              <a:gd name="connsiteY49" fmla="*/ 3010256 h 5292022"/>
              <a:gd name="connsiteX50" fmla="*/ 2912533 w 10617754"/>
              <a:gd name="connsiteY50" fmla="*/ 2743556 h 5292022"/>
              <a:gd name="connsiteX51" fmla="*/ 2937933 w 10617754"/>
              <a:gd name="connsiteY51" fmla="*/ 2531889 h 5292022"/>
              <a:gd name="connsiteX52" fmla="*/ 2954867 w 10617754"/>
              <a:gd name="connsiteY52" fmla="*/ 2430289 h 5292022"/>
              <a:gd name="connsiteX53" fmla="*/ 2929467 w 10617754"/>
              <a:gd name="connsiteY53" fmla="*/ 2260956 h 5292022"/>
              <a:gd name="connsiteX54" fmla="*/ 2743200 w 10617754"/>
              <a:gd name="connsiteY54" fmla="*/ 2006956 h 5292022"/>
              <a:gd name="connsiteX55" fmla="*/ 2582333 w 10617754"/>
              <a:gd name="connsiteY55" fmla="*/ 1863022 h 5292022"/>
              <a:gd name="connsiteX56" fmla="*/ 2387600 w 10617754"/>
              <a:gd name="connsiteY56" fmla="*/ 1812222 h 5292022"/>
              <a:gd name="connsiteX57" fmla="*/ 2108200 w 10617754"/>
              <a:gd name="connsiteY57" fmla="*/ 1879956 h 5292022"/>
              <a:gd name="connsiteX58" fmla="*/ 1600200 w 10617754"/>
              <a:gd name="connsiteY58" fmla="*/ 2074689 h 5292022"/>
              <a:gd name="connsiteX59" fmla="*/ 855133 w 10617754"/>
              <a:gd name="connsiteY59" fmla="*/ 2032356 h 5292022"/>
              <a:gd name="connsiteX60" fmla="*/ 558800 w 10617754"/>
              <a:gd name="connsiteY60" fmla="*/ 1922289 h 5292022"/>
              <a:gd name="connsiteX61" fmla="*/ 295487 w 10617754"/>
              <a:gd name="connsiteY61" fmla="*/ 1676756 h 5292022"/>
              <a:gd name="connsiteX62" fmla="*/ 186267 w 10617754"/>
              <a:gd name="connsiteY62" fmla="*/ 1219556 h 5292022"/>
              <a:gd name="connsiteX63" fmla="*/ 186267 w 10617754"/>
              <a:gd name="connsiteY63" fmla="*/ 847022 h 5292022"/>
              <a:gd name="connsiteX64" fmla="*/ 177800 w 10617754"/>
              <a:gd name="connsiteY64" fmla="*/ 703089 h 5292022"/>
              <a:gd name="connsiteX65" fmla="*/ 50800 w 10617754"/>
              <a:gd name="connsiteY65" fmla="*/ 559156 h 5292022"/>
              <a:gd name="connsiteX0" fmla="*/ 90364 w 10657318"/>
              <a:gd name="connsiteY0" fmla="*/ 559156 h 5292022"/>
              <a:gd name="connsiteX1" fmla="*/ 1410 w 10657318"/>
              <a:gd name="connsiteY1" fmla="*/ 399076 h 5292022"/>
              <a:gd name="connsiteX2" fmla="*/ 39564 w 10657318"/>
              <a:gd name="connsiteY2" fmla="*/ 245889 h 5292022"/>
              <a:gd name="connsiteX3" fmla="*/ 90364 w 10657318"/>
              <a:gd name="connsiteY3" fmla="*/ 178156 h 5292022"/>
              <a:gd name="connsiteX4" fmla="*/ 183497 w 10657318"/>
              <a:gd name="connsiteY4" fmla="*/ 93489 h 5292022"/>
              <a:gd name="connsiteX5" fmla="*/ 217364 w 10657318"/>
              <a:gd name="connsiteY5" fmla="*/ 68089 h 5292022"/>
              <a:gd name="connsiteX6" fmla="*/ 316001 w 10657318"/>
              <a:gd name="connsiteY6" fmla="*/ 58352 h 5292022"/>
              <a:gd name="connsiteX7" fmla="*/ 362991 w 10657318"/>
              <a:gd name="connsiteY7" fmla="*/ 51156 h 5292022"/>
              <a:gd name="connsiteX8" fmla="*/ 415503 w 10657318"/>
              <a:gd name="connsiteY8" fmla="*/ 70071 h 5292022"/>
              <a:gd name="connsiteX9" fmla="*/ 473288 w 10657318"/>
              <a:gd name="connsiteY9" fmla="*/ 74247 h 5292022"/>
              <a:gd name="connsiteX10" fmla="*/ 803488 w 10657318"/>
              <a:gd name="connsiteY10" fmla="*/ 82713 h 5292022"/>
              <a:gd name="connsiteX11" fmla="*/ 1072497 w 10657318"/>
              <a:gd name="connsiteY11" fmla="*/ 356 h 5292022"/>
              <a:gd name="connsiteX12" fmla="*/ 1216431 w 10657318"/>
              <a:gd name="connsiteY12" fmla="*/ 59622 h 5292022"/>
              <a:gd name="connsiteX13" fmla="*/ 1318031 w 10657318"/>
              <a:gd name="connsiteY13" fmla="*/ 135822 h 5292022"/>
              <a:gd name="connsiteX14" fmla="*/ 1402697 w 10657318"/>
              <a:gd name="connsiteY14" fmla="*/ 245889 h 5292022"/>
              <a:gd name="connsiteX15" fmla="*/ 1461964 w 10657318"/>
              <a:gd name="connsiteY15" fmla="*/ 313622 h 5292022"/>
              <a:gd name="connsiteX16" fmla="*/ 1512764 w 10657318"/>
              <a:gd name="connsiteY16" fmla="*/ 347489 h 5292022"/>
              <a:gd name="connsiteX17" fmla="*/ 1665164 w 10657318"/>
              <a:gd name="connsiteY17" fmla="*/ 406756 h 5292022"/>
              <a:gd name="connsiteX18" fmla="*/ 1741364 w 10657318"/>
              <a:gd name="connsiteY18" fmla="*/ 423689 h 5292022"/>
              <a:gd name="connsiteX19" fmla="*/ 2384831 w 10657318"/>
              <a:gd name="connsiteY19" fmla="*/ 355956 h 5292022"/>
              <a:gd name="connsiteX20" fmla="*/ 3379509 w 10657318"/>
              <a:gd name="connsiteY20" fmla="*/ 72322 h 5292022"/>
              <a:gd name="connsiteX21" fmla="*/ 4509964 w 10657318"/>
              <a:gd name="connsiteY21" fmla="*/ 271289 h 5292022"/>
              <a:gd name="connsiteX22" fmla="*/ 5611401 w 10657318"/>
              <a:gd name="connsiteY22" fmla="*/ 1149898 h 5292022"/>
              <a:gd name="connsiteX23" fmla="*/ 6862081 w 10657318"/>
              <a:gd name="connsiteY23" fmla="*/ 1366452 h 5292022"/>
              <a:gd name="connsiteX24" fmla="*/ 7819623 w 10657318"/>
              <a:gd name="connsiteY24" fmla="*/ 1183996 h 5292022"/>
              <a:gd name="connsiteX25" fmla="*/ 8633231 w 10657318"/>
              <a:gd name="connsiteY25" fmla="*/ 677689 h 5292022"/>
              <a:gd name="connsiteX26" fmla="*/ 9670397 w 10657318"/>
              <a:gd name="connsiteY26" fmla="*/ 526982 h 5292022"/>
              <a:gd name="connsiteX27" fmla="*/ 10368897 w 10657318"/>
              <a:gd name="connsiteY27" fmla="*/ 889356 h 5292022"/>
              <a:gd name="connsiteX28" fmla="*/ 10563631 w 10657318"/>
              <a:gd name="connsiteY28" fmla="*/ 1448156 h 5292022"/>
              <a:gd name="connsiteX29" fmla="*/ 10656764 w 10657318"/>
              <a:gd name="connsiteY29" fmla="*/ 1854556 h 5292022"/>
              <a:gd name="connsiteX30" fmla="*/ 10589031 w 10657318"/>
              <a:gd name="connsiteY30" fmla="*/ 2252489 h 5292022"/>
              <a:gd name="connsiteX31" fmla="*/ 10343497 w 10657318"/>
              <a:gd name="connsiteY31" fmla="*/ 2912889 h 5292022"/>
              <a:gd name="connsiteX32" fmla="*/ 9928631 w 10657318"/>
              <a:gd name="connsiteY32" fmla="*/ 3336222 h 5292022"/>
              <a:gd name="connsiteX33" fmla="*/ 9048097 w 10657318"/>
              <a:gd name="connsiteY33" fmla="*/ 3861156 h 5292022"/>
              <a:gd name="connsiteX34" fmla="*/ 8351291 w 10657318"/>
              <a:gd name="connsiteY34" fmla="*/ 4087216 h 5292022"/>
              <a:gd name="connsiteX35" fmla="*/ 7947431 w 10657318"/>
              <a:gd name="connsiteY35" fmla="*/ 4233689 h 5292022"/>
              <a:gd name="connsiteX36" fmla="*/ 7354764 w 10657318"/>
              <a:gd name="connsiteY36" fmla="*/ 4657022 h 5292022"/>
              <a:gd name="connsiteX37" fmla="*/ 7354764 w 10657318"/>
              <a:gd name="connsiteY37" fmla="*/ 4657022 h 5292022"/>
              <a:gd name="connsiteX38" fmla="*/ 7202364 w 10657318"/>
              <a:gd name="connsiteY38" fmla="*/ 4775556 h 5292022"/>
              <a:gd name="connsiteX39" fmla="*/ 7007631 w 10657318"/>
              <a:gd name="connsiteY39" fmla="*/ 4902556 h 5292022"/>
              <a:gd name="connsiteX40" fmla="*/ 6626631 w 10657318"/>
              <a:gd name="connsiteY40" fmla="*/ 5105756 h 5292022"/>
              <a:gd name="connsiteX41" fmla="*/ 6177897 w 10657318"/>
              <a:gd name="connsiteY41" fmla="*/ 5266622 h 5292022"/>
              <a:gd name="connsiteX42" fmla="*/ 5898497 w 10657318"/>
              <a:gd name="connsiteY42" fmla="*/ 5292022 h 5292022"/>
              <a:gd name="connsiteX43" fmla="*/ 5729164 w 10657318"/>
              <a:gd name="connsiteY43" fmla="*/ 5283556 h 5292022"/>
              <a:gd name="connsiteX44" fmla="*/ 5263497 w 10657318"/>
              <a:gd name="connsiteY44" fmla="*/ 5173489 h 5292022"/>
              <a:gd name="connsiteX45" fmla="*/ 4940071 w 10657318"/>
              <a:gd name="connsiteY45" fmla="*/ 4988069 h 5292022"/>
              <a:gd name="connsiteX46" fmla="*/ 4667444 w 10657318"/>
              <a:gd name="connsiteY46" fmla="*/ 4788256 h 5292022"/>
              <a:gd name="connsiteX47" fmla="*/ 3957937 w 10657318"/>
              <a:gd name="connsiteY47" fmla="*/ 4470544 h 5292022"/>
              <a:gd name="connsiteX48" fmla="*/ 3722141 w 10657318"/>
              <a:gd name="connsiteY48" fmla="*/ 4154102 h 5292022"/>
              <a:gd name="connsiteX49" fmla="*/ 3542647 w 10657318"/>
              <a:gd name="connsiteY49" fmla="*/ 3406919 h 5292022"/>
              <a:gd name="connsiteX50" fmla="*/ 3053697 w 10657318"/>
              <a:gd name="connsiteY50" fmla="*/ 3010256 h 5292022"/>
              <a:gd name="connsiteX51" fmla="*/ 2952097 w 10657318"/>
              <a:gd name="connsiteY51" fmla="*/ 2743556 h 5292022"/>
              <a:gd name="connsiteX52" fmla="*/ 2977497 w 10657318"/>
              <a:gd name="connsiteY52" fmla="*/ 2531889 h 5292022"/>
              <a:gd name="connsiteX53" fmla="*/ 2994431 w 10657318"/>
              <a:gd name="connsiteY53" fmla="*/ 2430289 h 5292022"/>
              <a:gd name="connsiteX54" fmla="*/ 2969031 w 10657318"/>
              <a:gd name="connsiteY54" fmla="*/ 2260956 h 5292022"/>
              <a:gd name="connsiteX55" fmla="*/ 2782764 w 10657318"/>
              <a:gd name="connsiteY55" fmla="*/ 2006956 h 5292022"/>
              <a:gd name="connsiteX56" fmla="*/ 2621897 w 10657318"/>
              <a:gd name="connsiteY56" fmla="*/ 1863022 h 5292022"/>
              <a:gd name="connsiteX57" fmla="*/ 2427164 w 10657318"/>
              <a:gd name="connsiteY57" fmla="*/ 1812222 h 5292022"/>
              <a:gd name="connsiteX58" fmla="*/ 2147764 w 10657318"/>
              <a:gd name="connsiteY58" fmla="*/ 1879956 h 5292022"/>
              <a:gd name="connsiteX59" fmla="*/ 1639764 w 10657318"/>
              <a:gd name="connsiteY59" fmla="*/ 2074689 h 5292022"/>
              <a:gd name="connsiteX60" fmla="*/ 894697 w 10657318"/>
              <a:gd name="connsiteY60" fmla="*/ 2032356 h 5292022"/>
              <a:gd name="connsiteX61" fmla="*/ 598364 w 10657318"/>
              <a:gd name="connsiteY61" fmla="*/ 1922289 h 5292022"/>
              <a:gd name="connsiteX62" fmla="*/ 335051 w 10657318"/>
              <a:gd name="connsiteY62" fmla="*/ 1676756 h 5292022"/>
              <a:gd name="connsiteX63" fmla="*/ 225831 w 10657318"/>
              <a:gd name="connsiteY63" fmla="*/ 1219556 h 5292022"/>
              <a:gd name="connsiteX64" fmla="*/ 225831 w 10657318"/>
              <a:gd name="connsiteY64" fmla="*/ 847022 h 5292022"/>
              <a:gd name="connsiteX65" fmla="*/ 217364 w 10657318"/>
              <a:gd name="connsiteY65" fmla="*/ 703089 h 5292022"/>
              <a:gd name="connsiteX66" fmla="*/ 90364 w 10657318"/>
              <a:gd name="connsiteY66" fmla="*/ 559156 h 5292022"/>
              <a:gd name="connsiteX0" fmla="*/ 88954 w 10655908"/>
              <a:gd name="connsiteY0" fmla="*/ 559156 h 5292022"/>
              <a:gd name="connsiteX1" fmla="*/ 0 w 10655908"/>
              <a:gd name="connsiteY1" fmla="*/ 399076 h 5292022"/>
              <a:gd name="connsiteX2" fmla="*/ 38154 w 10655908"/>
              <a:gd name="connsiteY2" fmla="*/ 245889 h 5292022"/>
              <a:gd name="connsiteX3" fmla="*/ 88954 w 10655908"/>
              <a:gd name="connsiteY3" fmla="*/ 178156 h 5292022"/>
              <a:gd name="connsiteX4" fmla="*/ 182087 w 10655908"/>
              <a:gd name="connsiteY4" fmla="*/ 93489 h 5292022"/>
              <a:gd name="connsiteX5" fmla="*/ 215954 w 10655908"/>
              <a:gd name="connsiteY5" fmla="*/ 68089 h 5292022"/>
              <a:gd name="connsiteX6" fmla="*/ 314591 w 10655908"/>
              <a:gd name="connsiteY6" fmla="*/ 58352 h 5292022"/>
              <a:gd name="connsiteX7" fmla="*/ 361581 w 10655908"/>
              <a:gd name="connsiteY7" fmla="*/ 51156 h 5292022"/>
              <a:gd name="connsiteX8" fmla="*/ 414093 w 10655908"/>
              <a:gd name="connsiteY8" fmla="*/ 70071 h 5292022"/>
              <a:gd name="connsiteX9" fmla="*/ 471878 w 10655908"/>
              <a:gd name="connsiteY9" fmla="*/ 74247 h 5292022"/>
              <a:gd name="connsiteX10" fmla="*/ 802078 w 10655908"/>
              <a:gd name="connsiteY10" fmla="*/ 82713 h 5292022"/>
              <a:gd name="connsiteX11" fmla="*/ 1071087 w 10655908"/>
              <a:gd name="connsiteY11" fmla="*/ 356 h 5292022"/>
              <a:gd name="connsiteX12" fmla="*/ 1215021 w 10655908"/>
              <a:gd name="connsiteY12" fmla="*/ 59622 h 5292022"/>
              <a:gd name="connsiteX13" fmla="*/ 1316621 w 10655908"/>
              <a:gd name="connsiteY13" fmla="*/ 135822 h 5292022"/>
              <a:gd name="connsiteX14" fmla="*/ 1401287 w 10655908"/>
              <a:gd name="connsiteY14" fmla="*/ 245889 h 5292022"/>
              <a:gd name="connsiteX15" fmla="*/ 1460554 w 10655908"/>
              <a:gd name="connsiteY15" fmla="*/ 313622 h 5292022"/>
              <a:gd name="connsiteX16" fmla="*/ 1511354 w 10655908"/>
              <a:gd name="connsiteY16" fmla="*/ 347489 h 5292022"/>
              <a:gd name="connsiteX17" fmla="*/ 1663754 w 10655908"/>
              <a:gd name="connsiteY17" fmla="*/ 406756 h 5292022"/>
              <a:gd name="connsiteX18" fmla="*/ 1739954 w 10655908"/>
              <a:gd name="connsiteY18" fmla="*/ 423689 h 5292022"/>
              <a:gd name="connsiteX19" fmla="*/ 2383421 w 10655908"/>
              <a:gd name="connsiteY19" fmla="*/ 355956 h 5292022"/>
              <a:gd name="connsiteX20" fmla="*/ 3378099 w 10655908"/>
              <a:gd name="connsiteY20" fmla="*/ 72322 h 5292022"/>
              <a:gd name="connsiteX21" fmla="*/ 4508554 w 10655908"/>
              <a:gd name="connsiteY21" fmla="*/ 271289 h 5292022"/>
              <a:gd name="connsiteX22" fmla="*/ 5609991 w 10655908"/>
              <a:gd name="connsiteY22" fmla="*/ 1149898 h 5292022"/>
              <a:gd name="connsiteX23" fmla="*/ 6860671 w 10655908"/>
              <a:gd name="connsiteY23" fmla="*/ 1366452 h 5292022"/>
              <a:gd name="connsiteX24" fmla="*/ 7818213 w 10655908"/>
              <a:gd name="connsiteY24" fmla="*/ 1183996 h 5292022"/>
              <a:gd name="connsiteX25" fmla="*/ 8631821 w 10655908"/>
              <a:gd name="connsiteY25" fmla="*/ 677689 h 5292022"/>
              <a:gd name="connsiteX26" fmla="*/ 9668987 w 10655908"/>
              <a:gd name="connsiteY26" fmla="*/ 526982 h 5292022"/>
              <a:gd name="connsiteX27" fmla="*/ 10367487 w 10655908"/>
              <a:gd name="connsiteY27" fmla="*/ 889356 h 5292022"/>
              <a:gd name="connsiteX28" fmla="*/ 10562221 w 10655908"/>
              <a:gd name="connsiteY28" fmla="*/ 1448156 h 5292022"/>
              <a:gd name="connsiteX29" fmla="*/ 10655354 w 10655908"/>
              <a:gd name="connsiteY29" fmla="*/ 1854556 h 5292022"/>
              <a:gd name="connsiteX30" fmla="*/ 10587621 w 10655908"/>
              <a:gd name="connsiteY30" fmla="*/ 2252489 h 5292022"/>
              <a:gd name="connsiteX31" fmla="*/ 10342087 w 10655908"/>
              <a:gd name="connsiteY31" fmla="*/ 2912889 h 5292022"/>
              <a:gd name="connsiteX32" fmla="*/ 9927221 w 10655908"/>
              <a:gd name="connsiteY32" fmla="*/ 3336222 h 5292022"/>
              <a:gd name="connsiteX33" fmla="*/ 9046687 w 10655908"/>
              <a:gd name="connsiteY33" fmla="*/ 3861156 h 5292022"/>
              <a:gd name="connsiteX34" fmla="*/ 8349881 w 10655908"/>
              <a:gd name="connsiteY34" fmla="*/ 4087216 h 5292022"/>
              <a:gd name="connsiteX35" fmla="*/ 7946021 w 10655908"/>
              <a:gd name="connsiteY35" fmla="*/ 4233689 h 5292022"/>
              <a:gd name="connsiteX36" fmla="*/ 7353354 w 10655908"/>
              <a:gd name="connsiteY36" fmla="*/ 4657022 h 5292022"/>
              <a:gd name="connsiteX37" fmla="*/ 7353354 w 10655908"/>
              <a:gd name="connsiteY37" fmla="*/ 4657022 h 5292022"/>
              <a:gd name="connsiteX38" fmla="*/ 7200954 w 10655908"/>
              <a:gd name="connsiteY38" fmla="*/ 4775556 h 5292022"/>
              <a:gd name="connsiteX39" fmla="*/ 7006221 w 10655908"/>
              <a:gd name="connsiteY39" fmla="*/ 4902556 h 5292022"/>
              <a:gd name="connsiteX40" fmla="*/ 6625221 w 10655908"/>
              <a:gd name="connsiteY40" fmla="*/ 5105756 h 5292022"/>
              <a:gd name="connsiteX41" fmla="*/ 6176487 w 10655908"/>
              <a:gd name="connsiteY41" fmla="*/ 5266622 h 5292022"/>
              <a:gd name="connsiteX42" fmla="*/ 5897087 w 10655908"/>
              <a:gd name="connsiteY42" fmla="*/ 5292022 h 5292022"/>
              <a:gd name="connsiteX43" fmla="*/ 5727754 w 10655908"/>
              <a:gd name="connsiteY43" fmla="*/ 5283556 h 5292022"/>
              <a:gd name="connsiteX44" fmla="*/ 5262087 w 10655908"/>
              <a:gd name="connsiteY44" fmla="*/ 5173489 h 5292022"/>
              <a:gd name="connsiteX45" fmla="*/ 4938661 w 10655908"/>
              <a:gd name="connsiteY45" fmla="*/ 4988069 h 5292022"/>
              <a:gd name="connsiteX46" fmla="*/ 4666034 w 10655908"/>
              <a:gd name="connsiteY46" fmla="*/ 4788256 h 5292022"/>
              <a:gd name="connsiteX47" fmla="*/ 3956527 w 10655908"/>
              <a:gd name="connsiteY47" fmla="*/ 4470544 h 5292022"/>
              <a:gd name="connsiteX48" fmla="*/ 3720731 w 10655908"/>
              <a:gd name="connsiteY48" fmla="*/ 4154102 h 5292022"/>
              <a:gd name="connsiteX49" fmla="*/ 3541237 w 10655908"/>
              <a:gd name="connsiteY49" fmla="*/ 3406919 h 5292022"/>
              <a:gd name="connsiteX50" fmla="*/ 3052287 w 10655908"/>
              <a:gd name="connsiteY50" fmla="*/ 3010256 h 5292022"/>
              <a:gd name="connsiteX51" fmla="*/ 2950687 w 10655908"/>
              <a:gd name="connsiteY51" fmla="*/ 2743556 h 5292022"/>
              <a:gd name="connsiteX52" fmla="*/ 2976087 w 10655908"/>
              <a:gd name="connsiteY52" fmla="*/ 2531889 h 5292022"/>
              <a:gd name="connsiteX53" fmla="*/ 2993021 w 10655908"/>
              <a:gd name="connsiteY53" fmla="*/ 2430289 h 5292022"/>
              <a:gd name="connsiteX54" fmla="*/ 2967621 w 10655908"/>
              <a:gd name="connsiteY54" fmla="*/ 2260956 h 5292022"/>
              <a:gd name="connsiteX55" fmla="*/ 2781354 w 10655908"/>
              <a:gd name="connsiteY55" fmla="*/ 2006956 h 5292022"/>
              <a:gd name="connsiteX56" fmla="*/ 2620487 w 10655908"/>
              <a:gd name="connsiteY56" fmla="*/ 1863022 h 5292022"/>
              <a:gd name="connsiteX57" fmla="*/ 2425754 w 10655908"/>
              <a:gd name="connsiteY57" fmla="*/ 1812222 h 5292022"/>
              <a:gd name="connsiteX58" fmla="*/ 2146354 w 10655908"/>
              <a:gd name="connsiteY58" fmla="*/ 1879956 h 5292022"/>
              <a:gd name="connsiteX59" fmla="*/ 1638354 w 10655908"/>
              <a:gd name="connsiteY59" fmla="*/ 2074689 h 5292022"/>
              <a:gd name="connsiteX60" fmla="*/ 893287 w 10655908"/>
              <a:gd name="connsiteY60" fmla="*/ 2032356 h 5292022"/>
              <a:gd name="connsiteX61" fmla="*/ 596954 w 10655908"/>
              <a:gd name="connsiteY61" fmla="*/ 1922289 h 5292022"/>
              <a:gd name="connsiteX62" fmla="*/ 333641 w 10655908"/>
              <a:gd name="connsiteY62" fmla="*/ 1676756 h 5292022"/>
              <a:gd name="connsiteX63" fmla="*/ 224421 w 10655908"/>
              <a:gd name="connsiteY63" fmla="*/ 1219556 h 5292022"/>
              <a:gd name="connsiteX64" fmla="*/ 224421 w 10655908"/>
              <a:gd name="connsiteY64" fmla="*/ 847022 h 5292022"/>
              <a:gd name="connsiteX65" fmla="*/ 215954 w 10655908"/>
              <a:gd name="connsiteY65" fmla="*/ 703089 h 5292022"/>
              <a:gd name="connsiteX66" fmla="*/ 88954 w 10655908"/>
              <a:gd name="connsiteY66" fmla="*/ 559156 h 5292022"/>
              <a:gd name="connsiteX0" fmla="*/ 88954 w 10655908"/>
              <a:gd name="connsiteY0" fmla="*/ 559156 h 5292022"/>
              <a:gd name="connsiteX1" fmla="*/ 0 w 10655908"/>
              <a:gd name="connsiteY1" fmla="*/ 399076 h 5292022"/>
              <a:gd name="connsiteX2" fmla="*/ 38154 w 10655908"/>
              <a:gd name="connsiteY2" fmla="*/ 245889 h 5292022"/>
              <a:gd name="connsiteX3" fmla="*/ 88954 w 10655908"/>
              <a:gd name="connsiteY3" fmla="*/ 178156 h 5292022"/>
              <a:gd name="connsiteX4" fmla="*/ 182087 w 10655908"/>
              <a:gd name="connsiteY4" fmla="*/ 93489 h 5292022"/>
              <a:gd name="connsiteX5" fmla="*/ 215954 w 10655908"/>
              <a:gd name="connsiteY5" fmla="*/ 68089 h 5292022"/>
              <a:gd name="connsiteX6" fmla="*/ 314591 w 10655908"/>
              <a:gd name="connsiteY6" fmla="*/ 58352 h 5292022"/>
              <a:gd name="connsiteX7" fmla="*/ 361581 w 10655908"/>
              <a:gd name="connsiteY7" fmla="*/ 51156 h 5292022"/>
              <a:gd name="connsiteX8" fmla="*/ 414093 w 10655908"/>
              <a:gd name="connsiteY8" fmla="*/ 70071 h 5292022"/>
              <a:gd name="connsiteX9" fmla="*/ 471878 w 10655908"/>
              <a:gd name="connsiteY9" fmla="*/ 74247 h 5292022"/>
              <a:gd name="connsiteX10" fmla="*/ 802078 w 10655908"/>
              <a:gd name="connsiteY10" fmla="*/ 82713 h 5292022"/>
              <a:gd name="connsiteX11" fmla="*/ 1071087 w 10655908"/>
              <a:gd name="connsiteY11" fmla="*/ 356 h 5292022"/>
              <a:gd name="connsiteX12" fmla="*/ 1215021 w 10655908"/>
              <a:gd name="connsiteY12" fmla="*/ 59622 h 5292022"/>
              <a:gd name="connsiteX13" fmla="*/ 1316621 w 10655908"/>
              <a:gd name="connsiteY13" fmla="*/ 135822 h 5292022"/>
              <a:gd name="connsiteX14" fmla="*/ 1401287 w 10655908"/>
              <a:gd name="connsiteY14" fmla="*/ 245889 h 5292022"/>
              <a:gd name="connsiteX15" fmla="*/ 1460554 w 10655908"/>
              <a:gd name="connsiteY15" fmla="*/ 313622 h 5292022"/>
              <a:gd name="connsiteX16" fmla="*/ 1511354 w 10655908"/>
              <a:gd name="connsiteY16" fmla="*/ 347489 h 5292022"/>
              <a:gd name="connsiteX17" fmla="*/ 1663754 w 10655908"/>
              <a:gd name="connsiteY17" fmla="*/ 406756 h 5292022"/>
              <a:gd name="connsiteX18" fmla="*/ 1739954 w 10655908"/>
              <a:gd name="connsiteY18" fmla="*/ 423689 h 5292022"/>
              <a:gd name="connsiteX19" fmla="*/ 2383421 w 10655908"/>
              <a:gd name="connsiteY19" fmla="*/ 355956 h 5292022"/>
              <a:gd name="connsiteX20" fmla="*/ 3378099 w 10655908"/>
              <a:gd name="connsiteY20" fmla="*/ 72322 h 5292022"/>
              <a:gd name="connsiteX21" fmla="*/ 4508554 w 10655908"/>
              <a:gd name="connsiteY21" fmla="*/ 271289 h 5292022"/>
              <a:gd name="connsiteX22" fmla="*/ 5609991 w 10655908"/>
              <a:gd name="connsiteY22" fmla="*/ 1149898 h 5292022"/>
              <a:gd name="connsiteX23" fmla="*/ 6860671 w 10655908"/>
              <a:gd name="connsiteY23" fmla="*/ 1366452 h 5292022"/>
              <a:gd name="connsiteX24" fmla="*/ 7818213 w 10655908"/>
              <a:gd name="connsiteY24" fmla="*/ 1183996 h 5292022"/>
              <a:gd name="connsiteX25" fmla="*/ 8631821 w 10655908"/>
              <a:gd name="connsiteY25" fmla="*/ 677689 h 5292022"/>
              <a:gd name="connsiteX26" fmla="*/ 9668987 w 10655908"/>
              <a:gd name="connsiteY26" fmla="*/ 526982 h 5292022"/>
              <a:gd name="connsiteX27" fmla="*/ 10367487 w 10655908"/>
              <a:gd name="connsiteY27" fmla="*/ 889356 h 5292022"/>
              <a:gd name="connsiteX28" fmla="*/ 10562221 w 10655908"/>
              <a:gd name="connsiteY28" fmla="*/ 1448156 h 5292022"/>
              <a:gd name="connsiteX29" fmla="*/ 10655354 w 10655908"/>
              <a:gd name="connsiteY29" fmla="*/ 1854556 h 5292022"/>
              <a:gd name="connsiteX30" fmla="*/ 10587621 w 10655908"/>
              <a:gd name="connsiteY30" fmla="*/ 2252489 h 5292022"/>
              <a:gd name="connsiteX31" fmla="*/ 10342087 w 10655908"/>
              <a:gd name="connsiteY31" fmla="*/ 2912889 h 5292022"/>
              <a:gd name="connsiteX32" fmla="*/ 9927221 w 10655908"/>
              <a:gd name="connsiteY32" fmla="*/ 3336222 h 5292022"/>
              <a:gd name="connsiteX33" fmla="*/ 9046687 w 10655908"/>
              <a:gd name="connsiteY33" fmla="*/ 3861156 h 5292022"/>
              <a:gd name="connsiteX34" fmla="*/ 8349881 w 10655908"/>
              <a:gd name="connsiteY34" fmla="*/ 4087216 h 5292022"/>
              <a:gd name="connsiteX35" fmla="*/ 7946021 w 10655908"/>
              <a:gd name="connsiteY35" fmla="*/ 4233689 h 5292022"/>
              <a:gd name="connsiteX36" fmla="*/ 7353354 w 10655908"/>
              <a:gd name="connsiteY36" fmla="*/ 4657022 h 5292022"/>
              <a:gd name="connsiteX37" fmla="*/ 7353354 w 10655908"/>
              <a:gd name="connsiteY37" fmla="*/ 4657022 h 5292022"/>
              <a:gd name="connsiteX38" fmla="*/ 7200954 w 10655908"/>
              <a:gd name="connsiteY38" fmla="*/ 4775556 h 5292022"/>
              <a:gd name="connsiteX39" fmla="*/ 7006221 w 10655908"/>
              <a:gd name="connsiteY39" fmla="*/ 4902556 h 5292022"/>
              <a:gd name="connsiteX40" fmla="*/ 6625221 w 10655908"/>
              <a:gd name="connsiteY40" fmla="*/ 5105756 h 5292022"/>
              <a:gd name="connsiteX41" fmla="*/ 6176487 w 10655908"/>
              <a:gd name="connsiteY41" fmla="*/ 5266622 h 5292022"/>
              <a:gd name="connsiteX42" fmla="*/ 5897087 w 10655908"/>
              <a:gd name="connsiteY42" fmla="*/ 5292022 h 5292022"/>
              <a:gd name="connsiteX43" fmla="*/ 5727754 w 10655908"/>
              <a:gd name="connsiteY43" fmla="*/ 5283556 h 5292022"/>
              <a:gd name="connsiteX44" fmla="*/ 5262087 w 10655908"/>
              <a:gd name="connsiteY44" fmla="*/ 5173489 h 5292022"/>
              <a:gd name="connsiteX45" fmla="*/ 4938661 w 10655908"/>
              <a:gd name="connsiteY45" fmla="*/ 4988069 h 5292022"/>
              <a:gd name="connsiteX46" fmla="*/ 4666034 w 10655908"/>
              <a:gd name="connsiteY46" fmla="*/ 4788256 h 5292022"/>
              <a:gd name="connsiteX47" fmla="*/ 3956527 w 10655908"/>
              <a:gd name="connsiteY47" fmla="*/ 4470544 h 5292022"/>
              <a:gd name="connsiteX48" fmla="*/ 3720731 w 10655908"/>
              <a:gd name="connsiteY48" fmla="*/ 4154102 h 5292022"/>
              <a:gd name="connsiteX49" fmla="*/ 3541237 w 10655908"/>
              <a:gd name="connsiteY49" fmla="*/ 3406919 h 5292022"/>
              <a:gd name="connsiteX50" fmla="*/ 3052287 w 10655908"/>
              <a:gd name="connsiteY50" fmla="*/ 3010256 h 5292022"/>
              <a:gd name="connsiteX51" fmla="*/ 2950687 w 10655908"/>
              <a:gd name="connsiteY51" fmla="*/ 2743556 h 5292022"/>
              <a:gd name="connsiteX52" fmla="*/ 2976087 w 10655908"/>
              <a:gd name="connsiteY52" fmla="*/ 2531889 h 5292022"/>
              <a:gd name="connsiteX53" fmla="*/ 2993021 w 10655908"/>
              <a:gd name="connsiteY53" fmla="*/ 2430289 h 5292022"/>
              <a:gd name="connsiteX54" fmla="*/ 2967621 w 10655908"/>
              <a:gd name="connsiteY54" fmla="*/ 2260956 h 5292022"/>
              <a:gd name="connsiteX55" fmla="*/ 2781354 w 10655908"/>
              <a:gd name="connsiteY55" fmla="*/ 2006956 h 5292022"/>
              <a:gd name="connsiteX56" fmla="*/ 2620487 w 10655908"/>
              <a:gd name="connsiteY56" fmla="*/ 1863022 h 5292022"/>
              <a:gd name="connsiteX57" fmla="*/ 2425754 w 10655908"/>
              <a:gd name="connsiteY57" fmla="*/ 1812222 h 5292022"/>
              <a:gd name="connsiteX58" fmla="*/ 2146354 w 10655908"/>
              <a:gd name="connsiteY58" fmla="*/ 1879956 h 5292022"/>
              <a:gd name="connsiteX59" fmla="*/ 1638354 w 10655908"/>
              <a:gd name="connsiteY59" fmla="*/ 2074689 h 5292022"/>
              <a:gd name="connsiteX60" fmla="*/ 893287 w 10655908"/>
              <a:gd name="connsiteY60" fmla="*/ 2032356 h 5292022"/>
              <a:gd name="connsiteX61" fmla="*/ 596954 w 10655908"/>
              <a:gd name="connsiteY61" fmla="*/ 1922289 h 5292022"/>
              <a:gd name="connsiteX62" fmla="*/ 333641 w 10655908"/>
              <a:gd name="connsiteY62" fmla="*/ 1676756 h 5292022"/>
              <a:gd name="connsiteX63" fmla="*/ 224421 w 10655908"/>
              <a:gd name="connsiteY63" fmla="*/ 1219556 h 5292022"/>
              <a:gd name="connsiteX64" fmla="*/ 224421 w 10655908"/>
              <a:gd name="connsiteY64" fmla="*/ 847022 h 5292022"/>
              <a:gd name="connsiteX65" fmla="*/ 215954 w 10655908"/>
              <a:gd name="connsiteY65" fmla="*/ 703089 h 5292022"/>
              <a:gd name="connsiteX66" fmla="*/ 88954 w 10655908"/>
              <a:gd name="connsiteY66" fmla="*/ 559156 h 5292022"/>
              <a:gd name="connsiteX0" fmla="*/ 88954 w 10655908"/>
              <a:gd name="connsiteY0" fmla="*/ 559156 h 5292022"/>
              <a:gd name="connsiteX1" fmla="*/ 0 w 10655908"/>
              <a:gd name="connsiteY1" fmla="*/ 399076 h 5292022"/>
              <a:gd name="connsiteX2" fmla="*/ 38154 w 10655908"/>
              <a:gd name="connsiteY2" fmla="*/ 245889 h 5292022"/>
              <a:gd name="connsiteX3" fmla="*/ 88954 w 10655908"/>
              <a:gd name="connsiteY3" fmla="*/ 178156 h 5292022"/>
              <a:gd name="connsiteX4" fmla="*/ 182087 w 10655908"/>
              <a:gd name="connsiteY4" fmla="*/ 93489 h 5292022"/>
              <a:gd name="connsiteX5" fmla="*/ 314591 w 10655908"/>
              <a:gd name="connsiteY5" fmla="*/ 58352 h 5292022"/>
              <a:gd name="connsiteX6" fmla="*/ 361581 w 10655908"/>
              <a:gd name="connsiteY6" fmla="*/ 51156 h 5292022"/>
              <a:gd name="connsiteX7" fmla="*/ 414093 w 10655908"/>
              <a:gd name="connsiteY7" fmla="*/ 70071 h 5292022"/>
              <a:gd name="connsiteX8" fmla="*/ 471878 w 10655908"/>
              <a:gd name="connsiteY8" fmla="*/ 74247 h 5292022"/>
              <a:gd name="connsiteX9" fmla="*/ 802078 w 10655908"/>
              <a:gd name="connsiteY9" fmla="*/ 82713 h 5292022"/>
              <a:gd name="connsiteX10" fmla="*/ 1071087 w 10655908"/>
              <a:gd name="connsiteY10" fmla="*/ 356 h 5292022"/>
              <a:gd name="connsiteX11" fmla="*/ 1215021 w 10655908"/>
              <a:gd name="connsiteY11" fmla="*/ 59622 h 5292022"/>
              <a:gd name="connsiteX12" fmla="*/ 1316621 w 10655908"/>
              <a:gd name="connsiteY12" fmla="*/ 135822 h 5292022"/>
              <a:gd name="connsiteX13" fmla="*/ 1401287 w 10655908"/>
              <a:gd name="connsiteY13" fmla="*/ 245889 h 5292022"/>
              <a:gd name="connsiteX14" fmla="*/ 1460554 w 10655908"/>
              <a:gd name="connsiteY14" fmla="*/ 313622 h 5292022"/>
              <a:gd name="connsiteX15" fmla="*/ 1511354 w 10655908"/>
              <a:gd name="connsiteY15" fmla="*/ 347489 h 5292022"/>
              <a:gd name="connsiteX16" fmla="*/ 1663754 w 10655908"/>
              <a:gd name="connsiteY16" fmla="*/ 406756 h 5292022"/>
              <a:gd name="connsiteX17" fmla="*/ 1739954 w 10655908"/>
              <a:gd name="connsiteY17" fmla="*/ 423689 h 5292022"/>
              <a:gd name="connsiteX18" fmla="*/ 2383421 w 10655908"/>
              <a:gd name="connsiteY18" fmla="*/ 355956 h 5292022"/>
              <a:gd name="connsiteX19" fmla="*/ 3378099 w 10655908"/>
              <a:gd name="connsiteY19" fmla="*/ 72322 h 5292022"/>
              <a:gd name="connsiteX20" fmla="*/ 4508554 w 10655908"/>
              <a:gd name="connsiteY20" fmla="*/ 271289 h 5292022"/>
              <a:gd name="connsiteX21" fmla="*/ 5609991 w 10655908"/>
              <a:gd name="connsiteY21" fmla="*/ 1149898 h 5292022"/>
              <a:gd name="connsiteX22" fmla="*/ 6860671 w 10655908"/>
              <a:gd name="connsiteY22" fmla="*/ 1366452 h 5292022"/>
              <a:gd name="connsiteX23" fmla="*/ 7818213 w 10655908"/>
              <a:gd name="connsiteY23" fmla="*/ 1183996 h 5292022"/>
              <a:gd name="connsiteX24" fmla="*/ 8631821 w 10655908"/>
              <a:gd name="connsiteY24" fmla="*/ 677689 h 5292022"/>
              <a:gd name="connsiteX25" fmla="*/ 9668987 w 10655908"/>
              <a:gd name="connsiteY25" fmla="*/ 526982 h 5292022"/>
              <a:gd name="connsiteX26" fmla="*/ 10367487 w 10655908"/>
              <a:gd name="connsiteY26" fmla="*/ 889356 h 5292022"/>
              <a:gd name="connsiteX27" fmla="*/ 10562221 w 10655908"/>
              <a:gd name="connsiteY27" fmla="*/ 1448156 h 5292022"/>
              <a:gd name="connsiteX28" fmla="*/ 10655354 w 10655908"/>
              <a:gd name="connsiteY28" fmla="*/ 1854556 h 5292022"/>
              <a:gd name="connsiteX29" fmla="*/ 10587621 w 10655908"/>
              <a:gd name="connsiteY29" fmla="*/ 2252489 h 5292022"/>
              <a:gd name="connsiteX30" fmla="*/ 10342087 w 10655908"/>
              <a:gd name="connsiteY30" fmla="*/ 2912889 h 5292022"/>
              <a:gd name="connsiteX31" fmla="*/ 9927221 w 10655908"/>
              <a:gd name="connsiteY31" fmla="*/ 3336222 h 5292022"/>
              <a:gd name="connsiteX32" fmla="*/ 9046687 w 10655908"/>
              <a:gd name="connsiteY32" fmla="*/ 3861156 h 5292022"/>
              <a:gd name="connsiteX33" fmla="*/ 8349881 w 10655908"/>
              <a:gd name="connsiteY33" fmla="*/ 4087216 h 5292022"/>
              <a:gd name="connsiteX34" fmla="*/ 7946021 w 10655908"/>
              <a:gd name="connsiteY34" fmla="*/ 4233689 h 5292022"/>
              <a:gd name="connsiteX35" fmla="*/ 7353354 w 10655908"/>
              <a:gd name="connsiteY35" fmla="*/ 4657022 h 5292022"/>
              <a:gd name="connsiteX36" fmla="*/ 7353354 w 10655908"/>
              <a:gd name="connsiteY36" fmla="*/ 4657022 h 5292022"/>
              <a:gd name="connsiteX37" fmla="*/ 7200954 w 10655908"/>
              <a:gd name="connsiteY37" fmla="*/ 4775556 h 5292022"/>
              <a:gd name="connsiteX38" fmla="*/ 7006221 w 10655908"/>
              <a:gd name="connsiteY38" fmla="*/ 4902556 h 5292022"/>
              <a:gd name="connsiteX39" fmla="*/ 6625221 w 10655908"/>
              <a:gd name="connsiteY39" fmla="*/ 5105756 h 5292022"/>
              <a:gd name="connsiteX40" fmla="*/ 6176487 w 10655908"/>
              <a:gd name="connsiteY40" fmla="*/ 5266622 h 5292022"/>
              <a:gd name="connsiteX41" fmla="*/ 5897087 w 10655908"/>
              <a:gd name="connsiteY41" fmla="*/ 5292022 h 5292022"/>
              <a:gd name="connsiteX42" fmla="*/ 5727754 w 10655908"/>
              <a:gd name="connsiteY42" fmla="*/ 5283556 h 5292022"/>
              <a:gd name="connsiteX43" fmla="*/ 5262087 w 10655908"/>
              <a:gd name="connsiteY43" fmla="*/ 5173489 h 5292022"/>
              <a:gd name="connsiteX44" fmla="*/ 4938661 w 10655908"/>
              <a:gd name="connsiteY44" fmla="*/ 4988069 h 5292022"/>
              <a:gd name="connsiteX45" fmla="*/ 4666034 w 10655908"/>
              <a:gd name="connsiteY45" fmla="*/ 4788256 h 5292022"/>
              <a:gd name="connsiteX46" fmla="*/ 3956527 w 10655908"/>
              <a:gd name="connsiteY46" fmla="*/ 4470544 h 5292022"/>
              <a:gd name="connsiteX47" fmla="*/ 3720731 w 10655908"/>
              <a:gd name="connsiteY47" fmla="*/ 4154102 h 5292022"/>
              <a:gd name="connsiteX48" fmla="*/ 3541237 w 10655908"/>
              <a:gd name="connsiteY48" fmla="*/ 3406919 h 5292022"/>
              <a:gd name="connsiteX49" fmla="*/ 3052287 w 10655908"/>
              <a:gd name="connsiteY49" fmla="*/ 3010256 h 5292022"/>
              <a:gd name="connsiteX50" fmla="*/ 2950687 w 10655908"/>
              <a:gd name="connsiteY50" fmla="*/ 2743556 h 5292022"/>
              <a:gd name="connsiteX51" fmla="*/ 2976087 w 10655908"/>
              <a:gd name="connsiteY51" fmla="*/ 2531889 h 5292022"/>
              <a:gd name="connsiteX52" fmla="*/ 2993021 w 10655908"/>
              <a:gd name="connsiteY52" fmla="*/ 2430289 h 5292022"/>
              <a:gd name="connsiteX53" fmla="*/ 2967621 w 10655908"/>
              <a:gd name="connsiteY53" fmla="*/ 2260956 h 5292022"/>
              <a:gd name="connsiteX54" fmla="*/ 2781354 w 10655908"/>
              <a:gd name="connsiteY54" fmla="*/ 2006956 h 5292022"/>
              <a:gd name="connsiteX55" fmla="*/ 2620487 w 10655908"/>
              <a:gd name="connsiteY55" fmla="*/ 1863022 h 5292022"/>
              <a:gd name="connsiteX56" fmla="*/ 2425754 w 10655908"/>
              <a:gd name="connsiteY56" fmla="*/ 1812222 h 5292022"/>
              <a:gd name="connsiteX57" fmla="*/ 2146354 w 10655908"/>
              <a:gd name="connsiteY57" fmla="*/ 1879956 h 5292022"/>
              <a:gd name="connsiteX58" fmla="*/ 1638354 w 10655908"/>
              <a:gd name="connsiteY58" fmla="*/ 2074689 h 5292022"/>
              <a:gd name="connsiteX59" fmla="*/ 893287 w 10655908"/>
              <a:gd name="connsiteY59" fmla="*/ 2032356 h 5292022"/>
              <a:gd name="connsiteX60" fmla="*/ 596954 w 10655908"/>
              <a:gd name="connsiteY60" fmla="*/ 1922289 h 5292022"/>
              <a:gd name="connsiteX61" fmla="*/ 333641 w 10655908"/>
              <a:gd name="connsiteY61" fmla="*/ 1676756 h 5292022"/>
              <a:gd name="connsiteX62" fmla="*/ 224421 w 10655908"/>
              <a:gd name="connsiteY62" fmla="*/ 1219556 h 5292022"/>
              <a:gd name="connsiteX63" fmla="*/ 224421 w 10655908"/>
              <a:gd name="connsiteY63" fmla="*/ 847022 h 5292022"/>
              <a:gd name="connsiteX64" fmla="*/ 215954 w 10655908"/>
              <a:gd name="connsiteY64" fmla="*/ 703089 h 5292022"/>
              <a:gd name="connsiteX65" fmla="*/ 88954 w 10655908"/>
              <a:gd name="connsiteY65" fmla="*/ 559156 h 5292022"/>
              <a:gd name="connsiteX0" fmla="*/ 88954 w 10655908"/>
              <a:gd name="connsiteY0" fmla="*/ 559156 h 5292022"/>
              <a:gd name="connsiteX1" fmla="*/ 0 w 10655908"/>
              <a:gd name="connsiteY1" fmla="*/ 399076 h 5292022"/>
              <a:gd name="connsiteX2" fmla="*/ 38154 w 10655908"/>
              <a:gd name="connsiteY2" fmla="*/ 245889 h 5292022"/>
              <a:gd name="connsiteX3" fmla="*/ 88954 w 10655908"/>
              <a:gd name="connsiteY3" fmla="*/ 178156 h 5292022"/>
              <a:gd name="connsiteX4" fmla="*/ 182087 w 10655908"/>
              <a:gd name="connsiteY4" fmla="*/ 93489 h 5292022"/>
              <a:gd name="connsiteX5" fmla="*/ 314591 w 10655908"/>
              <a:gd name="connsiteY5" fmla="*/ 58352 h 5292022"/>
              <a:gd name="connsiteX6" fmla="*/ 414093 w 10655908"/>
              <a:gd name="connsiteY6" fmla="*/ 70071 h 5292022"/>
              <a:gd name="connsiteX7" fmla="*/ 471878 w 10655908"/>
              <a:gd name="connsiteY7" fmla="*/ 74247 h 5292022"/>
              <a:gd name="connsiteX8" fmla="*/ 802078 w 10655908"/>
              <a:gd name="connsiteY8" fmla="*/ 82713 h 5292022"/>
              <a:gd name="connsiteX9" fmla="*/ 1071087 w 10655908"/>
              <a:gd name="connsiteY9" fmla="*/ 356 h 5292022"/>
              <a:gd name="connsiteX10" fmla="*/ 1215021 w 10655908"/>
              <a:gd name="connsiteY10" fmla="*/ 59622 h 5292022"/>
              <a:gd name="connsiteX11" fmla="*/ 1316621 w 10655908"/>
              <a:gd name="connsiteY11" fmla="*/ 135822 h 5292022"/>
              <a:gd name="connsiteX12" fmla="*/ 1401287 w 10655908"/>
              <a:gd name="connsiteY12" fmla="*/ 245889 h 5292022"/>
              <a:gd name="connsiteX13" fmla="*/ 1460554 w 10655908"/>
              <a:gd name="connsiteY13" fmla="*/ 313622 h 5292022"/>
              <a:gd name="connsiteX14" fmla="*/ 1511354 w 10655908"/>
              <a:gd name="connsiteY14" fmla="*/ 347489 h 5292022"/>
              <a:gd name="connsiteX15" fmla="*/ 1663754 w 10655908"/>
              <a:gd name="connsiteY15" fmla="*/ 406756 h 5292022"/>
              <a:gd name="connsiteX16" fmla="*/ 1739954 w 10655908"/>
              <a:gd name="connsiteY16" fmla="*/ 423689 h 5292022"/>
              <a:gd name="connsiteX17" fmla="*/ 2383421 w 10655908"/>
              <a:gd name="connsiteY17" fmla="*/ 355956 h 5292022"/>
              <a:gd name="connsiteX18" fmla="*/ 3378099 w 10655908"/>
              <a:gd name="connsiteY18" fmla="*/ 72322 h 5292022"/>
              <a:gd name="connsiteX19" fmla="*/ 4508554 w 10655908"/>
              <a:gd name="connsiteY19" fmla="*/ 271289 h 5292022"/>
              <a:gd name="connsiteX20" fmla="*/ 5609991 w 10655908"/>
              <a:gd name="connsiteY20" fmla="*/ 1149898 h 5292022"/>
              <a:gd name="connsiteX21" fmla="*/ 6860671 w 10655908"/>
              <a:gd name="connsiteY21" fmla="*/ 1366452 h 5292022"/>
              <a:gd name="connsiteX22" fmla="*/ 7818213 w 10655908"/>
              <a:gd name="connsiteY22" fmla="*/ 1183996 h 5292022"/>
              <a:gd name="connsiteX23" fmla="*/ 8631821 w 10655908"/>
              <a:gd name="connsiteY23" fmla="*/ 677689 h 5292022"/>
              <a:gd name="connsiteX24" fmla="*/ 9668987 w 10655908"/>
              <a:gd name="connsiteY24" fmla="*/ 526982 h 5292022"/>
              <a:gd name="connsiteX25" fmla="*/ 10367487 w 10655908"/>
              <a:gd name="connsiteY25" fmla="*/ 889356 h 5292022"/>
              <a:gd name="connsiteX26" fmla="*/ 10562221 w 10655908"/>
              <a:gd name="connsiteY26" fmla="*/ 1448156 h 5292022"/>
              <a:gd name="connsiteX27" fmla="*/ 10655354 w 10655908"/>
              <a:gd name="connsiteY27" fmla="*/ 1854556 h 5292022"/>
              <a:gd name="connsiteX28" fmla="*/ 10587621 w 10655908"/>
              <a:gd name="connsiteY28" fmla="*/ 2252489 h 5292022"/>
              <a:gd name="connsiteX29" fmla="*/ 10342087 w 10655908"/>
              <a:gd name="connsiteY29" fmla="*/ 2912889 h 5292022"/>
              <a:gd name="connsiteX30" fmla="*/ 9927221 w 10655908"/>
              <a:gd name="connsiteY30" fmla="*/ 3336222 h 5292022"/>
              <a:gd name="connsiteX31" fmla="*/ 9046687 w 10655908"/>
              <a:gd name="connsiteY31" fmla="*/ 3861156 h 5292022"/>
              <a:gd name="connsiteX32" fmla="*/ 8349881 w 10655908"/>
              <a:gd name="connsiteY32" fmla="*/ 4087216 h 5292022"/>
              <a:gd name="connsiteX33" fmla="*/ 7946021 w 10655908"/>
              <a:gd name="connsiteY33" fmla="*/ 4233689 h 5292022"/>
              <a:gd name="connsiteX34" fmla="*/ 7353354 w 10655908"/>
              <a:gd name="connsiteY34" fmla="*/ 4657022 h 5292022"/>
              <a:gd name="connsiteX35" fmla="*/ 7353354 w 10655908"/>
              <a:gd name="connsiteY35" fmla="*/ 4657022 h 5292022"/>
              <a:gd name="connsiteX36" fmla="*/ 7200954 w 10655908"/>
              <a:gd name="connsiteY36" fmla="*/ 4775556 h 5292022"/>
              <a:gd name="connsiteX37" fmla="*/ 7006221 w 10655908"/>
              <a:gd name="connsiteY37" fmla="*/ 4902556 h 5292022"/>
              <a:gd name="connsiteX38" fmla="*/ 6625221 w 10655908"/>
              <a:gd name="connsiteY38" fmla="*/ 5105756 h 5292022"/>
              <a:gd name="connsiteX39" fmla="*/ 6176487 w 10655908"/>
              <a:gd name="connsiteY39" fmla="*/ 5266622 h 5292022"/>
              <a:gd name="connsiteX40" fmla="*/ 5897087 w 10655908"/>
              <a:gd name="connsiteY40" fmla="*/ 5292022 h 5292022"/>
              <a:gd name="connsiteX41" fmla="*/ 5727754 w 10655908"/>
              <a:gd name="connsiteY41" fmla="*/ 5283556 h 5292022"/>
              <a:gd name="connsiteX42" fmla="*/ 5262087 w 10655908"/>
              <a:gd name="connsiteY42" fmla="*/ 5173489 h 5292022"/>
              <a:gd name="connsiteX43" fmla="*/ 4938661 w 10655908"/>
              <a:gd name="connsiteY43" fmla="*/ 4988069 h 5292022"/>
              <a:gd name="connsiteX44" fmla="*/ 4666034 w 10655908"/>
              <a:gd name="connsiteY44" fmla="*/ 4788256 h 5292022"/>
              <a:gd name="connsiteX45" fmla="*/ 3956527 w 10655908"/>
              <a:gd name="connsiteY45" fmla="*/ 4470544 h 5292022"/>
              <a:gd name="connsiteX46" fmla="*/ 3720731 w 10655908"/>
              <a:gd name="connsiteY46" fmla="*/ 4154102 h 5292022"/>
              <a:gd name="connsiteX47" fmla="*/ 3541237 w 10655908"/>
              <a:gd name="connsiteY47" fmla="*/ 3406919 h 5292022"/>
              <a:gd name="connsiteX48" fmla="*/ 3052287 w 10655908"/>
              <a:gd name="connsiteY48" fmla="*/ 3010256 h 5292022"/>
              <a:gd name="connsiteX49" fmla="*/ 2950687 w 10655908"/>
              <a:gd name="connsiteY49" fmla="*/ 2743556 h 5292022"/>
              <a:gd name="connsiteX50" fmla="*/ 2976087 w 10655908"/>
              <a:gd name="connsiteY50" fmla="*/ 2531889 h 5292022"/>
              <a:gd name="connsiteX51" fmla="*/ 2993021 w 10655908"/>
              <a:gd name="connsiteY51" fmla="*/ 2430289 h 5292022"/>
              <a:gd name="connsiteX52" fmla="*/ 2967621 w 10655908"/>
              <a:gd name="connsiteY52" fmla="*/ 2260956 h 5292022"/>
              <a:gd name="connsiteX53" fmla="*/ 2781354 w 10655908"/>
              <a:gd name="connsiteY53" fmla="*/ 2006956 h 5292022"/>
              <a:gd name="connsiteX54" fmla="*/ 2620487 w 10655908"/>
              <a:gd name="connsiteY54" fmla="*/ 1863022 h 5292022"/>
              <a:gd name="connsiteX55" fmla="*/ 2425754 w 10655908"/>
              <a:gd name="connsiteY55" fmla="*/ 1812222 h 5292022"/>
              <a:gd name="connsiteX56" fmla="*/ 2146354 w 10655908"/>
              <a:gd name="connsiteY56" fmla="*/ 1879956 h 5292022"/>
              <a:gd name="connsiteX57" fmla="*/ 1638354 w 10655908"/>
              <a:gd name="connsiteY57" fmla="*/ 2074689 h 5292022"/>
              <a:gd name="connsiteX58" fmla="*/ 893287 w 10655908"/>
              <a:gd name="connsiteY58" fmla="*/ 2032356 h 5292022"/>
              <a:gd name="connsiteX59" fmla="*/ 596954 w 10655908"/>
              <a:gd name="connsiteY59" fmla="*/ 1922289 h 5292022"/>
              <a:gd name="connsiteX60" fmla="*/ 333641 w 10655908"/>
              <a:gd name="connsiteY60" fmla="*/ 1676756 h 5292022"/>
              <a:gd name="connsiteX61" fmla="*/ 224421 w 10655908"/>
              <a:gd name="connsiteY61" fmla="*/ 1219556 h 5292022"/>
              <a:gd name="connsiteX62" fmla="*/ 224421 w 10655908"/>
              <a:gd name="connsiteY62" fmla="*/ 847022 h 5292022"/>
              <a:gd name="connsiteX63" fmla="*/ 215954 w 10655908"/>
              <a:gd name="connsiteY63" fmla="*/ 703089 h 5292022"/>
              <a:gd name="connsiteX64" fmla="*/ 88954 w 10655908"/>
              <a:gd name="connsiteY64" fmla="*/ 559156 h 5292022"/>
              <a:gd name="connsiteX0" fmla="*/ 88954 w 10655908"/>
              <a:gd name="connsiteY0" fmla="*/ 559156 h 5292022"/>
              <a:gd name="connsiteX1" fmla="*/ 0 w 10655908"/>
              <a:gd name="connsiteY1" fmla="*/ 399076 h 5292022"/>
              <a:gd name="connsiteX2" fmla="*/ 38154 w 10655908"/>
              <a:gd name="connsiteY2" fmla="*/ 245889 h 5292022"/>
              <a:gd name="connsiteX3" fmla="*/ 88954 w 10655908"/>
              <a:gd name="connsiteY3" fmla="*/ 178156 h 5292022"/>
              <a:gd name="connsiteX4" fmla="*/ 182087 w 10655908"/>
              <a:gd name="connsiteY4" fmla="*/ 93489 h 5292022"/>
              <a:gd name="connsiteX5" fmla="*/ 314591 w 10655908"/>
              <a:gd name="connsiteY5" fmla="*/ 58352 h 5292022"/>
              <a:gd name="connsiteX6" fmla="*/ 414093 w 10655908"/>
              <a:gd name="connsiteY6" fmla="*/ 70071 h 5292022"/>
              <a:gd name="connsiteX7" fmla="*/ 471878 w 10655908"/>
              <a:gd name="connsiteY7" fmla="*/ 74247 h 5292022"/>
              <a:gd name="connsiteX8" fmla="*/ 1071087 w 10655908"/>
              <a:gd name="connsiteY8" fmla="*/ 356 h 5292022"/>
              <a:gd name="connsiteX9" fmla="*/ 1215021 w 10655908"/>
              <a:gd name="connsiteY9" fmla="*/ 59622 h 5292022"/>
              <a:gd name="connsiteX10" fmla="*/ 1316621 w 10655908"/>
              <a:gd name="connsiteY10" fmla="*/ 135822 h 5292022"/>
              <a:gd name="connsiteX11" fmla="*/ 1401287 w 10655908"/>
              <a:gd name="connsiteY11" fmla="*/ 245889 h 5292022"/>
              <a:gd name="connsiteX12" fmla="*/ 1460554 w 10655908"/>
              <a:gd name="connsiteY12" fmla="*/ 313622 h 5292022"/>
              <a:gd name="connsiteX13" fmla="*/ 1511354 w 10655908"/>
              <a:gd name="connsiteY13" fmla="*/ 347489 h 5292022"/>
              <a:gd name="connsiteX14" fmla="*/ 1663754 w 10655908"/>
              <a:gd name="connsiteY14" fmla="*/ 406756 h 5292022"/>
              <a:gd name="connsiteX15" fmla="*/ 1739954 w 10655908"/>
              <a:gd name="connsiteY15" fmla="*/ 423689 h 5292022"/>
              <a:gd name="connsiteX16" fmla="*/ 2383421 w 10655908"/>
              <a:gd name="connsiteY16" fmla="*/ 355956 h 5292022"/>
              <a:gd name="connsiteX17" fmla="*/ 3378099 w 10655908"/>
              <a:gd name="connsiteY17" fmla="*/ 72322 h 5292022"/>
              <a:gd name="connsiteX18" fmla="*/ 4508554 w 10655908"/>
              <a:gd name="connsiteY18" fmla="*/ 271289 h 5292022"/>
              <a:gd name="connsiteX19" fmla="*/ 5609991 w 10655908"/>
              <a:gd name="connsiteY19" fmla="*/ 1149898 h 5292022"/>
              <a:gd name="connsiteX20" fmla="*/ 6860671 w 10655908"/>
              <a:gd name="connsiteY20" fmla="*/ 1366452 h 5292022"/>
              <a:gd name="connsiteX21" fmla="*/ 7818213 w 10655908"/>
              <a:gd name="connsiteY21" fmla="*/ 1183996 h 5292022"/>
              <a:gd name="connsiteX22" fmla="*/ 8631821 w 10655908"/>
              <a:gd name="connsiteY22" fmla="*/ 677689 h 5292022"/>
              <a:gd name="connsiteX23" fmla="*/ 9668987 w 10655908"/>
              <a:gd name="connsiteY23" fmla="*/ 526982 h 5292022"/>
              <a:gd name="connsiteX24" fmla="*/ 10367487 w 10655908"/>
              <a:gd name="connsiteY24" fmla="*/ 889356 h 5292022"/>
              <a:gd name="connsiteX25" fmla="*/ 10562221 w 10655908"/>
              <a:gd name="connsiteY25" fmla="*/ 1448156 h 5292022"/>
              <a:gd name="connsiteX26" fmla="*/ 10655354 w 10655908"/>
              <a:gd name="connsiteY26" fmla="*/ 1854556 h 5292022"/>
              <a:gd name="connsiteX27" fmla="*/ 10587621 w 10655908"/>
              <a:gd name="connsiteY27" fmla="*/ 2252489 h 5292022"/>
              <a:gd name="connsiteX28" fmla="*/ 10342087 w 10655908"/>
              <a:gd name="connsiteY28" fmla="*/ 2912889 h 5292022"/>
              <a:gd name="connsiteX29" fmla="*/ 9927221 w 10655908"/>
              <a:gd name="connsiteY29" fmla="*/ 3336222 h 5292022"/>
              <a:gd name="connsiteX30" fmla="*/ 9046687 w 10655908"/>
              <a:gd name="connsiteY30" fmla="*/ 3861156 h 5292022"/>
              <a:gd name="connsiteX31" fmla="*/ 8349881 w 10655908"/>
              <a:gd name="connsiteY31" fmla="*/ 4087216 h 5292022"/>
              <a:gd name="connsiteX32" fmla="*/ 7946021 w 10655908"/>
              <a:gd name="connsiteY32" fmla="*/ 4233689 h 5292022"/>
              <a:gd name="connsiteX33" fmla="*/ 7353354 w 10655908"/>
              <a:gd name="connsiteY33" fmla="*/ 4657022 h 5292022"/>
              <a:gd name="connsiteX34" fmla="*/ 7353354 w 10655908"/>
              <a:gd name="connsiteY34" fmla="*/ 4657022 h 5292022"/>
              <a:gd name="connsiteX35" fmla="*/ 7200954 w 10655908"/>
              <a:gd name="connsiteY35" fmla="*/ 4775556 h 5292022"/>
              <a:gd name="connsiteX36" fmla="*/ 7006221 w 10655908"/>
              <a:gd name="connsiteY36" fmla="*/ 4902556 h 5292022"/>
              <a:gd name="connsiteX37" fmla="*/ 6625221 w 10655908"/>
              <a:gd name="connsiteY37" fmla="*/ 5105756 h 5292022"/>
              <a:gd name="connsiteX38" fmla="*/ 6176487 w 10655908"/>
              <a:gd name="connsiteY38" fmla="*/ 5266622 h 5292022"/>
              <a:gd name="connsiteX39" fmla="*/ 5897087 w 10655908"/>
              <a:gd name="connsiteY39" fmla="*/ 5292022 h 5292022"/>
              <a:gd name="connsiteX40" fmla="*/ 5727754 w 10655908"/>
              <a:gd name="connsiteY40" fmla="*/ 5283556 h 5292022"/>
              <a:gd name="connsiteX41" fmla="*/ 5262087 w 10655908"/>
              <a:gd name="connsiteY41" fmla="*/ 5173489 h 5292022"/>
              <a:gd name="connsiteX42" fmla="*/ 4938661 w 10655908"/>
              <a:gd name="connsiteY42" fmla="*/ 4988069 h 5292022"/>
              <a:gd name="connsiteX43" fmla="*/ 4666034 w 10655908"/>
              <a:gd name="connsiteY43" fmla="*/ 4788256 h 5292022"/>
              <a:gd name="connsiteX44" fmla="*/ 3956527 w 10655908"/>
              <a:gd name="connsiteY44" fmla="*/ 4470544 h 5292022"/>
              <a:gd name="connsiteX45" fmla="*/ 3720731 w 10655908"/>
              <a:gd name="connsiteY45" fmla="*/ 4154102 h 5292022"/>
              <a:gd name="connsiteX46" fmla="*/ 3541237 w 10655908"/>
              <a:gd name="connsiteY46" fmla="*/ 3406919 h 5292022"/>
              <a:gd name="connsiteX47" fmla="*/ 3052287 w 10655908"/>
              <a:gd name="connsiteY47" fmla="*/ 3010256 h 5292022"/>
              <a:gd name="connsiteX48" fmla="*/ 2950687 w 10655908"/>
              <a:gd name="connsiteY48" fmla="*/ 2743556 h 5292022"/>
              <a:gd name="connsiteX49" fmla="*/ 2976087 w 10655908"/>
              <a:gd name="connsiteY49" fmla="*/ 2531889 h 5292022"/>
              <a:gd name="connsiteX50" fmla="*/ 2993021 w 10655908"/>
              <a:gd name="connsiteY50" fmla="*/ 2430289 h 5292022"/>
              <a:gd name="connsiteX51" fmla="*/ 2967621 w 10655908"/>
              <a:gd name="connsiteY51" fmla="*/ 2260956 h 5292022"/>
              <a:gd name="connsiteX52" fmla="*/ 2781354 w 10655908"/>
              <a:gd name="connsiteY52" fmla="*/ 2006956 h 5292022"/>
              <a:gd name="connsiteX53" fmla="*/ 2620487 w 10655908"/>
              <a:gd name="connsiteY53" fmla="*/ 1863022 h 5292022"/>
              <a:gd name="connsiteX54" fmla="*/ 2425754 w 10655908"/>
              <a:gd name="connsiteY54" fmla="*/ 1812222 h 5292022"/>
              <a:gd name="connsiteX55" fmla="*/ 2146354 w 10655908"/>
              <a:gd name="connsiteY55" fmla="*/ 1879956 h 5292022"/>
              <a:gd name="connsiteX56" fmla="*/ 1638354 w 10655908"/>
              <a:gd name="connsiteY56" fmla="*/ 2074689 h 5292022"/>
              <a:gd name="connsiteX57" fmla="*/ 893287 w 10655908"/>
              <a:gd name="connsiteY57" fmla="*/ 2032356 h 5292022"/>
              <a:gd name="connsiteX58" fmla="*/ 596954 w 10655908"/>
              <a:gd name="connsiteY58" fmla="*/ 1922289 h 5292022"/>
              <a:gd name="connsiteX59" fmla="*/ 333641 w 10655908"/>
              <a:gd name="connsiteY59" fmla="*/ 1676756 h 5292022"/>
              <a:gd name="connsiteX60" fmla="*/ 224421 w 10655908"/>
              <a:gd name="connsiteY60" fmla="*/ 1219556 h 5292022"/>
              <a:gd name="connsiteX61" fmla="*/ 224421 w 10655908"/>
              <a:gd name="connsiteY61" fmla="*/ 847022 h 5292022"/>
              <a:gd name="connsiteX62" fmla="*/ 215954 w 10655908"/>
              <a:gd name="connsiteY62" fmla="*/ 703089 h 5292022"/>
              <a:gd name="connsiteX63" fmla="*/ 88954 w 10655908"/>
              <a:gd name="connsiteY63" fmla="*/ 559156 h 5292022"/>
              <a:gd name="connsiteX0" fmla="*/ 88954 w 10655908"/>
              <a:gd name="connsiteY0" fmla="*/ 501531 h 5234397"/>
              <a:gd name="connsiteX1" fmla="*/ 0 w 10655908"/>
              <a:gd name="connsiteY1" fmla="*/ 341451 h 5234397"/>
              <a:gd name="connsiteX2" fmla="*/ 38154 w 10655908"/>
              <a:gd name="connsiteY2" fmla="*/ 188264 h 5234397"/>
              <a:gd name="connsiteX3" fmla="*/ 88954 w 10655908"/>
              <a:gd name="connsiteY3" fmla="*/ 120531 h 5234397"/>
              <a:gd name="connsiteX4" fmla="*/ 182087 w 10655908"/>
              <a:gd name="connsiteY4" fmla="*/ 35864 h 5234397"/>
              <a:gd name="connsiteX5" fmla="*/ 314591 w 10655908"/>
              <a:gd name="connsiteY5" fmla="*/ 727 h 5234397"/>
              <a:gd name="connsiteX6" fmla="*/ 414093 w 10655908"/>
              <a:gd name="connsiteY6" fmla="*/ 12446 h 5234397"/>
              <a:gd name="connsiteX7" fmla="*/ 471878 w 10655908"/>
              <a:gd name="connsiteY7" fmla="*/ 16622 h 5234397"/>
              <a:gd name="connsiteX8" fmla="*/ 1215021 w 10655908"/>
              <a:gd name="connsiteY8" fmla="*/ 1997 h 5234397"/>
              <a:gd name="connsiteX9" fmla="*/ 1316621 w 10655908"/>
              <a:gd name="connsiteY9" fmla="*/ 78197 h 5234397"/>
              <a:gd name="connsiteX10" fmla="*/ 1401287 w 10655908"/>
              <a:gd name="connsiteY10" fmla="*/ 188264 h 5234397"/>
              <a:gd name="connsiteX11" fmla="*/ 1460554 w 10655908"/>
              <a:gd name="connsiteY11" fmla="*/ 255997 h 5234397"/>
              <a:gd name="connsiteX12" fmla="*/ 1511354 w 10655908"/>
              <a:gd name="connsiteY12" fmla="*/ 289864 h 5234397"/>
              <a:gd name="connsiteX13" fmla="*/ 1663754 w 10655908"/>
              <a:gd name="connsiteY13" fmla="*/ 349131 h 5234397"/>
              <a:gd name="connsiteX14" fmla="*/ 1739954 w 10655908"/>
              <a:gd name="connsiteY14" fmla="*/ 366064 h 5234397"/>
              <a:gd name="connsiteX15" fmla="*/ 2383421 w 10655908"/>
              <a:gd name="connsiteY15" fmla="*/ 298331 h 5234397"/>
              <a:gd name="connsiteX16" fmla="*/ 3378099 w 10655908"/>
              <a:gd name="connsiteY16" fmla="*/ 14697 h 5234397"/>
              <a:gd name="connsiteX17" fmla="*/ 4508554 w 10655908"/>
              <a:gd name="connsiteY17" fmla="*/ 213664 h 5234397"/>
              <a:gd name="connsiteX18" fmla="*/ 5609991 w 10655908"/>
              <a:gd name="connsiteY18" fmla="*/ 1092273 h 5234397"/>
              <a:gd name="connsiteX19" fmla="*/ 6860671 w 10655908"/>
              <a:gd name="connsiteY19" fmla="*/ 1308827 h 5234397"/>
              <a:gd name="connsiteX20" fmla="*/ 7818213 w 10655908"/>
              <a:gd name="connsiteY20" fmla="*/ 1126371 h 5234397"/>
              <a:gd name="connsiteX21" fmla="*/ 8631821 w 10655908"/>
              <a:gd name="connsiteY21" fmla="*/ 620064 h 5234397"/>
              <a:gd name="connsiteX22" fmla="*/ 9668987 w 10655908"/>
              <a:gd name="connsiteY22" fmla="*/ 469357 h 5234397"/>
              <a:gd name="connsiteX23" fmla="*/ 10367487 w 10655908"/>
              <a:gd name="connsiteY23" fmla="*/ 831731 h 5234397"/>
              <a:gd name="connsiteX24" fmla="*/ 10562221 w 10655908"/>
              <a:gd name="connsiteY24" fmla="*/ 1390531 h 5234397"/>
              <a:gd name="connsiteX25" fmla="*/ 10655354 w 10655908"/>
              <a:gd name="connsiteY25" fmla="*/ 1796931 h 5234397"/>
              <a:gd name="connsiteX26" fmla="*/ 10587621 w 10655908"/>
              <a:gd name="connsiteY26" fmla="*/ 2194864 h 5234397"/>
              <a:gd name="connsiteX27" fmla="*/ 10342087 w 10655908"/>
              <a:gd name="connsiteY27" fmla="*/ 2855264 h 5234397"/>
              <a:gd name="connsiteX28" fmla="*/ 9927221 w 10655908"/>
              <a:gd name="connsiteY28" fmla="*/ 3278597 h 5234397"/>
              <a:gd name="connsiteX29" fmla="*/ 9046687 w 10655908"/>
              <a:gd name="connsiteY29" fmla="*/ 3803531 h 5234397"/>
              <a:gd name="connsiteX30" fmla="*/ 8349881 w 10655908"/>
              <a:gd name="connsiteY30" fmla="*/ 4029591 h 5234397"/>
              <a:gd name="connsiteX31" fmla="*/ 7946021 w 10655908"/>
              <a:gd name="connsiteY31" fmla="*/ 4176064 h 5234397"/>
              <a:gd name="connsiteX32" fmla="*/ 7353354 w 10655908"/>
              <a:gd name="connsiteY32" fmla="*/ 4599397 h 5234397"/>
              <a:gd name="connsiteX33" fmla="*/ 7353354 w 10655908"/>
              <a:gd name="connsiteY33" fmla="*/ 4599397 h 5234397"/>
              <a:gd name="connsiteX34" fmla="*/ 7200954 w 10655908"/>
              <a:gd name="connsiteY34" fmla="*/ 4717931 h 5234397"/>
              <a:gd name="connsiteX35" fmla="*/ 7006221 w 10655908"/>
              <a:gd name="connsiteY35" fmla="*/ 4844931 h 5234397"/>
              <a:gd name="connsiteX36" fmla="*/ 6625221 w 10655908"/>
              <a:gd name="connsiteY36" fmla="*/ 5048131 h 5234397"/>
              <a:gd name="connsiteX37" fmla="*/ 6176487 w 10655908"/>
              <a:gd name="connsiteY37" fmla="*/ 5208997 h 5234397"/>
              <a:gd name="connsiteX38" fmla="*/ 5897087 w 10655908"/>
              <a:gd name="connsiteY38" fmla="*/ 5234397 h 5234397"/>
              <a:gd name="connsiteX39" fmla="*/ 5727754 w 10655908"/>
              <a:gd name="connsiteY39" fmla="*/ 5225931 h 5234397"/>
              <a:gd name="connsiteX40" fmla="*/ 5262087 w 10655908"/>
              <a:gd name="connsiteY40" fmla="*/ 5115864 h 5234397"/>
              <a:gd name="connsiteX41" fmla="*/ 4938661 w 10655908"/>
              <a:gd name="connsiteY41" fmla="*/ 4930444 h 5234397"/>
              <a:gd name="connsiteX42" fmla="*/ 4666034 w 10655908"/>
              <a:gd name="connsiteY42" fmla="*/ 4730631 h 5234397"/>
              <a:gd name="connsiteX43" fmla="*/ 3956527 w 10655908"/>
              <a:gd name="connsiteY43" fmla="*/ 4412919 h 5234397"/>
              <a:gd name="connsiteX44" fmla="*/ 3720731 w 10655908"/>
              <a:gd name="connsiteY44" fmla="*/ 4096477 h 5234397"/>
              <a:gd name="connsiteX45" fmla="*/ 3541237 w 10655908"/>
              <a:gd name="connsiteY45" fmla="*/ 3349294 h 5234397"/>
              <a:gd name="connsiteX46" fmla="*/ 3052287 w 10655908"/>
              <a:gd name="connsiteY46" fmla="*/ 2952631 h 5234397"/>
              <a:gd name="connsiteX47" fmla="*/ 2950687 w 10655908"/>
              <a:gd name="connsiteY47" fmla="*/ 2685931 h 5234397"/>
              <a:gd name="connsiteX48" fmla="*/ 2976087 w 10655908"/>
              <a:gd name="connsiteY48" fmla="*/ 2474264 h 5234397"/>
              <a:gd name="connsiteX49" fmla="*/ 2993021 w 10655908"/>
              <a:gd name="connsiteY49" fmla="*/ 2372664 h 5234397"/>
              <a:gd name="connsiteX50" fmla="*/ 2967621 w 10655908"/>
              <a:gd name="connsiteY50" fmla="*/ 2203331 h 5234397"/>
              <a:gd name="connsiteX51" fmla="*/ 2781354 w 10655908"/>
              <a:gd name="connsiteY51" fmla="*/ 1949331 h 5234397"/>
              <a:gd name="connsiteX52" fmla="*/ 2620487 w 10655908"/>
              <a:gd name="connsiteY52" fmla="*/ 1805397 h 5234397"/>
              <a:gd name="connsiteX53" fmla="*/ 2425754 w 10655908"/>
              <a:gd name="connsiteY53" fmla="*/ 1754597 h 5234397"/>
              <a:gd name="connsiteX54" fmla="*/ 2146354 w 10655908"/>
              <a:gd name="connsiteY54" fmla="*/ 1822331 h 5234397"/>
              <a:gd name="connsiteX55" fmla="*/ 1638354 w 10655908"/>
              <a:gd name="connsiteY55" fmla="*/ 2017064 h 5234397"/>
              <a:gd name="connsiteX56" fmla="*/ 893287 w 10655908"/>
              <a:gd name="connsiteY56" fmla="*/ 1974731 h 5234397"/>
              <a:gd name="connsiteX57" fmla="*/ 596954 w 10655908"/>
              <a:gd name="connsiteY57" fmla="*/ 1864664 h 5234397"/>
              <a:gd name="connsiteX58" fmla="*/ 333641 w 10655908"/>
              <a:gd name="connsiteY58" fmla="*/ 1619131 h 5234397"/>
              <a:gd name="connsiteX59" fmla="*/ 224421 w 10655908"/>
              <a:gd name="connsiteY59" fmla="*/ 1161931 h 5234397"/>
              <a:gd name="connsiteX60" fmla="*/ 224421 w 10655908"/>
              <a:gd name="connsiteY60" fmla="*/ 789397 h 5234397"/>
              <a:gd name="connsiteX61" fmla="*/ 215954 w 10655908"/>
              <a:gd name="connsiteY61" fmla="*/ 645464 h 5234397"/>
              <a:gd name="connsiteX62" fmla="*/ 88954 w 10655908"/>
              <a:gd name="connsiteY62" fmla="*/ 501531 h 5234397"/>
              <a:gd name="connsiteX0" fmla="*/ 88954 w 10655908"/>
              <a:gd name="connsiteY0" fmla="*/ 501531 h 5234397"/>
              <a:gd name="connsiteX1" fmla="*/ 0 w 10655908"/>
              <a:gd name="connsiteY1" fmla="*/ 341451 h 5234397"/>
              <a:gd name="connsiteX2" fmla="*/ 38154 w 10655908"/>
              <a:gd name="connsiteY2" fmla="*/ 188264 h 5234397"/>
              <a:gd name="connsiteX3" fmla="*/ 88954 w 10655908"/>
              <a:gd name="connsiteY3" fmla="*/ 120531 h 5234397"/>
              <a:gd name="connsiteX4" fmla="*/ 182087 w 10655908"/>
              <a:gd name="connsiteY4" fmla="*/ 35864 h 5234397"/>
              <a:gd name="connsiteX5" fmla="*/ 314591 w 10655908"/>
              <a:gd name="connsiteY5" fmla="*/ 727 h 5234397"/>
              <a:gd name="connsiteX6" fmla="*/ 414093 w 10655908"/>
              <a:gd name="connsiteY6" fmla="*/ 12446 h 5234397"/>
              <a:gd name="connsiteX7" fmla="*/ 471878 w 10655908"/>
              <a:gd name="connsiteY7" fmla="*/ 16622 h 5234397"/>
              <a:gd name="connsiteX8" fmla="*/ 1316621 w 10655908"/>
              <a:gd name="connsiteY8" fmla="*/ 78197 h 5234397"/>
              <a:gd name="connsiteX9" fmla="*/ 1401287 w 10655908"/>
              <a:gd name="connsiteY9" fmla="*/ 188264 h 5234397"/>
              <a:gd name="connsiteX10" fmla="*/ 1460554 w 10655908"/>
              <a:gd name="connsiteY10" fmla="*/ 255997 h 5234397"/>
              <a:gd name="connsiteX11" fmla="*/ 1511354 w 10655908"/>
              <a:gd name="connsiteY11" fmla="*/ 289864 h 5234397"/>
              <a:gd name="connsiteX12" fmla="*/ 1663754 w 10655908"/>
              <a:gd name="connsiteY12" fmla="*/ 349131 h 5234397"/>
              <a:gd name="connsiteX13" fmla="*/ 1739954 w 10655908"/>
              <a:gd name="connsiteY13" fmla="*/ 366064 h 5234397"/>
              <a:gd name="connsiteX14" fmla="*/ 2383421 w 10655908"/>
              <a:gd name="connsiteY14" fmla="*/ 298331 h 5234397"/>
              <a:gd name="connsiteX15" fmla="*/ 3378099 w 10655908"/>
              <a:gd name="connsiteY15" fmla="*/ 14697 h 5234397"/>
              <a:gd name="connsiteX16" fmla="*/ 4508554 w 10655908"/>
              <a:gd name="connsiteY16" fmla="*/ 213664 h 5234397"/>
              <a:gd name="connsiteX17" fmla="*/ 5609991 w 10655908"/>
              <a:gd name="connsiteY17" fmla="*/ 1092273 h 5234397"/>
              <a:gd name="connsiteX18" fmla="*/ 6860671 w 10655908"/>
              <a:gd name="connsiteY18" fmla="*/ 1308827 h 5234397"/>
              <a:gd name="connsiteX19" fmla="*/ 7818213 w 10655908"/>
              <a:gd name="connsiteY19" fmla="*/ 1126371 h 5234397"/>
              <a:gd name="connsiteX20" fmla="*/ 8631821 w 10655908"/>
              <a:gd name="connsiteY20" fmla="*/ 620064 h 5234397"/>
              <a:gd name="connsiteX21" fmla="*/ 9668987 w 10655908"/>
              <a:gd name="connsiteY21" fmla="*/ 469357 h 5234397"/>
              <a:gd name="connsiteX22" fmla="*/ 10367487 w 10655908"/>
              <a:gd name="connsiteY22" fmla="*/ 831731 h 5234397"/>
              <a:gd name="connsiteX23" fmla="*/ 10562221 w 10655908"/>
              <a:gd name="connsiteY23" fmla="*/ 1390531 h 5234397"/>
              <a:gd name="connsiteX24" fmla="*/ 10655354 w 10655908"/>
              <a:gd name="connsiteY24" fmla="*/ 1796931 h 5234397"/>
              <a:gd name="connsiteX25" fmla="*/ 10587621 w 10655908"/>
              <a:gd name="connsiteY25" fmla="*/ 2194864 h 5234397"/>
              <a:gd name="connsiteX26" fmla="*/ 10342087 w 10655908"/>
              <a:gd name="connsiteY26" fmla="*/ 2855264 h 5234397"/>
              <a:gd name="connsiteX27" fmla="*/ 9927221 w 10655908"/>
              <a:gd name="connsiteY27" fmla="*/ 3278597 h 5234397"/>
              <a:gd name="connsiteX28" fmla="*/ 9046687 w 10655908"/>
              <a:gd name="connsiteY28" fmla="*/ 3803531 h 5234397"/>
              <a:gd name="connsiteX29" fmla="*/ 8349881 w 10655908"/>
              <a:gd name="connsiteY29" fmla="*/ 4029591 h 5234397"/>
              <a:gd name="connsiteX30" fmla="*/ 7946021 w 10655908"/>
              <a:gd name="connsiteY30" fmla="*/ 4176064 h 5234397"/>
              <a:gd name="connsiteX31" fmla="*/ 7353354 w 10655908"/>
              <a:gd name="connsiteY31" fmla="*/ 4599397 h 5234397"/>
              <a:gd name="connsiteX32" fmla="*/ 7353354 w 10655908"/>
              <a:gd name="connsiteY32" fmla="*/ 4599397 h 5234397"/>
              <a:gd name="connsiteX33" fmla="*/ 7200954 w 10655908"/>
              <a:gd name="connsiteY33" fmla="*/ 4717931 h 5234397"/>
              <a:gd name="connsiteX34" fmla="*/ 7006221 w 10655908"/>
              <a:gd name="connsiteY34" fmla="*/ 4844931 h 5234397"/>
              <a:gd name="connsiteX35" fmla="*/ 6625221 w 10655908"/>
              <a:gd name="connsiteY35" fmla="*/ 5048131 h 5234397"/>
              <a:gd name="connsiteX36" fmla="*/ 6176487 w 10655908"/>
              <a:gd name="connsiteY36" fmla="*/ 5208997 h 5234397"/>
              <a:gd name="connsiteX37" fmla="*/ 5897087 w 10655908"/>
              <a:gd name="connsiteY37" fmla="*/ 5234397 h 5234397"/>
              <a:gd name="connsiteX38" fmla="*/ 5727754 w 10655908"/>
              <a:gd name="connsiteY38" fmla="*/ 5225931 h 5234397"/>
              <a:gd name="connsiteX39" fmla="*/ 5262087 w 10655908"/>
              <a:gd name="connsiteY39" fmla="*/ 5115864 h 5234397"/>
              <a:gd name="connsiteX40" fmla="*/ 4938661 w 10655908"/>
              <a:gd name="connsiteY40" fmla="*/ 4930444 h 5234397"/>
              <a:gd name="connsiteX41" fmla="*/ 4666034 w 10655908"/>
              <a:gd name="connsiteY41" fmla="*/ 4730631 h 5234397"/>
              <a:gd name="connsiteX42" fmla="*/ 3956527 w 10655908"/>
              <a:gd name="connsiteY42" fmla="*/ 4412919 h 5234397"/>
              <a:gd name="connsiteX43" fmla="*/ 3720731 w 10655908"/>
              <a:gd name="connsiteY43" fmla="*/ 4096477 h 5234397"/>
              <a:gd name="connsiteX44" fmla="*/ 3541237 w 10655908"/>
              <a:gd name="connsiteY44" fmla="*/ 3349294 h 5234397"/>
              <a:gd name="connsiteX45" fmla="*/ 3052287 w 10655908"/>
              <a:gd name="connsiteY45" fmla="*/ 2952631 h 5234397"/>
              <a:gd name="connsiteX46" fmla="*/ 2950687 w 10655908"/>
              <a:gd name="connsiteY46" fmla="*/ 2685931 h 5234397"/>
              <a:gd name="connsiteX47" fmla="*/ 2976087 w 10655908"/>
              <a:gd name="connsiteY47" fmla="*/ 2474264 h 5234397"/>
              <a:gd name="connsiteX48" fmla="*/ 2993021 w 10655908"/>
              <a:gd name="connsiteY48" fmla="*/ 2372664 h 5234397"/>
              <a:gd name="connsiteX49" fmla="*/ 2967621 w 10655908"/>
              <a:gd name="connsiteY49" fmla="*/ 2203331 h 5234397"/>
              <a:gd name="connsiteX50" fmla="*/ 2781354 w 10655908"/>
              <a:gd name="connsiteY50" fmla="*/ 1949331 h 5234397"/>
              <a:gd name="connsiteX51" fmla="*/ 2620487 w 10655908"/>
              <a:gd name="connsiteY51" fmla="*/ 1805397 h 5234397"/>
              <a:gd name="connsiteX52" fmla="*/ 2425754 w 10655908"/>
              <a:gd name="connsiteY52" fmla="*/ 1754597 h 5234397"/>
              <a:gd name="connsiteX53" fmla="*/ 2146354 w 10655908"/>
              <a:gd name="connsiteY53" fmla="*/ 1822331 h 5234397"/>
              <a:gd name="connsiteX54" fmla="*/ 1638354 w 10655908"/>
              <a:gd name="connsiteY54" fmla="*/ 2017064 h 5234397"/>
              <a:gd name="connsiteX55" fmla="*/ 893287 w 10655908"/>
              <a:gd name="connsiteY55" fmla="*/ 1974731 h 5234397"/>
              <a:gd name="connsiteX56" fmla="*/ 596954 w 10655908"/>
              <a:gd name="connsiteY56" fmla="*/ 1864664 h 5234397"/>
              <a:gd name="connsiteX57" fmla="*/ 333641 w 10655908"/>
              <a:gd name="connsiteY57" fmla="*/ 1619131 h 5234397"/>
              <a:gd name="connsiteX58" fmla="*/ 224421 w 10655908"/>
              <a:gd name="connsiteY58" fmla="*/ 1161931 h 5234397"/>
              <a:gd name="connsiteX59" fmla="*/ 224421 w 10655908"/>
              <a:gd name="connsiteY59" fmla="*/ 789397 h 5234397"/>
              <a:gd name="connsiteX60" fmla="*/ 215954 w 10655908"/>
              <a:gd name="connsiteY60" fmla="*/ 645464 h 5234397"/>
              <a:gd name="connsiteX61" fmla="*/ 88954 w 10655908"/>
              <a:gd name="connsiteY61" fmla="*/ 501531 h 5234397"/>
              <a:gd name="connsiteX0" fmla="*/ 88954 w 10655908"/>
              <a:gd name="connsiteY0" fmla="*/ 501531 h 5234397"/>
              <a:gd name="connsiteX1" fmla="*/ 0 w 10655908"/>
              <a:gd name="connsiteY1" fmla="*/ 341451 h 5234397"/>
              <a:gd name="connsiteX2" fmla="*/ 38154 w 10655908"/>
              <a:gd name="connsiteY2" fmla="*/ 188264 h 5234397"/>
              <a:gd name="connsiteX3" fmla="*/ 88954 w 10655908"/>
              <a:gd name="connsiteY3" fmla="*/ 120531 h 5234397"/>
              <a:gd name="connsiteX4" fmla="*/ 182087 w 10655908"/>
              <a:gd name="connsiteY4" fmla="*/ 35864 h 5234397"/>
              <a:gd name="connsiteX5" fmla="*/ 314591 w 10655908"/>
              <a:gd name="connsiteY5" fmla="*/ 727 h 5234397"/>
              <a:gd name="connsiteX6" fmla="*/ 414093 w 10655908"/>
              <a:gd name="connsiteY6" fmla="*/ 12446 h 5234397"/>
              <a:gd name="connsiteX7" fmla="*/ 471878 w 10655908"/>
              <a:gd name="connsiteY7" fmla="*/ 16622 h 5234397"/>
              <a:gd name="connsiteX8" fmla="*/ 1401287 w 10655908"/>
              <a:gd name="connsiteY8" fmla="*/ 188264 h 5234397"/>
              <a:gd name="connsiteX9" fmla="*/ 1460554 w 10655908"/>
              <a:gd name="connsiteY9" fmla="*/ 255997 h 5234397"/>
              <a:gd name="connsiteX10" fmla="*/ 1511354 w 10655908"/>
              <a:gd name="connsiteY10" fmla="*/ 289864 h 5234397"/>
              <a:gd name="connsiteX11" fmla="*/ 1663754 w 10655908"/>
              <a:gd name="connsiteY11" fmla="*/ 349131 h 5234397"/>
              <a:gd name="connsiteX12" fmla="*/ 1739954 w 10655908"/>
              <a:gd name="connsiteY12" fmla="*/ 366064 h 5234397"/>
              <a:gd name="connsiteX13" fmla="*/ 2383421 w 10655908"/>
              <a:gd name="connsiteY13" fmla="*/ 298331 h 5234397"/>
              <a:gd name="connsiteX14" fmla="*/ 3378099 w 10655908"/>
              <a:gd name="connsiteY14" fmla="*/ 14697 h 5234397"/>
              <a:gd name="connsiteX15" fmla="*/ 4508554 w 10655908"/>
              <a:gd name="connsiteY15" fmla="*/ 213664 h 5234397"/>
              <a:gd name="connsiteX16" fmla="*/ 5609991 w 10655908"/>
              <a:gd name="connsiteY16" fmla="*/ 1092273 h 5234397"/>
              <a:gd name="connsiteX17" fmla="*/ 6860671 w 10655908"/>
              <a:gd name="connsiteY17" fmla="*/ 1308827 h 5234397"/>
              <a:gd name="connsiteX18" fmla="*/ 7818213 w 10655908"/>
              <a:gd name="connsiteY18" fmla="*/ 1126371 h 5234397"/>
              <a:gd name="connsiteX19" fmla="*/ 8631821 w 10655908"/>
              <a:gd name="connsiteY19" fmla="*/ 620064 h 5234397"/>
              <a:gd name="connsiteX20" fmla="*/ 9668987 w 10655908"/>
              <a:gd name="connsiteY20" fmla="*/ 469357 h 5234397"/>
              <a:gd name="connsiteX21" fmla="*/ 10367487 w 10655908"/>
              <a:gd name="connsiteY21" fmla="*/ 831731 h 5234397"/>
              <a:gd name="connsiteX22" fmla="*/ 10562221 w 10655908"/>
              <a:gd name="connsiteY22" fmla="*/ 1390531 h 5234397"/>
              <a:gd name="connsiteX23" fmla="*/ 10655354 w 10655908"/>
              <a:gd name="connsiteY23" fmla="*/ 1796931 h 5234397"/>
              <a:gd name="connsiteX24" fmla="*/ 10587621 w 10655908"/>
              <a:gd name="connsiteY24" fmla="*/ 2194864 h 5234397"/>
              <a:gd name="connsiteX25" fmla="*/ 10342087 w 10655908"/>
              <a:gd name="connsiteY25" fmla="*/ 2855264 h 5234397"/>
              <a:gd name="connsiteX26" fmla="*/ 9927221 w 10655908"/>
              <a:gd name="connsiteY26" fmla="*/ 3278597 h 5234397"/>
              <a:gd name="connsiteX27" fmla="*/ 9046687 w 10655908"/>
              <a:gd name="connsiteY27" fmla="*/ 3803531 h 5234397"/>
              <a:gd name="connsiteX28" fmla="*/ 8349881 w 10655908"/>
              <a:gd name="connsiteY28" fmla="*/ 4029591 h 5234397"/>
              <a:gd name="connsiteX29" fmla="*/ 7946021 w 10655908"/>
              <a:gd name="connsiteY29" fmla="*/ 4176064 h 5234397"/>
              <a:gd name="connsiteX30" fmla="*/ 7353354 w 10655908"/>
              <a:gd name="connsiteY30" fmla="*/ 4599397 h 5234397"/>
              <a:gd name="connsiteX31" fmla="*/ 7353354 w 10655908"/>
              <a:gd name="connsiteY31" fmla="*/ 4599397 h 5234397"/>
              <a:gd name="connsiteX32" fmla="*/ 7200954 w 10655908"/>
              <a:gd name="connsiteY32" fmla="*/ 4717931 h 5234397"/>
              <a:gd name="connsiteX33" fmla="*/ 7006221 w 10655908"/>
              <a:gd name="connsiteY33" fmla="*/ 4844931 h 5234397"/>
              <a:gd name="connsiteX34" fmla="*/ 6625221 w 10655908"/>
              <a:gd name="connsiteY34" fmla="*/ 5048131 h 5234397"/>
              <a:gd name="connsiteX35" fmla="*/ 6176487 w 10655908"/>
              <a:gd name="connsiteY35" fmla="*/ 5208997 h 5234397"/>
              <a:gd name="connsiteX36" fmla="*/ 5897087 w 10655908"/>
              <a:gd name="connsiteY36" fmla="*/ 5234397 h 5234397"/>
              <a:gd name="connsiteX37" fmla="*/ 5727754 w 10655908"/>
              <a:gd name="connsiteY37" fmla="*/ 5225931 h 5234397"/>
              <a:gd name="connsiteX38" fmla="*/ 5262087 w 10655908"/>
              <a:gd name="connsiteY38" fmla="*/ 5115864 h 5234397"/>
              <a:gd name="connsiteX39" fmla="*/ 4938661 w 10655908"/>
              <a:gd name="connsiteY39" fmla="*/ 4930444 h 5234397"/>
              <a:gd name="connsiteX40" fmla="*/ 4666034 w 10655908"/>
              <a:gd name="connsiteY40" fmla="*/ 4730631 h 5234397"/>
              <a:gd name="connsiteX41" fmla="*/ 3956527 w 10655908"/>
              <a:gd name="connsiteY41" fmla="*/ 4412919 h 5234397"/>
              <a:gd name="connsiteX42" fmla="*/ 3720731 w 10655908"/>
              <a:gd name="connsiteY42" fmla="*/ 4096477 h 5234397"/>
              <a:gd name="connsiteX43" fmla="*/ 3541237 w 10655908"/>
              <a:gd name="connsiteY43" fmla="*/ 3349294 h 5234397"/>
              <a:gd name="connsiteX44" fmla="*/ 3052287 w 10655908"/>
              <a:gd name="connsiteY44" fmla="*/ 2952631 h 5234397"/>
              <a:gd name="connsiteX45" fmla="*/ 2950687 w 10655908"/>
              <a:gd name="connsiteY45" fmla="*/ 2685931 h 5234397"/>
              <a:gd name="connsiteX46" fmla="*/ 2976087 w 10655908"/>
              <a:gd name="connsiteY46" fmla="*/ 2474264 h 5234397"/>
              <a:gd name="connsiteX47" fmla="*/ 2993021 w 10655908"/>
              <a:gd name="connsiteY47" fmla="*/ 2372664 h 5234397"/>
              <a:gd name="connsiteX48" fmla="*/ 2967621 w 10655908"/>
              <a:gd name="connsiteY48" fmla="*/ 2203331 h 5234397"/>
              <a:gd name="connsiteX49" fmla="*/ 2781354 w 10655908"/>
              <a:gd name="connsiteY49" fmla="*/ 1949331 h 5234397"/>
              <a:gd name="connsiteX50" fmla="*/ 2620487 w 10655908"/>
              <a:gd name="connsiteY50" fmla="*/ 1805397 h 5234397"/>
              <a:gd name="connsiteX51" fmla="*/ 2425754 w 10655908"/>
              <a:gd name="connsiteY51" fmla="*/ 1754597 h 5234397"/>
              <a:gd name="connsiteX52" fmla="*/ 2146354 w 10655908"/>
              <a:gd name="connsiteY52" fmla="*/ 1822331 h 5234397"/>
              <a:gd name="connsiteX53" fmla="*/ 1638354 w 10655908"/>
              <a:gd name="connsiteY53" fmla="*/ 2017064 h 5234397"/>
              <a:gd name="connsiteX54" fmla="*/ 893287 w 10655908"/>
              <a:gd name="connsiteY54" fmla="*/ 1974731 h 5234397"/>
              <a:gd name="connsiteX55" fmla="*/ 596954 w 10655908"/>
              <a:gd name="connsiteY55" fmla="*/ 1864664 h 5234397"/>
              <a:gd name="connsiteX56" fmla="*/ 333641 w 10655908"/>
              <a:gd name="connsiteY56" fmla="*/ 1619131 h 5234397"/>
              <a:gd name="connsiteX57" fmla="*/ 224421 w 10655908"/>
              <a:gd name="connsiteY57" fmla="*/ 1161931 h 5234397"/>
              <a:gd name="connsiteX58" fmla="*/ 224421 w 10655908"/>
              <a:gd name="connsiteY58" fmla="*/ 789397 h 5234397"/>
              <a:gd name="connsiteX59" fmla="*/ 215954 w 10655908"/>
              <a:gd name="connsiteY59" fmla="*/ 645464 h 5234397"/>
              <a:gd name="connsiteX60" fmla="*/ 88954 w 10655908"/>
              <a:gd name="connsiteY60" fmla="*/ 501531 h 5234397"/>
              <a:gd name="connsiteX0" fmla="*/ 88954 w 10655908"/>
              <a:gd name="connsiteY0" fmla="*/ 501739 h 5234605"/>
              <a:gd name="connsiteX1" fmla="*/ 0 w 10655908"/>
              <a:gd name="connsiteY1" fmla="*/ 341659 h 5234605"/>
              <a:gd name="connsiteX2" fmla="*/ 38154 w 10655908"/>
              <a:gd name="connsiteY2" fmla="*/ 188472 h 5234605"/>
              <a:gd name="connsiteX3" fmla="*/ 88954 w 10655908"/>
              <a:gd name="connsiteY3" fmla="*/ 120739 h 5234605"/>
              <a:gd name="connsiteX4" fmla="*/ 182087 w 10655908"/>
              <a:gd name="connsiteY4" fmla="*/ 36072 h 5234605"/>
              <a:gd name="connsiteX5" fmla="*/ 314591 w 10655908"/>
              <a:gd name="connsiteY5" fmla="*/ 935 h 5234605"/>
              <a:gd name="connsiteX6" fmla="*/ 414093 w 10655908"/>
              <a:gd name="connsiteY6" fmla="*/ 12654 h 5234605"/>
              <a:gd name="connsiteX7" fmla="*/ 857958 w 10655908"/>
              <a:gd name="connsiteY7" fmla="*/ 39690 h 5234605"/>
              <a:gd name="connsiteX8" fmla="*/ 1401287 w 10655908"/>
              <a:gd name="connsiteY8" fmla="*/ 188472 h 5234605"/>
              <a:gd name="connsiteX9" fmla="*/ 1460554 w 10655908"/>
              <a:gd name="connsiteY9" fmla="*/ 256205 h 5234605"/>
              <a:gd name="connsiteX10" fmla="*/ 1511354 w 10655908"/>
              <a:gd name="connsiteY10" fmla="*/ 290072 h 5234605"/>
              <a:gd name="connsiteX11" fmla="*/ 1663754 w 10655908"/>
              <a:gd name="connsiteY11" fmla="*/ 349339 h 5234605"/>
              <a:gd name="connsiteX12" fmla="*/ 1739954 w 10655908"/>
              <a:gd name="connsiteY12" fmla="*/ 366272 h 5234605"/>
              <a:gd name="connsiteX13" fmla="*/ 2383421 w 10655908"/>
              <a:gd name="connsiteY13" fmla="*/ 298539 h 5234605"/>
              <a:gd name="connsiteX14" fmla="*/ 3378099 w 10655908"/>
              <a:gd name="connsiteY14" fmla="*/ 14905 h 5234605"/>
              <a:gd name="connsiteX15" fmla="*/ 4508554 w 10655908"/>
              <a:gd name="connsiteY15" fmla="*/ 213872 h 5234605"/>
              <a:gd name="connsiteX16" fmla="*/ 5609991 w 10655908"/>
              <a:gd name="connsiteY16" fmla="*/ 1092481 h 5234605"/>
              <a:gd name="connsiteX17" fmla="*/ 6860671 w 10655908"/>
              <a:gd name="connsiteY17" fmla="*/ 1309035 h 5234605"/>
              <a:gd name="connsiteX18" fmla="*/ 7818213 w 10655908"/>
              <a:gd name="connsiteY18" fmla="*/ 1126579 h 5234605"/>
              <a:gd name="connsiteX19" fmla="*/ 8631821 w 10655908"/>
              <a:gd name="connsiteY19" fmla="*/ 620272 h 5234605"/>
              <a:gd name="connsiteX20" fmla="*/ 9668987 w 10655908"/>
              <a:gd name="connsiteY20" fmla="*/ 469565 h 5234605"/>
              <a:gd name="connsiteX21" fmla="*/ 10367487 w 10655908"/>
              <a:gd name="connsiteY21" fmla="*/ 831939 h 5234605"/>
              <a:gd name="connsiteX22" fmla="*/ 10562221 w 10655908"/>
              <a:gd name="connsiteY22" fmla="*/ 1390739 h 5234605"/>
              <a:gd name="connsiteX23" fmla="*/ 10655354 w 10655908"/>
              <a:gd name="connsiteY23" fmla="*/ 1797139 h 5234605"/>
              <a:gd name="connsiteX24" fmla="*/ 10587621 w 10655908"/>
              <a:gd name="connsiteY24" fmla="*/ 2195072 h 5234605"/>
              <a:gd name="connsiteX25" fmla="*/ 10342087 w 10655908"/>
              <a:gd name="connsiteY25" fmla="*/ 2855472 h 5234605"/>
              <a:gd name="connsiteX26" fmla="*/ 9927221 w 10655908"/>
              <a:gd name="connsiteY26" fmla="*/ 3278805 h 5234605"/>
              <a:gd name="connsiteX27" fmla="*/ 9046687 w 10655908"/>
              <a:gd name="connsiteY27" fmla="*/ 3803739 h 5234605"/>
              <a:gd name="connsiteX28" fmla="*/ 8349881 w 10655908"/>
              <a:gd name="connsiteY28" fmla="*/ 4029799 h 5234605"/>
              <a:gd name="connsiteX29" fmla="*/ 7946021 w 10655908"/>
              <a:gd name="connsiteY29" fmla="*/ 4176272 h 5234605"/>
              <a:gd name="connsiteX30" fmla="*/ 7353354 w 10655908"/>
              <a:gd name="connsiteY30" fmla="*/ 4599605 h 5234605"/>
              <a:gd name="connsiteX31" fmla="*/ 7353354 w 10655908"/>
              <a:gd name="connsiteY31" fmla="*/ 4599605 h 5234605"/>
              <a:gd name="connsiteX32" fmla="*/ 7200954 w 10655908"/>
              <a:gd name="connsiteY32" fmla="*/ 4718139 h 5234605"/>
              <a:gd name="connsiteX33" fmla="*/ 7006221 w 10655908"/>
              <a:gd name="connsiteY33" fmla="*/ 4845139 h 5234605"/>
              <a:gd name="connsiteX34" fmla="*/ 6625221 w 10655908"/>
              <a:gd name="connsiteY34" fmla="*/ 5048339 h 5234605"/>
              <a:gd name="connsiteX35" fmla="*/ 6176487 w 10655908"/>
              <a:gd name="connsiteY35" fmla="*/ 5209205 h 5234605"/>
              <a:gd name="connsiteX36" fmla="*/ 5897087 w 10655908"/>
              <a:gd name="connsiteY36" fmla="*/ 5234605 h 5234605"/>
              <a:gd name="connsiteX37" fmla="*/ 5727754 w 10655908"/>
              <a:gd name="connsiteY37" fmla="*/ 5226139 h 5234605"/>
              <a:gd name="connsiteX38" fmla="*/ 5262087 w 10655908"/>
              <a:gd name="connsiteY38" fmla="*/ 5116072 h 5234605"/>
              <a:gd name="connsiteX39" fmla="*/ 4938661 w 10655908"/>
              <a:gd name="connsiteY39" fmla="*/ 4930652 h 5234605"/>
              <a:gd name="connsiteX40" fmla="*/ 4666034 w 10655908"/>
              <a:gd name="connsiteY40" fmla="*/ 4730839 h 5234605"/>
              <a:gd name="connsiteX41" fmla="*/ 3956527 w 10655908"/>
              <a:gd name="connsiteY41" fmla="*/ 4413127 h 5234605"/>
              <a:gd name="connsiteX42" fmla="*/ 3720731 w 10655908"/>
              <a:gd name="connsiteY42" fmla="*/ 4096685 h 5234605"/>
              <a:gd name="connsiteX43" fmla="*/ 3541237 w 10655908"/>
              <a:gd name="connsiteY43" fmla="*/ 3349502 h 5234605"/>
              <a:gd name="connsiteX44" fmla="*/ 3052287 w 10655908"/>
              <a:gd name="connsiteY44" fmla="*/ 2952839 h 5234605"/>
              <a:gd name="connsiteX45" fmla="*/ 2950687 w 10655908"/>
              <a:gd name="connsiteY45" fmla="*/ 2686139 h 5234605"/>
              <a:gd name="connsiteX46" fmla="*/ 2976087 w 10655908"/>
              <a:gd name="connsiteY46" fmla="*/ 2474472 h 5234605"/>
              <a:gd name="connsiteX47" fmla="*/ 2993021 w 10655908"/>
              <a:gd name="connsiteY47" fmla="*/ 2372872 h 5234605"/>
              <a:gd name="connsiteX48" fmla="*/ 2967621 w 10655908"/>
              <a:gd name="connsiteY48" fmla="*/ 2203539 h 5234605"/>
              <a:gd name="connsiteX49" fmla="*/ 2781354 w 10655908"/>
              <a:gd name="connsiteY49" fmla="*/ 1949539 h 5234605"/>
              <a:gd name="connsiteX50" fmla="*/ 2620487 w 10655908"/>
              <a:gd name="connsiteY50" fmla="*/ 1805605 h 5234605"/>
              <a:gd name="connsiteX51" fmla="*/ 2425754 w 10655908"/>
              <a:gd name="connsiteY51" fmla="*/ 1754805 h 5234605"/>
              <a:gd name="connsiteX52" fmla="*/ 2146354 w 10655908"/>
              <a:gd name="connsiteY52" fmla="*/ 1822539 h 5234605"/>
              <a:gd name="connsiteX53" fmla="*/ 1638354 w 10655908"/>
              <a:gd name="connsiteY53" fmla="*/ 2017272 h 5234605"/>
              <a:gd name="connsiteX54" fmla="*/ 893287 w 10655908"/>
              <a:gd name="connsiteY54" fmla="*/ 1974939 h 5234605"/>
              <a:gd name="connsiteX55" fmla="*/ 596954 w 10655908"/>
              <a:gd name="connsiteY55" fmla="*/ 1864872 h 5234605"/>
              <a:gd name="connsiteX56" fmla="*/ 333641 w 10655908"/>
              <a:gd name="connsiteY56" fmla="*/ 1619339 h 5234605"/>
              <a:gd name="connsiteX57" fmla="*/ 224421 w 10655908"/>
              <a:gd name="connsiteY57" fmla="*/ 1162139 h 5234605"/>
              <a:gd name="connsiteX58" fmla="*/ 224421 w 10655908"/>
              <a:gd name="connsiteY58" fmla="*/ 789605 h 5234605"/>
              <a:gd name="connsiteX59" fmla="*/ 215954 w 10655908"/>
              <a:gd name="connsiteY59" fmla="*/ 645672 h 5234605"/>
              <a:gd name="connsiteX60" fmla="*/ 88954 w 10655908"/>
              <a:gd name="connsiteY60" fmla="*/ 501739 h 5234605"/>
              <a:gd name="connsiteX0" fmla="*/ 88954 w 10655908"/>
              <a:gd name="connsiteY0" fmla="*/ 518665 h 5251531"/>
              <a:gd name="connsiteX1" fmla="*/ 0 w 10655908"/>
              <a:gd name="connsiteY1" fmla="*/ 358585 h 5251531"/>
              <a:gd name="connsiteX2" fmla="*/ 38154 w 10655908"/>
              <a:gd name="connsiteY2" fmla="*/ 205398 h 5251531"/>
              <a:gd name="connsiteX3" fmla="*/ 88954 w 10655908"/>
              <a:gd name="connsiteY3" fmla="*/ 137665 h 5251531"/>
              <a:gd name="connsiteX4" fmla="*/ 182087 w 10655908"/>
              <a:gd name="connsiteY4" fmla="*/ 52998 h 5251531"/>
              <a:gd name="connsiteX5" fmla="*/ 314591 w 10655908"/>
              <a:gd name="connsiteY5" fmla="*/ 17861 h 5251531"/>
              <a:gd name="connsiteX6" fmla="*/ 431873 w 10655908"/>
              <a:gd name="connsiteY6" fmla="*/ 1640 h 5251531"/>
              <a:gd name="connsiteX7" fmla="*/ 857958 w 10655908"/>
              <a:gd name="connsiteY7" fmla="*/ 56616 h 5251531"/>
              <a:gd name="connsiteX8" fmla="*/ 1401287 w 10655908"/>
              <a:gd name="connsiteY8" fmla="*/ 205398 h 5251531"/>
              <a:gd name="connsiteX9" fmla="*/ 1460554 w 10655908"/>
              <a:gd name="connsiteY9" fmla="*/ 273131 h 5251531"/>
              <a:gd name="connsiteX10" fmla="*/ 1511354 w 10655908"/>
              <a:gd name="connsiteY10" fmla="*/ 306998 h 5251531"/>
              <a:gd name="connsiteX11" fmla="*/ 1663754 w 10655908"/>
              <a:gd name="connsiteY11" fmla="*/ 366265 h 5251531"/>
              <a:gd name="connsiteX12" fmla="*/ 1739954 w 10655908"/>
              <a:gd name="connsiteY12" fmla="*/ 383198 h 5251531"/>
              <a:gd name="connsiteX13" fmla="*/ 2383421 w 10655908"/>
              <a:gd name="connsiteY13" fmla="*/ 315465 h 5251531"/>
              <a:gd name="connsiteX14" fmla="*/ 3378099 w 10655908"/>
              <a:gd name="connsiteY14" fmla="*/ 31831 h 5251531"/>
              <a:gd name="connsiteX15" fmla="*/ 4508554 w 10655908"/>
              <a:gd name="connsiteY15" fmla="*/ 230798 h 5251531"/>
              <a:gd name="connsiteX16" fmla="*/ 5609991 w 10655908"/>
              <a:gd name="connsiteY16" fmla="*/ 1109407 h 5251531"/>
              <a:gd name="connsiteX17" fmla="*/ 6860671 w 10655908"/>
              <a:gd name="connsiteY17" fmla="*/ 1325961 h 5251531"/>
              <a:gd name="connsiteX18" fmla="*/ 7818213 w 10655908"/>
              <a:gd name="connsiteY18" fmla="*/ 1143505 h 5251531"/>
              <a:gd name="connsiteX19" fmla="*/ 8631821 w 10655908"/>
              <a:gd name="connsiteY19" fmla="*/ 637198 h 5251531"/>
              <a:gd name="connsiteX20" fmla="*/ 9668987 w 10655908"/>
              <a:gd name="connsiteY20" fmla="*/ 486491 h 5251531"/>
              <a:gd name="connsiteX21" fmla="*/ 10367487 w 10655908"/>
              <a:gd name="connsiteY21" fmla="*/ 848865 h 5251531"/>
              <a:gd name="connsiteX22" fmla="*/ 10562221 w 10655908"/>
              <a:gd name="connsiteY22" fmla="*/ 1407665 h 5251531"/>
              <a:gd name="connsiteX23" fmla="*/ 10655354 w 10655908"/>
              <a:gd name="connsiteY23" fmla="*/ 1814065 h 5251531"/>
              <a:gd name="connsiteX24" fmla="*/ 10587621 w 10655908"/>
              <a:gd name="connsiteY24" fmla="*/ 2211998 h 5251531"/>
              <a:gd name="connsiteX25" fmla="*/ 10342087 w 10655908"/>
              <a:gd name="connsiteY25" fmla="*/ 2872398 h 5251531"/>
              <a:gd name="connsiteX26" fmla="*/ 9927221 w 10655908"/>
              <a:gd name="connsiteY26" fmla="*/ 3295731 h 5251531"/>
              <a:gd name="connsiteX27" fmla="*/ 9046687 w 10655908"/>
              <a:gd name="connsiteY27" fmla="*/ 3820665 h 5251531"/>
              <a:gd name="connsiteX28" fmla="*/ 8349881 w 10655908"/>
              <a:gd name="connsiteY28" fmla="*/ 4046725 h 5251531"/>
              <a:gd name="connsiteX29" fmla="*/ 7946021 w 10655908"/>
              <a:gd name="connsiteY29" fmla="*/ 4193198 h 5251531"/>
              <a:gd name="connsiteX30" fmla="*/ 7353354 w 10655908"/>
              <a:gd name="connsiteY30" fmla="*/ 4616531 h 5251531"/>
              <a:gd name="connsiteX31" fmla="*/ 7353354 w 10655908"/>
              <a:gd name="connsiteY31" fmla="*/ 4616531 h 5251531"/>
              <a:gd name="connsiteX32" fmla="*/ 7200954 w 10655908"/>
              <a:gd name="connsiteY32" fmla="*/ 4735065 h 5251531"/>
              <a:gd name="connsiteX33" fmla="*/ 7006221 w 10655908"/>
              <a:gd name="connsiteY33" fmla="*/ 4862065 h 5251531"/>
              <a:gd name="connsiteX34" fmla="*/ 6625221 w 10655908"/>
              <a:gd name="connsiteY34" fmla="*/ 5065265 h 5251531"/>
              <a:gd name="connsiteX35" fmla="*/ 6176487 w 10655908"/>
              <a:gd name="connsiteY35" fmla="*/ 5226131 h 5251531"/>
              <a:gd name="connsiteX36" fmla="*/ 5897087 w 10655908"/>
              <a:gd name="connsiteY36" fmla="*/ 5251531 h 5251531"/>
              <a:gd name="connsiteX37" fmla="*/ 5727754 w 10655908"/>
              <a:gd name="connsiteY37" fmla="*/ 5243065 h 5251531"/>
              <a:gd name="connsiteX38" fmla="*/ 5262087 w 10655908"/>
              <a:gd name="connsiteY38" fmla="*/ 5132998 h 5251531"/>
              <a:gd name="connsiteX39" fmla="*/ 4938661 w 10655908"/>
              <a:gd name="connsiteY39" fmla="*/ 4947578 h 5251531"/>
              <a:gd name="connsiteX40" fmla="*/ 4666034 w 10655908"/>
              <a:gd name="connsiteY40" fmla="*/ 4747765 h 5251531"/>
              <a:gd name="connsiteX41" fmla="*/ 3956527 w 10655908"/>
              <a:gd name="connsiteY41" fmla="*/ 4430053 h 5251531"/>
              <a:gd name="connsiteX42" fmla="*/ 3720731 w 10655908"/>
              <a:gd name="connsiteY42" fmla="*/ 4113611 h 5251531"/>
              <a:gd name="connsiteX43" fmla="*/ 3541237 w 10655908"/>
              <a:gd name="connsiteY43" fmla="*/ 3366428 h 5251531"/>
              <a:gd name="connsiteX44" fmla="*/ 3052287 w 10655908"/>
              <a:gd name="connsiteY44" fmla="*/ 2969765 h 5251531"/>
              <a:gd name="connsiteX45" fmla="*/ 2950687 w 10655908"/>
              <a:gd name="connsiteY45" fmla="*/ 2703065 h 5251531"/>
              <a:gd name="connsiteX46" fmla="*/ 2976087 w 10655908"/>
              <a:gd name="connsiteY46" fmla="*/ 2491398 h 5251531"/>
              <a:gd name="connsiteX47" fmla="*/ 2993021 w 10655908"/>
              <a:gd name="connsiteY47" fmla="*/ 2389798 h 5251531"/>
              <a:gd name="connsiteX48" fmla="*/ 2967621 w 10655908"/>
              <a:gd name="connsiteY48" fmla="*/ 2220465 h 5251531"/>
              <a:gd name="connsiteX49" fmla="*/ 2781354 w 10655908"/>
              <a:gd name="connsiteY49" fmla="*/ 1966465 h 5251531"/>
              <a:gd name="connsiteX50" fmla="*/ 2620487 w 10655908"/>
              <a:gd name="connsiteY50" fmla="*/ 1822531 h 5251531"/>
              <a:gd name="connsiteX51" fmla="*/ 2425754 w 10655908"/>
              <a:gd name="connsiteY51" fmla="*/ 1771731 h 5251531"/>
              <a:gd name="connsiteX52" fmla="*/ 2146354 w 10655908"/>
              <a:gd name="connsiteY52" fmla="*/ 1839465 h 5251531"/>
              <a:gd name="connsiteX53" fmla="*/ 1638354 w 10655908"/>
              <a:gd name="connsiteY53" fmla="*/ 2034198 h 5251531"/>
              <a:gd name="connsiteX54" fmla="*/ 893287 w 10655908"/>
              <a:gd name="connsiteY54" fmla="*/ 1991865 h 5251531"/>
              <a:gd name="connsiteX55" fmla="*/ 596954 w 10655908"/>
              <a:gd name="connsiteY55" fmla="*/ 1881798 h 5251531"/>
              <a:gd name="connsiteX56" fmla="*/ 333641 w 10655908"/>
              <a:gd name="connsiteY56" fmla="*/ 1636265 h 5251531"/>
              <a:gd name="connsiteX57" fmla="*/ 224421 w 10655908"/>
              <a:gd name="connsiteY57" fmla="*/ 1179065 h 5251531"/>
              <a:gd name="connsiteX58" fmla="*/ 224421 w 10655908"/>
              <a:gd name="connsiteY58" fmla="*/ 806531 h 5251531"/>
              <a:gd name="connsiteX59" fmla="*/ 215954 w 10655908"/>
              <a:gd name="connsiteY59" fmla="*/ 662598 h 5251531"/>
              <a:gd name="connsiteX60" fmla="*/ 88954 w 10655908"/>
              <a:gd name="connsiteY60" fmla="*/ 518665 h 5251531"/>
              <a:gd name="connsiteX0" fmla="*/ 88954 w 10655908"/>
              <a:gd name="connsiteY0" fmla="*/ 518665 h 5251531"/>
              <a:gd name="connsiteX1" fmla="*/ 0 w 10655908"/>
              <a:gd name="connsiteY1" fmla="*/ 358585 h 5251531"/>
              <a:gd name="connsiteX2" fmla="*/ 38154 w 10655908"/>
              <a:gd name="connsiteY2" fmla="*/ 205398 h 5251531"/>
              <a:gd name="connsiteX3" fmla="*/ 88954 w 10655908"/>
              <a:gd name="connsiteY3" fmla="*/ 137665 h 5251531"/>
              <a:gd name="connsiteX4" fmla="*/ 182087 w 10655908"/>
              <a:gd name="connsiteY4" fmla="*/ 52998 h 5251531"/>
              <a:gd name="connsiteX5" fmla="*/ 314591 w 10655908"/>
              <a:gd name="connsiteY5" fmla="*/ 17861 h 5251531"/>
              <a:gd name="connsiteX6" fmla="*/ 431873 w 10655908"/>
              <a:gd name="connsiteY6" fmla="*/ 1640 h 5251531"/>
              <a:gd name="connsiteX7" fmla="*/ 857958 w 10655908"/>
              <a:gd name="connsiteY7" fmla="*/ 56616 h 5251531"/>
              <a:gd name="connsiteX8" fmla="*/ 1401287 w 10655908"/>
              <a:gd name="connsiteY8" fmla="*/ 205398 h 5251531"/>
              <a:gd name="connsiteX9" fmla="*/ 1511354 w 10655908"/>
              <a:gd name="connsiteY9" fmla="*/ 306998 h 5251531"/>
              <a:gd name="connsiteX10" fmla="*/ 1663754 w 10655908"/>
              <a:gd name="connsiteY10" fmla="*/ 366265 h 5251531"/>
              <a:gd name="connsiteX11" fmla="*/ 1739954 w 10655908"/>
              <a:gd name="connsiteY11" fmla="*/ 383198 h 5251531"/>
              <a:gd name="connsiteX12" fmla="*/ 2383421 w 10655908"/>
              <a:gd name="connsiteY12" fmla="*/ 315465 h 5251531"/>
              <a:gd name="connsiteX13" fmla="*/ 3378099 w 10655908"/>
              <a:gd name="connsiteY13" fmla="*/ 31831 h 5251531"/>
              <a:gd name="connsiteX14" fmla="*/ 4508554 w 10655908"/>
              <a:gd name="connsiteY14" fmla="*/ 230798 h 5251531"/>
              <a:gd name="connsiteX15" fmla="*/ 5609991 w 10655908"/>
              <a:gd name="connsiteY15" fmla="*/ 1109407 h 5251531"/>
              <a:gd name="connsiteX16" fmla="*/ 6860671 w 10655908"/>
              <a:gd name="connsiteY16" fmla="*/ 1325961 h 5251531"/>
              <a:gd name="connsiteX17" fmla="*/ 7818213 w 10655908"/>
              <a:gd name="connsiteY17" fmla="*/ 1143505 h 5251531"/>
              <a:gd name="connsiteX18" fmla="*/ 8631821 w 10655908"/>
              <a:gd name="connsiteY18" fmla="*/ 637198 h 5251531"/>
              <a:gd name="connsiteX19" fmla="*/ 9668987 w 10655908"/>
              <a:gd name="connsiteY19" fmla="*/ 486491 h 5251531"/>
              <a:gd name="connsiteX20" fmla="*/ 10367487 w 10655908"/>
              <a:gd name="connsiteY20" fmla="*/ 848865 h 5251531"/>
              <a:gd name="connsiteX21" fmla="*/ 10562221 w 10655908"/>
              <a:gd name="connsiteY21" fmla="*/ 1407665 h 5251531"/>
              <a:gd name="connsiteX22" fmla="*/ 10655354 w 10655908"/>
              <a:gd name="connsiteY22" fmla="*/ 1814065 h 5251531"/>
              <a:gd name="connsiteX23" fmla="*/ 10587621 w 10655908"/>
              <a:gd name="connsiteY23" fmla="*/ 2211998 h 5251531"/>
              <a:gd name="connsiteX24" fmla="*/ 10342087 w 10655908"/>
              <a:gd name="connsiteY24" fmla="*/ 2872398 h 5251531"/>
              <a:gd name="connsiteX25" fmla="*/ 9927221 w 10655908"/>
              <a:gd name="connsiteY25" fmla="*/ 3295731 h 5251531"/>
              <a:gd name="connsiteX26" fmla="*/ 9046687 w 10655908"/>
              <a:gd name="connsiteY26" fmla="*/ 3820665 h 5251531"/>
              <a:gd name="connsiteX27" fmla="*/ 8349881 w 10655908"/>
              <a:gd name="connsiteY27" fmla="*/ 4046725 h 5251531"/>
              <a:gd name="connsiteX28" fmla="*/ 7946021 w 10655908"/>
              <a:gd name="connsiteY28" fmla="*/ 4193198 h 5251531"/>
              <a:gd name="connsiteX29" fmla="*/ 7353354 w 10655908"/>
              <a:gd name="connsiteY29" fmla="*/ 4616531 h 5251531"/>
              <a:gd name="connsiteX30" fmla="*/ 7353354 w 10655908"/>
              <a:gd name="connsiteY30" fmla="*/ 4616531 h 5251531"/>
              <a:gd name="connsiteX31" fmla="*/ 7200954 w 10655908"/>
              <a:gd name="connsiteY31" fmla="*/ 4735065 h 5251531"/>
              <a:gd name="connsiteX32" fmla="*/ 7006221 w 10655908"/>
              <a:gd name="connsiteY32" fmla="*/ 4862065 h 5251531"/>
              <a:gd name="connsiteX33" fmla="*/ 6625221 w 10655908"/>
              <a:gd name="connsiteY33" fmla="*/ 5065265 h 5251531"/>
              <a:gd name="connsiteX34" fmla="*/ 6176487 w 10655908"/>
              <a:gd name="connsiteY34" fmla="*/ 5226131 h 5251531"/>
              <a:gd name="connsiteX35" fmla="*/ 5897087 w 10655908"/>
              <a:gd name="connsiteY35" fmla="*/ 5251531 h 5251531"/>
              <a:gd name="connsiteX36" fmla="*/ 5727754 w 10655908"/>
              <a:gd name="connsiteY36" fmla="*/ 5243065 h 5251531"/>
              <a:gd name="connsiteX37" fmla="*/ 5262087 w 10655908"/>
              <a:gd name="connsiteY37" fmla="*/ 5132998 h 5251531"/>
              <a:gd name="connsiteX38" fmla="*/ 4938661 w 10655908"/>
              <a:gd name="connsiteY38" fmla="*/ 4947578 h 5251531"/>
              <a:gd name="connsiteX39" fmla="*/ 4666034 w 10655908"/>
              <a:gd name="connsiteY39" fmla="*/ 4747765 h 5251531"/>
              <a:gd name="connsiteX40" fmla="*/ 3956527 w 10655908"/>
              <a:gd name="connsiteY40" fmla="*/ 4430053 h 5251531"/>
              <a:gd name="connsiteX41" fmla="*/ 3720731 w 10655908"/>
              <a:gd name="connsiteY41" fmla="*/ 4113611 h 5251531"/>
              <a:gd name="connsiteX42" fmla="*/ 3541237 w 10655908"/>
              <a:gd name="connsiteY42" fmla="*/ 3366428 h 5251531"/>
              <a:gd name="connsiteX43" fmla="*/ 3052287 w 10655908"/>
              <a:gd name="connsiteY43" fmla="*/ 2969765 h 5251531"/>
              <a:gd name="connsiteX44" fmla="*/ 2950687 w 10655908"/>
              <a:gd name="connsiteY44" fmla="*/ 2703065 h 5251531"/>
              <a:gd name="connsiteX45" fmla="*/ 2976087 w 10655908"/>
              <a:gd name="connsiteY45" fmla="*/ 2491398 h 5251531"/>
              <a:gd name="connsiteX46" fmla="*/ 2993021 w 10655908"/>
              <a:gd name="connsiteY46" fmla="*/ 2389798 h 5251531"/>
              <a:gd name="connsiteX47" fmla="*/ 2967621 w 10655908"/>
              <a:gd name="connsiteY47" fmla="*/ 2220465 h 5251531"/>
              <a:gd name="connsiteX48" fmla="*/ 2781354 w 10655908"/>
              <a:gd name="connsiteY48" fmla="*/ 1966465 h 5251531"/>
              <a:gd name="connsiteX49" fmla="*/ 2620487 w 10655908"/>
              <a:gd name="connsiteY49" fmla="*/ 1822531 h 5251531"/>
              <a:gd name="connsiteX50" fmla="*/ 2425754 w 10655908"/>
              <a:gd name="connsiteY50" fmla="*/ 1771731 h 5251531"/>
              <a:gd name="connsiteX51" fmla="*/ 2146354 w 10655908"/>
              <a:gd name="connsiteY51" fmla="*/ 1839465 h 5251531"/>
              <a:gd name="connsiteX52" fmla="*/ 1638354 w 10655908"/>
              <a:gd name="connsiteY52" fmla="*/ 2034198 h 5251531"/>
              <a:gd name="connsiteX53" fmla="*/ 893287 w 10655908"/>
              <a:gd name="connsiteY53" fmla="*/ 1991865 h 5251531"/>
              <a:gd name="connsiteX54" fmla="*/ 596954 w 10655908"/>
              <a:gd name="connsiteY54" fmla="*/ 1881798 h 5251531"/>
              <a:gd name="connsiteX55" fmla="*/ 333641 w 10655908"/>
              <a:gd name="connsiteY55" fmla="*/ 1636265 h 5251531"/>
              <a:gd name="connsiteX56" fmla="*/ 224421 w 10655908"/>
              <a:gd name="connsiteY56" fmla="*/ 1179065 h 5251531"/>
              <a:gd name="connsiteX57" fmla="*/ 224421 w 10655908"/>
              <a:gd name="connsiteY57" fmla="*/ 806531 h 5251531"/>
              <a:gd name="connsiteX58" fmla="*/ 215954 w 10655908"/>
              <a:gd name="connsiteY58" fmla="*/ 662598 h 5251531"/>
              <a:gd name="connsiteX59" fmla="*/ 88954 w 10655908"/>
              <a:gd name="connsiteY59" fmla="*/ 518665 h 5251531"/>
              <a:gd name="connsiteX0" fmla="*/ 88954 w 10655908"/>
              <a:gd name="connsiteY0" fmla="*/ 518665 h 5251531"/>
              <a:gd name="connsiteX1" fmla="*/ 0 w 10655908"/>
              <a:gd name="connsiteY1" fmla="*/ 358585 h 5251531"/>
              <a:gd name="connsiteX2" fmla="*/ 38154 w 10655908"/>
              <a:gd name="connsiteY2" fmla="*/ 205398 h 5251531"/>
              <a:gd name="connsiteX3" fmla="*/ 88954 w 10655908"/>
              <a:gd name="connsiteY3" fmla="*/ 137665 h 5251531"/>
              <a:gd name="connsiteX4" fmla="*/ 182087 w 10655908"/>
              <a:gd name="connsiteY4" fmla="*/ 52998 h 5251531"/>
              <a:gd name="connsiteX5" fmla="*/ 314591 w 10655908"/>
              <a:gd name="connsiteY5" fmla="*/ 17861 h 5251531"/>
              <a:gd name="connsiteX6" fmla="*/ 431873 w 10655908"/>
              <a:gd name="connsiteY6" fmla="*/ 1640 h 5251531"/>
              <a:gd name="connsiteX7" fmla="*/ 857958 w 10655908"/>
              <a:gd name="connsiteY7" fmla="*/ 56616 h 5251531"/>
              <a:gd name="connsiteX8" fmla="*/ 1401287 w 10655908"/>
              <a:gd name="connsiteY8" fmla="*/ 205398 h 5251531"/>
              <a:gd name="connsiteX9" fmla="*/ 1511354 w 10655908"/>
              <a:gd name="connsiteY9" fmla="*/ 306998 h 5251531"/>
              <a:gd name="connsiteX10" fmla="*/ 1529080 w 10655908"/>
              <a:gd name="connsiteY10" fmla="*/ 315405 h 5251531"/>
              <a:gd name="connsiteX11" fmla="*/ 1663754 w 10655908"/>
              <a:gd name="connsiteY11" fmla="*/ 366265 h 5251531"/>
              <a:gd name="connsiteX12" fmla="*/ 1739954 w 10655908"/>
              <a:gd name="connsiteY12" fmla="*/ 383198 h 5251531"/>
              <a:gd name="connsiteX13" fmla="*/ 2383421 w 10655908"/>
              <a:gd name="connsiteY13" fmla="*/ 315465 h 5251531"/>
              <a:gd name="connsiteX14" fmla="*/ 3378099 w 10655908"/>
              <a:gd name="connsiteY14" fmla="*/ 31831 h 5251531"/>
              <a:gd name="connsiteX15" fmla="*/ 4508554 w 10655908"/>
              <a:gd name="connsiteY15" fmla="*/ 230798 h 5251531"/>
              <a:gd name="connsiteX16" fmla="*/ 5609991 w 10655908"/>
              <a:gd name="connsiteY16" fmla="*/ 1109407 h 5251531"/>
              <a:gd name="connsiteX17" fmla="*/ 6860671 w 10655908"/>
              <a:gd name="connsiteY17" fmla="*/ 1325961 h 5251531"/>
              <a:gd name="connsiteX18" fmla="*/ 7818213 w 10655908"/>
              <a:gd name="connsiteY18" fmla="*/ 1143505 h 5251531"/>
              <a:gd name="connsiteX19" fmla="*/ 8631821 w 10655908"/>
              <a:gd name="connsiteY19" fmla="*/ 637198 h 5251531"/>
              <a:gd name="connsiteX20" fmla="*/ 9668987 w 10655908"/>
              <a:gd name="connsiteY20" fmla="*/ 486491 h 5251531"/>
              <a:gd name="connsiteX21" fmla="*/ 10367487 w 10655908"/>
              <a:gd name="connsiteY21" fmla="*/ 848865 h 5251531"/>
              <a:gd name="connsiteX22" fmla="*/ 10562221 w 10655908"/>
              <a:gd name="connsiteY22" fmla="*/ 1407665 h 5251531"/>
              <a:gd name="connsiteX23" fmla="*/ 10655354 w 10655908"/>
              <a:gd name="connsiteY23" fmla="*/ 1814065 h 5251531"/>
              <a:gd name="connsiteX24" fmla="*/ 10587621 w 10655908"/>
              <a:gd name="connsiteY24" fmla="*/ 2211998 h 5251531"/>
              <a:gd name="connsiteX25" fmla="*/ 10342087 w 10655908"/>
              <a:gd name="connsiteY25" fmla="*/ 2872398 h 5251531"/>
              <a:gd name="connsiteX26" fmla="*/ 9927221 w 10655908"/>
              <a:gd name="connsiteY26" fmla="*/ 3295731 h 5251531"/>
              <a:gd name="connsiteX27" fmla="*/ 9046687 w 10655908"/>
              <a:gd name="connsiteY27" fmla="*/ 3820665 h 5251531"/>
              <a:gd name="connsiteX28" fmla="*/ 8349881 w 10655908"/>
              <a:gd name="connsiteY28" fmla="*/ 4046725 h 5251531"/>
              <a:gd name="connsiteX29" fmla="*/ 7946021 w 10655908"/>
              <a:gd name="connsiteY29" fmla="*/ 4193198 h 5251531"/>
              <a:gd name="connsiteX30" fmla="*/ 7353354 w 10655908"/>
              <a:gd name="connsiteY30" fmla="*/ 4616531 h 5251531"/>
              <a:gd name="connsiteX31" fmla="*/ 7353354 w 10655908"/>
              <a:gd name="connsiteY31" fmla="*/ 4616531 h 5251531"/>
              <a:gd name="connsiteX32" fmla="*/ 7200954 w 10655908"/>
              <a:gd name="connsiteY32" fmla="*/ 4735065 h 5251531"/>
              <a:gd name="connsiteX33" fmla="*/ 7006221 w 10655908"/>
              <a:gd name="connsiteY33" fmla="*/ 4862065 h 5251531"/>
              <a:gd name="connsiteX34" fmla="*/ 6625221 w 10655908"/>
              <a:gd name="connsiteY34" fmla="*/ 5065265 h 5251531"/>
              <a:gd name="connsiteX35" fmla="*/ 6176487 w 10655908"/>
              <a:gd name="connsiteY35" fmla="*/ 5226131 h 5251531"/>
              <a:gd name="connsiteX36" fmla="*/ 5897087 w 10655908"/>
              <a:gd name="connsiteY36" fmla="*/ 5251531 h 5251531"/>
              <a:gd name="connsiteX37" fmla="*/ 5727754 w 10655908"/>
              <a:gd name="connsiteY37" fmla="*/ 5243065 h 5251531"/>
              <a:gd name="connsiteX38" fmla="*/ 5262087 w 10655908"/>
              <a:gd name="connsiteY38" fmla="*/ 5132998 h 5251531"/>
              <a:gd name="connsiteX39" fmla="*/ 4938661 w 10655908"/>
              <a:gd name="connsiteY39" fmla="*/ 4947578 h 5251531"/>
              <a:gd name="connsiteX40" fmla="*/ 4666034 w 10655908"/>
              <a:gd name="connsiteY40" fmla="*/ 4747765 h 5251531"/>
              <a:gd name="connsiteX41" fmla="*/ 3956527 w 10655908"/>
              <a:gd name="connsiteY41" fmla="*/ 4430053 h 5251531"/>
              <a:gd name="connsiteX42" fmla="*/ 3720731 w 10655908"/>
              <a:gd name="connsiteY42" fmla="*/ 4113611 h 5251531"/>
              <a:gd name="connsiteX43" fmla="*/ 3541237 w 10655908"/>
              <a:gd name="connsiteY43" fmla="*/ 3366428 h 5251531"/>
              <a:gd name="connsiteX44" fmla="*/ 3052287 w 10655908"/>
              <a:gd name="connsiteY44" fmla="*/ 2969765 h 5251531"/>
              <a:gd name="connsiteX45" fmla="*/ 2950687 w 10655908"/>
              <a:gd name="connsiteY45" fmla="*/ 2703065 h 5251531"/>
              <a:gd name="connsiteX46" fmla="*/ 2976087 w 10655908"/>
              <a:gd name="connsiteY46" fmla="*/ 2491398 h 5251531"/>
              <a:gd name="connsiteX47" fmla="*/ 2993021 w 10655908"/>
              <a:gd name="connsiteY47" fmla="*/ 2389798 h 5251531"/>
              <a:gd name="connsiteX48" fmla="*/ 2967621 w 10655908"/>
              <a:gd name="connsiteY48" fmla="*/ 2220465 h 5251531"/>
              <a:gd name="connsiteX49" fmla="*/ 2781354 w 10655908"/>
              <a:gd name="connsiteY49" fmla="*/ 1966465 h 5251531"/>
              <a:gd name="connsiteX50" fmla="*/ 2620487 w 10655908"/>
              <a:gd name="connsiteY50" fmla="*/ 1822531 h 5251531"/>
              <a:gd name="connsiteX51" fmla="*/ 2425754 w 10655908"/>
              <a:gd name="connsiteY51" fmla="*/ 1771731 h 5251531"/>
              <a:gd name="connsiteX52" fmla="*/ 2146354 w 10655908"/>
              <a:gd name="connsiteY52" fmla="*/ 1839465 h 5251531"/>
              <a:gd name="connsiteX53" fmla="*/ 1638354 w 10655908"/>
              <a:gd name="connsiteY53" fmla="*/ 2034198 h 5251531"/>
              <a:gd name="connsiteX54" fmla="*/ 893287 w 10655908"/>
              <a:gd name="connsiteY54" fmla="*/ 1991865 h 5251531"/>
              <a:gd name="connsiteX55" fmla="*/ 596954 w 10655908"/>
              <a:gd name="connsiteY55" fmla="*/ 1881798 h 5251531"/>
              <a:gd name="connsiteX56" fmla="*/ 333641 w 10655908"/>
              <a:gd name="connsiteY56" fmla="*/ 1636265 h 5251531"/>
              <a:gd name="connsiteX57" fmla="*/ 224421 w 10655908"/>
              <a:gd name="connsiteY57" fmla="*/ 1179065 h 5251531"/>
              <a:gd name="connsiteX58" fmla="*/ 224421 w 10655908"/>
              <a:gd name="connsiteY58" fmla="*/ 806531 h 5251531"/>
              <a:gd name="connsiteX59" fmla="*/ 215954 w 10655908"/>
              <a:gd name="connsiteY59" fmla="*/ 662598 h 5251531"/>
              <a:gd name="connsiteX60" fmla="*/ 88954 w 10655908"/>
              <a:gd name="connsiteY60" fmla="*/ 518665 h 5251531"/>
              <a:gd name="connsiteX0" fmla="*/ 88954 w 10655908"/>
              <a:gd name="connsiteY0" fmla="*/ 518665 h 5251531"/>
              <a:gd name="connsiteX1" fmla="*/ 0 w 10655908"/>
              <a:gd name="connsiteY1" fmla="*/ 358585 h 5251531"/>
              <a:gd name="connsiteX2" fmla="*/ 38154 w 10655908"/>
              <a:gd name="connsiteY2" fmla="*/ 205398 h 5251531"/>
              <a:gd name="connsiteX3" fmla="*/ 88954 w 10655908"/>
              <a:gd name="connsiteY3" fmla="*/ 137665 h 5251531"/>
              <a:gd name="connsiteX4" fmla="*/ 182087 w 10655908"/>
              <a:gd name="connsiteY4" fmla="*/ 52998 h 5251531"/>
              <a:gd name="connsiteX5" fmla="*/ 314591 w 10655908"/>
              <a:gd name="connsiteY5" fmla="*/ 17861 h 5251531"/>
              <a:gd name="connsiteX6" fmla="*/ 431873 w 10655908"/>
              <a:gd name="connsiteY6" fmla="*/ 1640 h 5251531"/>
              <a:gd name="connsiteX7" fmla="*/ 857958 w 10655908"/>
              <a:gd name="connsiteY7" fmla="*/ 56616 h 5251531"/>
              <a:gd name="connsiteX8" fmla="*/ 1401287 w 10655908"/>
              <a:gd name="connsiteY8" fmla="*/ 205398 h 5251531"/>
              <a:gd name="connsiteX9" fmla="*/ 1511354 w 10655908"/>
              <a:gd name="connsiteY9" fmla="*/ 306998 h 5251531"/>
              <a:gd name="connsiteX10" fmla="*/ 1663754 w 10655908"/>
              <a:gd name="connsiteY10" fmla="*/ 366265 h 5251531"/>
              <a:gd name="connsiteX11" fmla="*/ 1739954 w 10655908"/>
              <a:gd name="connsiteY11" fmla="*/ 383198 h 5251531"/>
              <a:gd name="connsiteX12" fmla="*/ 2383421 w 10655908"/>
              <a:gd name="connsiteY12" fmla="*/ 315465 h 5251531"/>
              <a:gd name="connsiteX13" fmla="*/ 3378099 w 10655908"/>
              <a:gd name="connsiteY13" fmla="*/ 31831 h 5251531"/>
              <a:gd name="connsiteX14" fmla="*/ 4508554 w 10655908"/>
              <a:gd name="connsiteY14" fmla="*/ 230798 h 5251531"/>
              <a:gd name="connsiteX15" fmla="*/ 5609991 w 10655908"/>
              <a:gd name="connsiteY15" fmla="*/ 1109407 h 5251531"/>
              <a:gd name="connsiteX16" fmla="*/ 6860671 w 10655908"/>
              <a:gd name="connsiteY16" fmla="*/ 1325961 h 5251531"/>
              <a:gd name="connsiteX17" fmla="*/ 7818213 w 10655908"/>
              <a:gd name="connsiteY17" fmla="*/ 1143505 h 5251531"/>
              <a:gd name="connsiteX18" fmla="*/ 8631821 w 10655908"/>
              <a:gd name="connsiteY18" fmla="*/ 637198 h 5251531"/>
              <a:gd name="connsiteX19" fmla="*/ 9668987 w 10655908"/>
              <a:gd name="connsiteY19" fmla="*/ 486491 h 5251531"/>
              <a:gd name="connsiteX20" fmla="*/ 10367487 w 10655908"/>
              <a:gd name="connsiteY20" fmla="*/ 848865 h 5251531"/>
              <a:gd name="connsiteX21" fmla="*/ 10562221 w 10655908"/>
              <a:gd name="connsiteY21" fmla="*/ 1407665 h 5251531"/>
              <a:gd name="connsiteX22" fmla="*/ 10655354 w 10655908"/>
              <a:gd name="connsiteY22" fmla="*/ 1814065 h 5251531"/>
              <a:gd name="connsiteX23" fmla="*/ 10587621 w 10655908"/>
              <a:gd name="connsiteY23" fmla="*/ 2211998 h 5251531"/>
              <a:gd name="connsiteX24" fmla="*/ 10342087 w 10655908"/>
              <a:gd name="connsiteY24" fmla="*/ 2872398 h 5251531"/>
              <a:gd name="connsiteX25" fmla="*/ 9927221 w 10655908"/>
              <a:gd name="connsiteY25" fmla="*/ 3295731 h 5251531"/>
              <a:gd name="connsiteX26" fmla="*/ 9046687 w 10655908"/>
              <a:gd name="connsiteY26" fmla="*/ 3820665 h 5251531"/>
              <a:gd name="connsiteX27" fmla="*/ 8349881 w 10655908"/>
              <a:gd name="connsiteY27" fmla="*/ 4046725 h 5251531"/>
              <a:gd name="connsiteX28" fmla="*/ 7946021 w 10655908"/>
              <a:gd name="connsiteY28" fmla="*/ 4193198 h 5251531"/>
              <a:gd name="connsiteX29" fmla="*/ 7353354 w 10655908"/>
              <a:gd name="connsiteY29" fmla="*/ 4616531 h 5251531"/>
              <a:gd name="connsiteX30" fmla="*/ 7353354 w 10655908"/>
              <a:gd name="connsiteY30" fmla="*/ 4616531 h 5251531"/>
              <a:gd name="connsiteX31" fmla="*/ 7200954 w 10655908"/>
              <a:gd name="connsiteY31" fmla="*/ 4735065 h 5251531"/>
              <a:gd name="connsiteX32" fmla="*/ 7006221 w 10655908"/>
              <a:gd name="connsiteY32" fmla="*/ 4862065 h 5251531"/>
              <a:gd name="connsiteX33" fmla="*/ 6625221 w 10655908"/>
              <a:gd name="connsiteY33" fmla="*/ 5065265 h 5251531"/>
              <a:gd name="connsiteX34" fmla="*/ 6176487 w 10655908"/>
              <a:gd name="connsiteY34" fmla="*/ 5226131 h 5251531"/>
              <a:gd name="connsiteX35" fmla="*/ 5897087 w 10655908"/>
              <a:gd name="connsiteY35" fmla="*/ 5251531 h 5251531"/>
              <a:gd name="connsiteX36" fmla="*/ 5727754 w 10655908"/>
              <a:gd name="connsiteY36" fmla="*/ 5243065 h 5251531"/>
              <a:gd name="connsiteX37" fmla="*/ 5262087 w 10655908"/>
              <a:gd name="connsiteY37" fmla="*/ 5132998 h 5251531"/>
              <a:gd name="connsiteX38" fmla="*/ 4938661 w 10655908"/>
              <a:gd name="connsiteY38" fmla="*/ 4947578 h 5251531"/>
              <a:gd name="connsiteX39" fmla="*/ 4666034 w 10655908"/>
              <a:gd name="connsiteY39" fmla="*/ 4747765 h 5251531"/>
              <a:gd name="connsiteX40" fmla="*/ 3956527 w 10655908"/>
              <a:gd name="connsiteY40" fmla="*/ 4430053 h 5251531"/>
              <a:gd name="connsiteX41" fmla="*/ 3720731 w 10655908"/>
              <a:gd name="connsiteY41" fmla="*/ 4113611 h 5251531"/>
              <a:gd name="connsiteX42" fmla="*/ 3541237 w 10655908"/>
              <a:gd name="connsiteY42" fmla="*/ 3366428 h 5251531"/>
              <a:gd name="connsiteX43" fmla="*/ 3052287 w 10655908"/>
              <a:gd name="connsiteY43" fmla="*/ 2969765 h 5251531"/>
              <a:gd name="connsiteX44" fmla="*/ 2950687 w 10655908"/>
              <a:gd name="connsiteY44" fmla="*/ 2703065 h 5251531"/>
              <a:gd name="connsiteX45" fmla="*/ 2976087 w 10655908"/>
              <a:gd name="connsiteY45" fmla="*/ 2491398 h 5251531"/>
              <a:gd name="connsiteX46" fmla="*/ 2993021 w 10655908"/>
              <a:gd name="connsiteY46" fmla="*/ 2389798 h 5251531"/>
              <a:gd name="connsiteX47" fmla="*/ 2967621 w 10655908"/>
              <a:gd name="connsiteY47" fmla="*/ 2220465 h 5251531"/>
              <a:gd name="connsiteX48" fmla="*/ 2781354 w 10655908"/>
              <a:gd name="connsiteY48" fmla="*/ 1966465 h 5251531"/>
              <a:gd name="connsiteX49" fmla="*/ 2620487 w 10655908"/>
              <a:gd name="connsiteY49" fmla="*/ 1822531 h 5251531"/>
              <a:gd name="connsiteX50" fmla="*/ 2425754 w 10655908"/>
              <a:gd name="connsiteY50" fmla="*/ 1771731 h 5251531"/>
              <a:gd name="connsiteX51" fmla="*/ 2146354 w 10655908"/>
              <a:gd name="connsiteY51" fmla="*/ 1839465 h 5251531"/>
              <a:gd name="connsiteX52" fmla="*/ 1638354 w 10655908"/>
              <a:gd name="connsiteY52" fmla="*/ 2034198 h 5251531"/>
              <a:gd name="connsiteX53" fmla="*/ 893287 w 10655908"/>
              <a:gd name="connsiteY53" fmla="*/ 1991865 h 5251531"/>
              <a:gd name="connsiteX54" fmla="*/ 596954 w 10655908"/>
              <a:gd name="connsiteY54" fmla="*/ 1881798 h 5251531"/>
              <a:gd name="connsiteX55" fmla="*/ 333641 w 10655908"/>
              <a:gd name="connsiteY55" fmla="*/ 1636265 h 5251531"/>
              <a:gd name="connsiteX56" fmla="*/ 224421 w 10655908"/>
              <a:gd name="connsiteY56" fmla="*/ 1179065 h 5251531"/>
              <a:gd name="connsiteX57" fmla="*/ 224421 w 10655908"/>
              <a:gd name="connsiteY57" fmla="*/ 806531 h 5251531"/>
              <a:gd name="connsiteX58" fmla="*/ 215954 w 10655908"/>
              <a:gd name="connsiteY58" fmla="*/ 662598 h 5251531"/>
              <a:gd name="connsiteX59" fmla="*/ 88954 w 10655908"/>
              <a:gd name="connsiteY59" fmla="*/ 518665 h 5251531"/>
              <a:gd name="connsiteX0" fmla="*/ 88954 w 10655908"/>
              <a:gd name="connsiteY0" fmla="*/ 518665 h 5251531"/>
              <a:gd name="connsiteX1" fmla="*/ 0 w 10655908"/>
              <a:gd name="connsiteY1" fmla="*/ 358585 h 5251531"/>
              <a:gd name="connsiteX2" fmla="*/ 38154 w 10655908"/>
              <a:gd name="connsiteY2" fmla="*/ 205398 h 5251531"/>
              <a:gd name="connsiteX3" fmla="*/ 88954 w 10655908"/>
              <a:gd name="connsiteY3" fmla="*/ 137665 h 5251531"/>
              <a:gd name="connsiteX4" fmla="*/ 182087 w 10655908"/>
              <a:gd name="connsiteY4" fmla="*/ 52998 h 5251531"/>
              <a:gd name="connsiteX5" fmla="*/ 314591 w 10655908"/>
              <a:gd name="connsiteY5" fmla="*/ 17861 h 5251531"/>
              <a:gd name="connsiteX6" fmla="*/ 431873 w 10655908"/>
              <a:gd name="connsiteY6" fmla="*/ 1640 h 5251531"/>
              <a:gd name="connsiteX7" fmla="*/ 857958 w 10655908"/>
              <a:gd name="connsiteY7" fmla="*/ 56616 h 5251531"/>
              <a:gd name="connsiteX8" fmla="*/ 1401287 w 10655908"/>
              <a:gd name="connsiteY8" fmla="*/ 205398 h 5251531"/>
              <a:gd name="connsiteX9" fmla="*/ 1663754 w 10655908"/>
              <a:gd name="connsiteY9" fmla="*/ 366265 h 5251531"/>
              <a:gd name="connsiteX10" fmla="*/ 1739954 w 10655908"/>
              <a:gd name="connsiteY10" fmla="*/ 383198 h 5251531"/>
              <a:gd name="connsiteX11" fmla="*/ 2383421 w 10655908"/>
              <a:gd name="connsiteY11" fmla="*/ 315465 h 5251531"/>
              <a:gd name="connsiteX12" fmla="*/ 3378099 w 10655908"/>
              <a:gd name="connsiteY12" fmla="*/ 31831 h 5251531"/>
              <a:gd name="connsiteX13" fmla="*/ 4508554 w 10655908"/>
              <a:gd name="connsiteY13" fmla="*/ 230798 h 5251531"/>
              <a:gd name="connsiteX14" fmla="*/ 5609991 w 10655908"/>
              <a:gd name="connsiteY14" fmla="*/ 1109407 h 5251531"/>
              <a:gd name="connsiteX15" fmla="*/ 6860671 w 10655908"/>
              <a:gd name="connsiteY15" fmla="*/ 1325961 h 5251531"/>
              <a:gd name="connsiteX16" fmla="*/ 7818213 w 10655908"/>
              <a:gd name="connsiteY16" fmla="*/ 1143505 h 5251531"/>
              <a:gd name="connsiteX17" fmla="*/ 8631821 w 10655908"/>
              <a:gd name="connsiteY17" fmla="*/ 637198 h 5251531"/>
              <a:gd name="connsiteX18" fmla="*/ 9668987 w 10655908"/>
              <a:gd name="connsiteY18" fmla="*/ 486491 h 5251531"/>
              <a:gd name="connsiteX19" fmla="*/ 10367487 w 10655908"/>
              <a:gd name="connsiteY19" fmla="*/ 848865 h 5251531"/>
              <a:gd name="connsiteX20" fmla="*/ 10562221 w 10655908"/>
              <a:gd name="connsiteY20" fmla="*/ 1407665 h 5251531"/>
              <a:gd name="connsiteX21" fmla="*/ 10655354 w 10655908"/>
              <a:gd name="connsiteY21" fmla="*/ 1814065 h 5251531"/>
              <a:gd name="connsiteX22" fmla="*/ 10587621 w 10655908"/>
              <a:gd name="connsiteY22" fmla="*/ 2211998 h 5251531"/>
              <a:gd name="connsiteX23" fmla="*/ 10342087 w 10655908"/>
              <a:gd name="connsiteY23" fmla="*/ 2872398 h 5251531"/>
              <a:gd name="connsiteX24" fmla="*/ 9927221 w 10655908"/>
              <a:gd name="connsiteY24" fmla="*/ 3295731 h 5251531"/>
              <a:gd name="connsiteX25" fmla="*/ 9046687 w 10655908"/>
              <a:gd name="connsiteY25" fmla="*/ 3820665 h 5251531"/>
              <a:gd name="connsiteX26" fmla="*/ 8349881 w 10655908"/>
              <a:gd name="connsiteY26" fmla="*/ 4046725 h 5251531"/>
              <a:gd name="connsiteX27" fmla="*/ 7946021 w 10655908"/>
              <a:gd name="connsiteY27" fmla="*/ 4193198 h 5251531"/>
              <a:gd name="connsiteX28" fmla="*/ 7353354 w 10655908"/>
              <a:gd name="connsiteY28" fmla="*/ 4616531 h 5251531"/>
              <a:gd name="connsiteX29" fmla="*/ 7353354 w 10655908"/>
              <a:gd name="connsiteY29" fmla="*/ 4616531 h 5251531"/>
              <a:gd name="connsiteX30" fmla="*/ 7200954 w 10655908"/>
              <a:gd name="connsiteY30" fmla="*/ 4735065 h 5251531"/>
              <a:gd name="connsiteX31" fmla="*/ 7006221 w 10655908"/>
              <a:gd name="connsiteY31" fmla="*/ 4862065 h 5251531"/>
              <a:gd name="connsiteX32" fmla="*/ 6625221 w 10655908"/>
              <a:gd name="connsiteY32" fmla="*/ 5065265 h 5251531"/>
              <a:gd name="connsiteX33" fmla="*/ 6176487 w 10655908"/>
              <a:gd name="connsiteY33" fmla="*/ 5226131 h 5251531"/>
              <a:gd name="connsiteX34" fmla="*/ 5897087 w 10655908"/>
              <a:gd name="connsiteY34" fmla="*/ 5251531 h 5251531"/>
              <a:gd name="connsiteX35" fmla="*/ 5727754 w 10655908"/>
              <a:gd name="connsiteY35" fmla="*/ 5243065 h 5251531"/>
              <a:gd name="connsiteX36" fmla="*/ 5262087 w 10655908"/>
              <a:gd name="connsiteY36" fmla="*/ 5132998 h 5251531"/>
              <a:gd name="connsiteX37" fmla="*/ 4938661 w 10655908"/>
              <a:gd name="connsiteY37" fmla="*/ 4947578 h 5251531"/>
              <a:gd name="connsiteX38" fmla="*/ 4666034 w 10655908"/>
              <a:gd name="connsiteY38" fmla="*/ 4747765 h 5251531"/>
              <a:gd name="connsiteX39" fmla="*/ 3956527 w 10655908"/>
              <a:gd name="connsiteY39" fmla="*/ 4430053 h 5251531"/>
              <a:gd name="connsiteX40" fmla="*/ 3720731 w 10655908"/>
              <a:gd name="connsiteY40" fmla="*/ 4113611 h 5251531"/>
              <a:gd name="connsiteX41" fmla="*/ 3541237 w 10655908"/>
              <a:gd name="connsiteY41" fmla="*/ 3366428 h 5251531"/>
              <a:gd name="connsiteX42" fmla="*/ 3052287 w 10655908"/>
              <a:gd name="connsiteY42" fmla="*/ 2969765 h 5251531"/>
              <a:gd name="connsiteX43" fmla="*/ 2950687 w 10655908"/>
              <a:gd name="connsiteY43" fmla="*/ 2703065 h 5251531"/>
              <a:gd name="connsiteX44" fmla="*/ 2976087 w 10655908"/>
              <a:gd name="connsiteY44" fmla="*/ 2491398 h 5251531"/>
              <a:gd name="connsiteX45" fmla="*/ 2993021 w 10655908"/>
              <a:gd name="connsiteY45" fmla="*/ 2389798 h 5251531"/>
              <a:gd name="connsiteX46" fmla="*/ 2967621 w 10655908"/>
              <a:gd name="connsiteY46" fmla="*/ 2220465 h 5251531"/>
              <a:gd name="connsiteX47" fmla="*/ 2781354 w 10655908"/>
              <a:gd name="connsiteY47" fmla="*/ 1966465 h 5251531"/>
              <a:gd name="connsiteX48" fmla="*/ 2620487 w 10655908"/>
              <a:gd name="connsiteY48" fmla="*/ 1822531 h 5251531"/>
              <a:gd name="connsiteX49" fmla="*/ 2425754 w 10655908"/>
              <a:gd name="connsiteY49" fmla="*/ 1771731 h 5251531"/>
              <a:gd name="connsiteX50" fmla="*/ 2146354 w 10655908"/>
              <a:gd name="connsiteY50" fmla="*/ 1839465 h 5251531"/>
              <a:gd name="connsiteX51" fmla="*/ 1638354 w 10655908"/>
              <a:gd name="connsiteY51" fmla="*/ 2034198 h 5251531"/>
              <a:gd name="connsiteX52" fmla="*/ 893287 w 10655908"/>
              <a:gd name="connsiteY52" fmla="*/ 1991865 h 5251531"/>
              <a:gd name="connsiteX53" fmla="*/ 596954 w 10655908"/>
              <a:gd name="connsiteY53" fmla="*/ 1881798 h 5251531"/>
              <a:gd name="connsiteX54" fmla="*/ 333641 w 10655908"/>
              <a:gd name="connsiteY54" fmla="*/ 1636265 h 5251531"/>
              <a:gd name="connsiteX55" fmla="*/ 224421 w 10655908"/>
              <a:gd name="connsiteY55" fmla="*/ 1179065 h 5251531"/>
              <a:gd name="connsiteX56" fmla="*/ 224421 w 10655908"/>
              <a:gd name="connsiteY56" fmla="*/ 806531 h 5251531"/>
              <a:gd name="connsiteX57" fmla="*/ 215954 w 10655908"/>
              <a:gd name="connsiteY57" fmla="*/ 662598 h 5251531"/>
              <a:gd name="connsiteX58" fmla="*/ 88954 w 10655908"/>
              <a:gd name="connsiteY58" fmla="*/ 518665 h 5251531"/>
              <a:gd name="connsiteX0" fmla="*/ 88954 w 10655908"/>
              <a:gd name="connsiteY0" fmla="*/ 518665 h 5251531"/>
              <a:gd name="connsiteX1" fmla="*/ 0 w 10655908"/>
              <a:gd name="connsiteY1" fmla="*/ 358585 h 5251531"/>
              <a:gd name="connsiteX2" fmla="*/ 38154 w 10655908"/>
              <a:gd name="connsiteY2" fmla="*/ 205398 h 5251531"/>
              <a:gd name="connsiteX3" fmla="*/ 88954 w 10655908"/>
              <a:gd name="connsiteY3" fmla="*/ 137665 h 5251531"/>
              <a:gd name="connsiteX4" fmla="*/ 182087 w 10655908"/>
              <a:gd name="connsiteY4" fmla="*/ 52998 h 5251531"/>
              <a:gd name="connsiteX5" fmla="*/ 314591 w 10655908"/>
              <a:gd name="connsiteY5" fmla="*/ 17861 h 5251531"/>
              <a:gd name="connsiteX6" fmla="*/ 431873 w 10655908"/>
              <a:gd name="connsiteY6" fmla="*/ 1640 h 5251531"/>
              <a:gd name="connsiteX7" fmla="*/ 857958 w 10655908"/>
              <a:gd name="connsiteY7" fmla="*/ 56616 h 5251531"/>
              <a:gd name="connsiteX8" fmla="*/ 1401287 w 10655908"/>
              <a:gd name="connsiteY8" fmla="*/ 205398 h 5251531"/>
              <a:gd name="connsiteX9" fmla="*/ 1739954 w 10655908"/>
              <a:gd name="connsiteY9" fmla="*/ 383198 h 5251531"/>
              <a:gd name="connsiteX10" fmla="*/ 2383421 w 10655908"/>
              <a:gd name="connsiteY10" fmla="*/ 315465 h 5251531"/>
              <a:gd name="connsiteX11" fmla="*/ 3378099 w 10655908"/>
              <a:gd name="connsiteY11" fmla="*/ 31831 h 5251531"/>
              <a:gd name="connsiteX12" fmla="*/ 4508554 w 10655908"/>
              <a:gd name="connsiteY12" fmla="*/ 230798 h 5251531"/>
              <a:gd name="connsiteX13" fmla="*/ 5609991 w 10655908"/>
              <a:gd name="connsiteY13" fmla="*/ 1109407 h 5251531"/>
              <a:gd name="connsiteX14" fmla="*/ 6860671 w 10655908"/>
              <a:gd name="connsiteY14" fmla="*/ 1325961 h 5251531"/>
              <a:gd name="connsiteX15" fmla="*/ 7818213 w 10655908"/>
              <a:gd name="connsiteY15" fmla="*/ 1143505 h 5251531"/>
              <a:gd name="connsiteX16" fmla="*/ 8631821 w 10655908"/>
              <a:gd name="connsiteY16" fmla="*/ 637198 h 5251531"/>
              <a:gd name="connsiteX17" fmla="*/ 9668987 w 10655908"/>
              <a:gd name="connsiteY17" fmla="*/ 486491 h 5251531"/>
              <a:gd name="connsiteX18" fmla="*/ 10367487 w 10655908"/>
              <a:gd name="connsiteY18" fmla="*/ 848865 h 5251531"/>
              <a:gd name="connsiteX19" fmla="*/ 10562221 w 10655908"/>
              <a:gd name="connsiteY19" fmla="*/ 1407665 h 5251531"/>
              <a:gd name="connsiteX20" fmla="*/ 10655354 w 10655908"/>
              <a:gd name="connsiteY20" fmla="*/ 1814065 h 5251531"/>
              <a:gd name="connsiteX21" fmla="*/ 10587621 w 10655908"/>
              <a:gd name="connsiteY21" fmla="*/ 2211998 h 5251531"/>
              <a:gd name="connsiteX22" fmla="*/ 10342087 w 10655908"/>
              <a:gd name="connsiteY22" fmla="*/ 2872398 h 5251531"/>
              <a:gd name="connsiteX23" fmla="*/ 9927221 w 10655908"/>
              <a:gd name="connsiteY23" fmla="*/ 3295731 h 5251531"/>
              <a:gd name="connsiteX24" fmla="*/ 9046687 w 10655908"/>
              <a:gd name="connsiteY24" fmla="*/ 3820665 h 5251531"/>
              <a:gd name="connsiteX25" fmla="*/ 8349881 w 10655908"/>
              <a:gd name="connsiteY25" fmla="*/ 4046725 h 5251531"/>
              <a:gd name="connsiteX26" fmla="*/ 7946021 w 10655908"/>
              <a:gd name="connsiteY26" fmla="*/ 4193198 h 5251531"/>
              <a:gd name="connsiteX27" fmla="*/ 7353354 w 10655908"/>
              <a:gd name="connsiteY27" fmla="*/ 4616531 h 5251531"/>
              <a:gd name="connsiteX28" fmla="*/ 7353354 w 10655908"/>
              <a:gd name="connsiteY28" fmla="*/ 4616531 h 5251531"/>
              <a:gd name="connsiteX29" fmla="*/ 7200954 w 10655908"/>
              <a:gd name="connsiteY29" fmla="*/ 4735065 h 5251531"/>
              <a:gd name="connsiteX30" fmla="*/ 7006221 w 10655908"/>
              <a:gd name="connsiteY30" fmla="*/ 4862065 h 5251531"/>
              <a:gd name="connsiteX31" fmla="*/ 6625221 w 10655908"/>
              <a:gd name="connsiteY31" fmla="*/ 5065265 h 5251531"/>
              <a:gd name="connsiteX32" fmla="*/ 6176487 w 10655908"/>
              <a:gd name="connsiteY32" fmla="*/ 5226131 h 5251531"/>
              <a:gd name="connsiteX33" fmla="*/ 5897087 w 10655908"/>
              <a:gd name="connsiteY33" fmla="*/ 5251531 h 5251531"/>
              <a:gd name="connsiteX34" fmla="*/ 5727754 w 10655908"/>
              <a:gd name="connsiteY34" fmla="*/ 5243065 h 5251531"/>
              <a:gd name="connsiteX35" fmla="*/ 5262087 w 10655908"/>
              <a:gd name="connsiteY35" fmla="*/ 5132998 h 5251531"/>
              <a:gd name="connsiteX36" fmla="*/ 4938661 w 10655908"/>
              <a:gd name="connsiteY36" fmla="*/ 4947578 h 5251531"/>
              <a:gd name="connsiteX37" fmla="*/ 4666034 w 10655908"/>
              <a:gd name="connsiteY37" fmla="*/ 4747765 h 5251531"/>
              <a:gd name="connsiteX38" fmla="*/ 3956527 w 10655908"/>
              <a:gd name="connsiteY38" fmla="*/ 4430053 h 5251531"/>
              <a:gd name="connsiteX39" fmla="*/ 3720731 w 10655908"/>
              <a:gd name="connsiteY39" fmla="*/ 4113611 h 5251531"/>
              <a:gd name="connsiteX40" fmla="*/ 3541237 w 10655908"/>
              <a:gd name="connsiteY40" fmla="*/ 3366428 h 5251531"/>
              <a:gd name="connsiteX41" fmla="*/ 3052287 w 10655908"/>
              <a:gd name="connsiteY41" fmla="*/ 2969765 h 5251531"/>
              <a:gd name="connsiteX42" fmla="*/ 2950687 w 10655908"/>
              <a:gd name="connsiteY42" fmla="*/ 2703065 h 5251531"/>
              <a:gd name="connsiteX43" fmla="*/ 2976087 w 10655908"/>
              <a:gd name="connsiteY43" fmla="*/ 2491398 h 5251531"/>
              <a:gd name="connsiteX44" fmla="*/ 2993021 w 10655908"/>
              <a:gd name="connsiteY44" fmla="*/ 2389798 h 5251531"/>
              <a:gd name="connsiteX45" fmla="*/ 2967621 w 10655908"/>
              <a:gd name="connsiteY45" fmla="*/ 2220465 h 5251531"/>
              <a:gd name="connsiteX46" fmla="*/ 2781354 w 10655908"/>
              <a:gd name="connsiteY46" fmla="*/ 1966465 h 5251531"/>
              <a:gd name="connsiteX47" fmla="*/ 2620487 w 10655908"/>
              <a:gd name="connsiteY47" fmla="*/ 1822531 h 5251531"/>
              <a:gd name="connsiteX48" fmla="*/ 2425754 w 10655908"/>
              <a:gd name="connsiteY48" fmla="*/ 1771731 h 5251531"/>
              <a:gd name="connsiteX49" fmla="*/ 2146354 w 10655908"/>
              <a:gd name="connsiteY49" fmla="*/ 1839465 h 5251531"/>
              <a:gd name="connsiteX50" fmla="*/ 1638354 w 10655908"/>
              <a:gd name="connsiteY50" fmla="*/ 2034198 h 5251531"/>
              <a:gd name="connsiteX51" fmla="*/ 893287 w 10655908"/>
              <a:gd name="connsiteY51" fmla="*/ 1991865 h 5251531"/>
              <a:gd name="connsiteX52" fmla="*/ 596954 w 10655908"/>
              <a:gd name="connsiteY52" fmla="*/ 1881798 h 5251531"/>
              <a:gd name="connsiteX53" fmla="*/ 333641 w 10655908"/>
              <a:gd name="connsiteY53" fmla="*/ 1636265 h 5251531"/>
              <a:gd name="connsiteX54" fmla="*/ 224421 w 10655908"/>
              <a:gd name="connsiteY54" fmla="*/ 1179065 h 5251531"/>
              <a:gd name="connsiteX55" fmla="*/ 224421 w 10655908"/>
              <a:gd name="connsiteY55" fmla="*/ 806531 h 5251531"/>
              <a:gd name="connsiteX56" fmla="*/ 215954 w 10655908"/>
              <a:gd name="connsiteY56" fmla="*/ 662598 h 5251531"/>
              <a:gd name="connsiteX57" fmla="*/ 88954 w 10655908"/>
              <a:gd name="connsiteY57" fmla="*/ 518665 h 5251531"/>
              <a:gd name="connsiteX0" fmla="*/ 224814 w 10664768"/>
              <a:gd name="connsiteY0" fmla="*/ 662598 h 5251531"/>
              <a:gd name="connsiteX1" fmla="*/ 8860 w 10664768"/>
              <a:gd name="connsiteY1" fmla="*/ 358585 h 5251531"/>
              <a:gd name="connsiteX2" fmla="*/ 47014 w 10664768"/>
              <a:gd name="connsiteY2" fmla="*/ 205398 h 5251531"/>
              <a:gd name="connsiteX3" fmla="*/ 97814 w 10664768"/>
              <a:gd name="connsiteY3" fmla="*/ 137665 h 5251531"/>
              <a:gd name="connsiteX4" fmla="*/ 190947 w 10664768"/>
              <a:gd name="connsiteY4" fmla="*/ 52998 h 5251531"/>
              <a:gd name="connsiteX5" fmla="*/ 323451 w 10664768"/>
              <a:gd name="connsiteY5" fmla="*/ 17861 h 5251531"/>
              <a:gd name="connsiteX6" fmla="*/ 440733 w 10664768"/>
              <a:gd name="connsiteY6" fmla="*/ 1640 h 5251531"/>
              <a:gd name="connsiteX7" fmla="*/ 866818 w 10664768"/>
              <a:gd name="connsiteY7" fmla="*/ 56616 h 5251531"/>
              <a:gd name="connsiteX8" fmla="*/ 1410147 w 10664768"/>
              <a:gd name="connsiteY8" fmla="*/ 205398 h 5251531"/>
              <a:gd name="connsiteX9" fmla="*/ 1748814 w 10664768"/>
              <a:gd name="connsiteY9" fmla="*/ 383198 h 5251531"/>
              <a:gd name="connsiteX10" fmla="*/ 2392281 w 10664768"/>
              <a:gd name="connsiteY10" fmla="*/ 315465 h 5251531"/>
              <a:gd name="connsiteX11" fmla="*/ 3386959 w 10664768"/>
              <a:gd name="connsiteY11" fmla="*/ 31831 h 5251531"/>
              <a:gd name="connsiteX12" fmla="*/ 4517414 w 10664768"/>
              <a:gd name="connsiteY12" fmla="*/ 230798 h 5251531"/>
              <a:gd name="connsiteX13" fmla="*/ 5618851 w 10664768"/>
              <a:gd name="connsiteY13" fmla="*/ 1109407 h 5251531"/>
              <a:gd name="connsiteX14" fmla="*/ 6869531 w 10664768"/>
              <a:gd name="connsiteY14" fmla="*/ 1325961 h 5251531"/>
              <a:gd name="connsiteX15" fmla="*/ 7827073 w 10664768"/>
              <a:gd name="connsiteY15" fmla="*/ 1143505 h 5251531"/>
              <a:gd name="connsiteX16" fmla="*/ 8640681 w 10664768"/>
              <a:gd name="connsiteY16" fmla="*/ 637198 h 5251531"/>
              <a:gd name="connsiteX17" fmla="*/ 9677847 w 10664768"/>
              <a:gd name="connsiteY17" fmla="*/ 486491 h 5251531"/>
              <a:gd name="connsiteX18" fmla="*/ 10376347 w 10664768"/>
              <a:gd name="connsiteY18" fmla="*/ 848865 h 5251531"/>
              <a:gd name="connsiteX19" fmla="*/ 10571081 w 10664768"/>
              <a:gd name="connsiteY19" fmla="*/ 1407665 h 5251531"/>
              <a:gd name="connsiteX20" fmla="*/ 10664214 w 10664768"/>
              <a:gd name="connsiteY20" fmla="*/ 1814065 h 5251531"/>
              <a:gd name="connsiteX21" fmla="*/ 10596481 w 10664768"/>
              <a:gd name="connsiteY21" fmla="*/ 2211998 h 5251531"/>
              <a:gd name="connsiteX22" fmla="*/ 10350947 w 10664768"/>
              <a:gd name="connsiteY22" fmla="*/ 2872398 h 5251531"/>
              <a:gd name="connsiteX23" fmla="*/ 9936081 w 10664768"/>
              <a:gd name="connsiteY23" fmla="*/ 3295731 h 5251531"/>
              <a:gd name="connsiteX24" fmla="*/ 9055547 w 10664768"/>
              <a:gd name="connsiteY24" fmla="*/ 3820665 h 5251531"/>
              <a:gd name="connsiteX25" fmla="*/ 8358741 w 10664768"/>
              <a:gd name="connsiteY25" fmla="*/ 4046725 h 5251531"/>
              <a:gd name="connsiteX26" fmla="*/ 7954881 w 10664768"/>
              <a:gd name="connsiteY26" fmla="*/ 4193198 h 5251531"/>
              <a:gd name="connsiteX27" fmla="*/ 7362214 w 10664768"/>
              <a:gd name="connsiteY27" fmla="*/ 4616531 h 5251531"/>
              <a:gd name="connsiteX28" fmla="*/ 7362214 w 10664768"/>
              <a:gd name="connsiteY28" fmla="*/ 4616531 h 5251531"/>
              <a:gd name="connsiteX29" fmla="*/ 7209814 w 10664768"/>
              <a:gd name="connsiteY29" fmla="*/ 4735065 h 5251531"/>
              <a:gd name="connsiteX30" fmla="*/ 7015081 w 10664768"/>
              <a:gd name="connsiteY30" fmla="*/ 4862065 h 5251531"/>
              <a:gd name="connsiteX31" fmla="*/ 6634081 w 10664768"/>
              <a:gd name="connsiteY31" fmla="*/ 5065265 h 5251531"/>
              <a:gd name="connsiteX32" fmla="*/ 6185347 w 10664768"/>
              <a:gd name="connsiteY32" fmla="*/ 5226131 h 5251531"/>
              <a:gd name="connsiteX33" fmla="*/ 5905947 w 10664768"/>
              <a:gd name="connsiteY33" fmla="*/ 5251531 h 5251531"/>
              <a:gd name="connsiteX34" fmla="*/ 5736614 w 10664768"/>
              <a:gd name="connsiteY34" fmla="*/ 5243065 h 5251531"/>
              <a:gd name="connsiteX35" fmla="*/ 5270947 w 10664768"/>
              <a:gd name="connsiteY35" fmla="*/ 5132998 h 5251531"/>
              <a:gd name="connsiteX36" fmla="*/ 4947521 w 10664768"/>
              <a:gd name="connsiteY36" fmla="*/ 4947578 h 5251531"/>
              <a:gd name="connsiteX37" fmla="*/ 4674894 w 10664768"/>
              <a:gd name="connsiteY37" fmla="*/ 4747765 h 5251531"/>
              <a:gd name="connsiteX38" fmla="*/ 3965387 w 10664768"/>
              <a:gd name="connsiteY38" fmla="*/ 4430053 h 5251531"/>
              <a:gd name="connsiteX39" fmla="*/ 3729591 w 10664768"/>
              <a:gd name="connsiteY39" fmla="*/ 4113611 h 5251531"/>
              <a:gd name="connsiteX40" fmla="*/ 3550097 w 10664768"/>
              <a:gd name="connsiteY40" fmla="*/ 3366428 h 5251531"/>
              <a:gd name="connsiteX41" fmla="*/ 3061147 w 10664768"/>
              <a:gd name="connsiteY41" fmla="*/ 2969765 h 5251531"/>
              <a:gd name="connsiteX42" fmla="*/ 2959547 w 10664768"/>
              <a:gd name="connsiteY42" fmla="*/ 2703065 h 5251531"/>
              <a:gd name="connsiteX43" fmla="*/ 2984947 w 10664768"/>
              <a:gd name="connsiteY43" fmla="*/ 2491398 h 5251531"/>
              <a:gd name="connsiteX44" fmla="*/ 3001881 w 10664768"/>
              <a:gd name="connsiteY44" fmla="*/ 2389798 h 5251531"/>
              <a:gd name="connsiteX45" fmla="*/ 2976481 w 10664768"/>
              <a:gd name="connsiteY45" fmla="*/ 2220465 h 5251531"/>
              <a:gd name="connsiteX46" fmla="*/ 2790214 w 10664768"/>
              <a:gd name="connsiteY46" fmla="*/ 1966465 h 5251531"/>
              <a:gd name="connsiteX47" fmla="*/ 2629347 w 10664768"/>
              <a:gd name="connsiteY47" fmla="*/ 1822531 h 5251531"/>
              <a:gd name="connsiteX48" fmla="*/ 2434614 w 10664768"/>
              <a:gd name="connsiteY48" fmla="*/ 1771731 h 5251531"/>
              <a:gd name="connsiteX49" fmla="*/ 2155214 w 10664768"/>
              <a:gd name="connsiteY49" fmla="*/ 1839465 h 5251531"/>
              <a:gd name="connsiteX50" fmla="*/ 1647214 w 10664768"/>
              <a:gd name="connsiteY50" fmla="*/ 2034198 h 5251531"/>
              <a:gd name="connsiteX51" fmla="*/ 902147 w 10664768"/>
              <a:gd name="connsiteY51" fmla="*/ 1991865 h 5251531"/>
              <a:gd name="connsiteX52" fmla="*/ 605814 w 10664768"/>
              <a:gd name="connsiteY52" fmla="*/ 1881798 h 5251531"/>
              <a:gd name="connsiteX53" fmla="*/ 342501 w 10664768"/>
              <a:gd name="connsiteY53" fmla="*/ 1636265 h 5251531"/>
              <a:gd name="connsiteX54" fmla="*/ 233281 w 10664768"/>
              <a:gd name="connsiteY54" fmla="*/ 1179065 h 5251531"/>
              <a:gd name="connsiteX55" fmla="*/ 233281 w 10664768"/>
              <a:gd name="connsiteY55" fmla="*/ 806531 h 5251531"/>
              <a:gd name="connsiteX56" fmla="*/ 224814 w 10664768"/>
              <a:gd name="connsiteY56" fmla="*/ 662598 h 5251531"/>
              <a:gd name="connsiteX0" fmla="*/ 182660 w 10622614"/>
              <a:gd name="connsiteY0" fmla="*/ 662598 h 5251531"/>
              <a:gd name="connsiteX1" fmla="*/ 4860 w 10622614"/>
              <a:gd name="connsiteY1" fmla="*/ 205398 h 5251531"/>
              <a:gd name="connsiteX2" fmla="*/ 55660 w 10622614"/>
              <a:gd name="connsiteY2" fmla="*/ 137665 h 5251531"/>
              <a:gd name="connsiteX3" fmla="*/ 148793 w 10622614"/>
              <a:gd name="connsiteY3" fmla="*/ 52998 h 5251531"/>
              <a:gd name="connsiteX4" fmla="*/ 281297 w 10622614"/>
              <a:gd name="connsiteY4" fmla="*/ 17861 h 5251531"/>
              <a:gd name="connsiteX5" fmla="*/ 398579 w 10622614"/>
              <a:gd name="connsiteY5" fmla="*/ 1640 h 5251531"/>
              <a:gd name="connsiteX6" fmla="*/ 824664 w 10622614"/>
              <a:gd name="connsiteY6" fmla="*/ 56616 h 5251531"/>
              <a:gd name="connsiteX7" fmla="*/ 1367993 w 10622614"/>
              <a:gd name="connsiteY7" fmla="*/ 205398 h 5251531"/>
              <a:gd name="connsiteX8" fmla="*/ 1706660 w 10622614"/>
              <a:gd name="connsiteY8" fmla="*/ 383198 h 5251531"/>
              <a:gd name="connsiteX9" fmla="*/ 2350127 w 10622614"/>
              <a:gd name="connsiteY9" fmla="*/ 315465 h 5251531"/>
              <a:gd name="connsiteX10" fmla="*/ 3344805 w 10622614"/>
              <a:gd name="connsiteY10" fmla="*/ 31831 h 5251531"/>
              <a:gd name="connsiteX11" fmla="*/ 4475260 w 10622614"/>
              <a:gd name="connsiteY11" fmla="*/ 230798 h 5251531"/>
              <a:gd name="connsiteX12" fmla="*/ 5576697 w 10622614"/>
              <a:gd name="connsiteY12" fmla="*/ 1109407 h 5251531"/>
              <a:gd name="connsiteX13" fmla="*/ 6827377 w 10622614"/>
              <a:gd name="connsiteY13" fmla="*/ 1325961 h 5251531"/>
              <a:gd name="connsiteX14" fmla="*/ 7784919 w 10622614"/>
              <a:gd name="connsiteY14" fmla="*/ 1143505 h 5251531"/>
              <a:gd name="connsiteX15" fmla="*/ 8598527 w 10622614"/>
              <a:gd name="connsiteY15" fmla="*/ 637198 h 5251531"/>
              <a:gd name="connsiteX16" fmla="*/ 9635693 w 10622614"/>
              <a:gd name="connsiteY16" fmla="*/ 486491 h 5251531"/>
              <a:gd name="connsiteX17" fmla="*/ 10334193 w 10622614"/>
              <a:gd name="connsiteY17" fmla="*/ 848865 h 5251531"/>
              <a:gd name="connsiteX18" fmla="*/ 10528927 w 10622614"/>
              <a:gd name="connsiteY18" fmla="*/ 1407665 h 5251531"/>
              <a:gd name="connsiteX19" fmla="*/ 10622060 w 10622614"/>
              <a:gd name="connsiteY19" fmla="*/ 1814065 h 5251531"/>
              <a:gd name="connsiteX20" fmla="*/ 10554327 w 10622614"/>
              <a:gd name="connsiteY20" fmla="*/ 2211998 h 5251531"/>
              <a:gd name="connsiteX21" fmla="*/ 10308793 w 10622614"/>
              <a:gd name="connsiteY21" fmla="*/ 2872398 h 5251531"/>
              <a:gd name="connsiteX22" fmla="*/ 9893927 w 10622614"/>
              <a:gd name="connsiteY22" fmla="*/ 3295731 h 5251531"/>
              <a:gd name="connsiteX23" fmla="*/ 9013393 w 10622614"/>
              <a:gd name="connsiteY23" fmla="*/ 3820665 h 5251531"/>
              <a:gd name="connsiteX24" fmla="*/ 8316587 w 10622614"/>
              <a:gd name="connsiteY24" fmla="*/ 4046725 h 5251531"/>
              <a:gd name="connsiteX25" fmla="*/ 7912727 w 10622614"/>
              <a:gd name="connsiteY25" fmla="*/ 4193198 h 5251531"/>
              <a:gd name="connsiteX26" fmla="*/ 7320060 w 10622614"/>
              <a:gd name="connsiteY26" fmla="*/ 4616531 h 5251531"/>
              <a:gd name="connsiteX27" fmla="*/ 7320060 w 10622614"/>
              <a:gd name="connsiteY27" fmla="*/ 4616531 h 5251531"/>
              <a:gd name="connsiteX28" fmla="*/ 7167660 w 10622614"/>
              <a:gd name="connsiteY28" fmla="*/ 4735065 h 5251531"/>
              <a:gd name="connsiteX29" fmla="*/ 6972927 w 10622614"/>
              <a:gd name="connsiteY29" fmla="*/ 4862065 h 5251531"/>
              <a:gd name="connsiteX30" fmla="*/ 6591927 w 10622614"/>
              <a:gd name="connsiteY30" fmla="*/ 5065265 h 5251531"/>
              <a:gd name="connsiteX31" fmla="*/ 6143193 w 10622614"/>
              <a:gd name="connsiteY31" fmla="*/ 5226131 h 5251531"/>
              <a:gd name="connsiteX32" fmla="*/ 5863793 w 10622614"/>
              <a:gd name="connsiteY32" fmla="*/ 5251531 h 5251531"/>
              <a:gd name="connsiteX33" fmla="*/ 5694460 w 10622614"/>
              <a:gd name="connsiteY33" fmla="*/ 5243065 h 5251531"/>
              <a:gd name="connsiteX34" fmla="*/ 5228793 w 10622614"/>
              <a:gd name="connsiteY34" fmla="*/ 5132998 h 5251531"/>
              <a:gd name="connsiteX35" fmla="*/ 4905367 w 10622614"/>
              <a:gd name="connsiteY35" fmla="*/ 4947578 h 5251531"/>
              <a:gd name="connsiteX36" fmla="*/ 4632740 w 10622614"/>
              <a:gd name="connsiteY36" fmla="*/ 4747765 h 5251531"/>
              <a:gd name="connsiteX37" fmla="*/ 3923233 w 10622614"/>
              <a:gd name="connsiteY37" fmla="*/ 4430053 h 5251531"/>
              <a:gd name="connsiteX38" fmla="*/ 3687437 w 10622614"/>
              <a:gd name="connsiteY38" fmla="*/ 4113611 h 5251531"/>
              <a:gd name="connsiteX39" fmla="*/ 3507943 w 10622614"/>
              <a:gd name="connsiteY39" fmla="*/ 3366428 h 5251531"/>
              <a:gd name="connsiteX40" fmla="*/ 3018993 w 10622614"/>
              <a:gd name="connsiteY40" fmla="*/ 2969765 h 5251531"/>
              <a:gd name="connsiteX41" fmla="*/ 2917393 w 10622614"/>
              <a:gd name="connsiteY41" fmla="*/ 2703065 h 5251531"/>
              <a:gd name="connsiteX42" fmla="*/ 2942793 w 10622614"/>
              <a:gd name="connsiteY42" fmla="*/ 2491398 h 5251531"/>
              <a:gd name="connsiteX43" fmla="*/ 2959727 w 10622614"/>
              <a:gd name="connsiteY43" fmla="*/ 2389798 h 5251531"/>
              <a:gd name="connsiteX44" fmla="*/ 2934327 w 10622614"/>
              <a:gd name="connsiteY44" fmla="*/ 2220465 h 5251531"/>
              <a:gd name="connsiteX45" fmla="*/ 2748060 w 10622614"/>
              <a:gd name="connsiteY45" fmla="*/ 1966465 h 5251531"/>
              <a:gd name="connsiteX46" fmla="*/ 2587193 w 10622614"/>
              <a:gd name="connsiteY46" fmla="*/ 1822531 h 5251531"/>
              <a:gd name="connsiteX47" fmla="*/ 2392460 w 10622614"/>
              <a:gd name="connsiteY47" fmla="*/ 1771731 h 5251531"/>
              <a:gd name="connsiteX48" fmla="*/ 2113060 w 10622614"/>
              <a:gd name="connsiteY48" fmla="*/ 1839465 h 5251531"/>
              <a:gd name="connsiteX49" fmla="*/ 1605060 w 10622614"/>
              <a:gd name="connsiteY49" fmla="*/ 2034198 h 5251531"/>
              <a:gd name="connsiteX50" fmla="*/ 859993 w 10622614"/>
              <a:gd name="connsiteY50" fmla="*/ 1991865 h 5251531"/>
              <a:gd name="connsiteX51" fmla="*/ 563660 w 10622614"/>
              <a:gd name="connsiteY51" fmla="*/ 1881798 h 5251531"/>
              <a:gd name="connsiteX52" fmla="*/ 300347 w 10622614"/>
              <a:gd name="connsiteY52" fmla="*/ 1636265 h 5251531"/>
              <a:gd name="connsiteX53" fmla="*/ 191127 w 10622614"/>
              <a:gd name="connsiteY53" fmla="*/ 1179065 h 5251531"/>
              <a:gd name="connsiteX54" fmla="*/ 191127 w 10622614"/>
              <a:gd name="connsiteY54" fmla="*/ 806531 h 5251531"/>
              <a:gd name="connsiteX55" fmla="*/ 182660 w 10622614"/>
              <a:gd name="connsiteY55" fmla="*/ 662598 h 5251531"/>
              <a:gd name="connsiteX0" fmla="*/ 178022 w 10617976"/>
              <a:gd name="connsiteY0" fmla="*/ 662598 h 5251531"/>
              <a:gd name="connsiteX1" fmla="*/ 222 w 10617976"/>
              <a:gd name="connsiteY1" fmla="*/ 205398 h 5251531"/>
              <a:gd name="connsiteX2" fmla="*/ 144155 w 10617976"/>
              <a:gd name="connsiteY2" fmla="*/ 52998 h 5251531"/>
              <a:gd name="connsiteX3" fmla="*/ 276659 w 10617976"/>
              <a:gd name="connsiteY3" fmla="*/ 17861 h 5251531"/>
              <a:gd name="connsiteX4" fmla="*/ 393941 w 10617976"/>
              <a:gd name="connsiteY4" fmla="*/ 1640 h 5251531"/>
              <a:gd name="connsiteX5" fmla="*/ 820026 w 10617976"/>
              <a:gd name="connsiteY5" fmla="*/ 56616 h 5251531"/>
              <a:gd name="connsiteX6" fmla="*/ 1363355 w 10617976"/>
              <a:gd name="connsiteY6" fmla="*/ 205398 h 5251531"/>
              <a:gd name="connsiteX7" fmla="*/ 1702022 w 10617976"/>
              <a:gd name="connsiteY7" fmla="*/ 383198 h 5251531"/>
              <a:gd name="connsiteX8" fmla="*/ 2345489 w 10617976"/>
              <a:gd name="connsiteY8" fmla="*/ 315465 h 5251531"/>
              <a:gd name="connsiteX9" fmla="*/ 3340167 w 10617976"/>
              <a:gd name="connsiteY9" fmla="*/ 31831 h 5251531"/>
              <a:gd name="connsiteX10" fmla="*/ 4470622 w 10617976"/>
              <a:gd name="connsiteY10" fmla="*/ 230798 h 5251531"/>
              <a:gd name="connsiteX11" fmla="*/ 5572059 w 10617976"/>
              <a:gd name="connsiteY11" fmla="*/ 1109407 h 5251531"/>
              <a:gd name="connsiteX12" fmla="*/ 6822739 w 10617976"/>
              <a:gd name="connsiteY12" fmla="*/ 1325961 h 5251531"/>
              <a:gd name="connsiteX13" fmla="*/ 7780281 w 10617976"/>
              <a:gd name="connsiteY13" fmla="*/ 1143505 h 5251531"/>
              <a:gd name="connsiteX14" fmla="*/ 8593889 w 10617976"/>
              <a:gd name="connsiteY14" fmla="*/ 637198 h 5251531"/>
              <a:gd name="connsiteX15" fmla="*/ 9631055 w 10617976"/>
              <a:gd name="connsiteY15" fmla="*/ 486491 h 5251531"/>
              <a:gd name="connsiteX16" fmla="*/ 10329555 w 10617976"/>
              <a:gd name="connsiteY16" fmla="*/ 848865 h 5251531"/>
              <a:gd name="connsiteX17" fmla="*/ 10524289 w 10617976"/>
              <a:gd name="connsiteY17" fmla="*/ 1407665 h 5251531"/>
              <a:gd name="connsiteX18" fmla="*/ 10617422 w 10617976"/>
              <a:gd name="connsiteY18" fmla="*/ 1814065 h 5251531"/>
              <a:gd name="connsiteX19" fmla="*/ 10549689 w 10617976"/>
              <a:gd name="connsiteY19" fmla="*/ 2211998 h 5251531"/>
              <a:gd name="connsiteX20" fmla="*/ 10304155 w 10617976"/>
              <a:gd name="connsiteY20" fmla="*/ 2872398 h 5251531"/>
              <a:gd name="connsiteX21" fmla="*/ 9889289 w 10617976"/>
              <a:gd name="connsiteY21" fmla="*/ 3295731 h 5251531"/>
              <a:gd name="connsiteX22" fmla="*/ 9008755 w 10617976"/>
              <a:gd name="connsiteY22" fmla="*/ 3820665 h 5251531"/>
              <a:gd name="connsiteX23" fmla="*/ 8311949 w 10617976"/>
              <a:gd name="connsiteY23" fmla="*/ 4046725 h 5251531"/>
              <a:gd name="connsiteX24" fmla="*/ 7908089 w 10617976"/>
              <a:gd name="connsiteY24" fmla="*/ 4193198 h 5251531"/>
              <a:gd name="connsiteX25" fmla="*/ 7315422 w 10617976"/>
              <a:gd name="connsiteY25" fmla="*/ 4616531 h 5251531"/>
              <a:gd name="connsiteX26" fmla="*/ 7315422 w 10617976"/>
              <a:gd name="connsiteY26" fmla="*/ 4616531 h 5251531"/>
              <a:gd name="connsiteX27" fmla="*/ 7163022 w 10617976"/>
              <a:gd name="connsiteY27" fmla="*/ 4735065 h 5251531"/>
              <a:gd name="connsiteX28" fmla="*/ 6968289 w 10617976"/>
              <a:gd name="connsiteY28" fmla="*/ 4862065 h 5251531"/>
              <a:gd name="connsiteX29" fmla="*/ 6587289 w 10617976"/>
              <a:gd name="connsiteY29" fmla="*/ 5065265 h 5251531"/>
              <a:gd name="connsiteX30" fmla="*/ 6138555 w 10617976"/>
              <a:gd name="connsiteY30" fmla="*/ 5226131 h 5251531"/>
              <a:gd name="connsiteX31" fmla="*/ 5859155 w 10617976"/>
              <a:gd name="connsiteY31" fmla="*/ 5251531 h 5251531"/>
              <a:gd name="connsiteX32" fmla="*/ 5689822 w 10617976"/>
              <a:gd name="connsiteY32" fmla="*/ 5243065 h 5251531"/>
              <a:gd name="connsiteX33" fmla="*/ 5224155 w 10617976"/>
              <a:gd name="connsiteY33" fmla="*/ 5132998 h 5251531"/>
              <a:gd name="connsiteX34" fmla="*/ 4900729 w 10617976"/>
              <a:gd name="connsiteY34" fmla="*/ 4947578 h 5251531"/>
              <a:gd name="connsiteX35" fmla="*/ 4628102 w 10617976"/>
              <a:gd name="connsiteY35" fmla="*/ 4747765 h 5251531"/>
              <a:gd name="connsiteX36" fmla="*/ 3918595 w 10617976"/>
              <a:gd name="connsiteY36" fmla="*/ 4430053 h 5251531"/>
              <a:gd name="connsiteX37" fmla="*/ 3682799 w 10617976"/>
              <a:gd name="connsiteY37" fmla="*/ 4113611 h 5251531"/>
              <a:gd name="connsiteX38" fmla="*/ 3503305 w 10617976"/>
              <a:gd name="connsiteY38" fmla="*/ 3366428 h 5251531"/>
              <a:gd name="connsiteX39" fmla="*/ 3014355 w 10617976"/>
              <a:gd name="connsiteY39" fmla="*/ 2969765 h 5251531"/>
              <a:gd name="connsiteX40" fmla="*/ 2912755 w 10617976"/>
              <a:gd name="connsiteY40" fmla="*/ 2703065 h 5251531"/>
              <a:gd name="connsiteX41" fmla="*/ 2938155 w 10617976"/>
              <a:gd name="connsiteY41" fmla="*/ 2491398 h 5251531"/>
              <a:gd name="connsiteX42" fmla="*/ 2955089 w 10617976"/>
              <a:gd name="connsiteY42" fmla="*/ 2389798 h 5251531"/>
              <a:gd name="connsiteX43" fmla="*/ 2929689 w 10617976"/>
              <a:gd name="connsiteY43" fmla="*/ 2220465 h 5251531"/>
              <a:gd name="connsiteX44" fmla="*/ 2743422 w 10617976"/>
              <a:gd name="connsiteY44" fmla="*/ 1966465 h 5251531"/>
              <a:gd name="connsiteX45" fmla="*/ 2582555 w 10617976"/>
              <a:gd name="connsiteY45" fmla="*/ 1822531 h 5251531"/>
              <a:gd name="connsiteX46" fmla="*/ 2387822 w 10617976"/>
              <a:gd name="connsiteY46" fmla="*/ 1771731 h 5251531"/>
              <a:gd name="connsiteX47" fmla="*/ 2108422 w 10617976"/>
              <a:gd name="connsiteY47" fmla="*/ 1839465 h 5251531"/>
              <a:gd name="connsiteX48" fmla="*/ 1600422 w 10617976"/>
              <a:gd name="connsiteY48" fmla="*/ 2034198 h 5251531"/>
              <a:gd name="connsiteX49" fmla="*/ 855355 w 10617976"/>
              <a:gd name="connsiteY49" fmla="*/ 1991865 h 5251531"/>
              <a:gd name="connsiteX50" fmla="*/ 559022 w 10617976"/>
              <a:gd name="connsiteY50" fmla="*/ 1881798 h 5251531"/>
              <a:gd name="connsiteX51" fmla="*/ 295709 w 10617976"/>
              <a:gd name="connsiteY51" fmla="*/ 1636265 h 5251531"/>
              <a:gd name="connsiteX52" fmla="*/ 186489 w 10617976"/>
              <a:gd name="connsiteY52" fmla="*/ 1179065 h 5251531"/>
              <a:gd name="connsiteX53" fmla="*/ 186489 w 10617976"/>
              <a:gd name="connsiteY53" fmla="*/ 806531 h 5251531"/>
              <a:gd name="connsiteX54" fmla="*/ 178022 w 10617976"/>
              <a:gd name="connsiteY54" fmla="*/ 662598 h 5251531"/>
              <a:gd name="connsiteX0" fmla="*/ 37568 w 10477522"/>
              <a:gd name="connsiteY0" fmla="*/ 665938 h 5254871"/>
              <a:gd name="connsiteX1" fmla="*/ 3701 w 10477522"/>
              <a:gd name="connsiteY1" fmla="*/ 56338 h 5254871"/>
              <a:gd name="connsiteX2" fmla="*/ 136205 w 10477522"/>
              <a:gd name="connsiteY2" fmla="*/ 21201 h 5254871"/>
              <a:gd name="connsiteX3" fmla="*/ 253487 w 10477522"/>
              <a:gd name="connsiteY3" fmla="*/ 4980 h 5254871"/>
              <a:gd name="connsiteX4" fmla="*/ 679572 w 10477522"/>
              <a:gd name="connsiteY4" fmla="*/ 59956 h 5254871"/>
              <a:gd name="connsiteX5" fmla="*/ 1222901 w 10477522"/>
              <a:gd name="connsiteY5" fmla="*/ 208738 h 5254871"/>
              <a:gd name="connsiteX6" fmla="*/ 1561568 w 10477522"/>
              <a:gd name="connsiteY6" fmla="*/ 386538 h 5254871"/>
              <a:gd name="connsiteX7" fmla="*/ 2205035 w 10477522"/>
              <a:gd name="connsiteY7" fmla="*/ 318805 h 5254871"/>
              <a:gd name="connsiteX8" fmla="*/ 3199713 w 10477522"/>
              <a:gd name="connsiteY8" fmla="*/ 35171 h 5254871"/>
              <a:gd name="connsiteX9" fmla="*/ 4330168 w 10477522"/>
              <a:gd name="connsiteY9" fmla="*/ 234138 h 5254871"/>
              <a:gd name="connsiteX10" fmla="*/ 5431605 w 10477522"/>
              <a:gd name="connsiteY10" fmla="*/ 1112747 h 5254871"/>
              <a:gd name="connsiteX11" fmla="*/ 6682285 w 10477522"/>
              <a:gd name="connsiteY11" fmla="*/ 1329301 h 5254871"/>
              <a:gd name="connsiteX12" fmla="*/ 7639827 w 10477522"/>
              <a:gd name="connsiteY12" fmla="*/ 1146845 h 5254871"/>
              <a:gd name="connsiteX13" fmla="*/ 8453435 w 10477522"/>
              <a:gd name="connsiteY13" fmla="*/ 640538 h 5254871"/>
              <a:gd name="connsiteX14" fmla="*/ 9490601 w 10477522"/>
              <a:gd name="connsiteY14" fmla="*/ 489831 h 5254871"/>
              <a:gd name="connsiteX15" fmla="*/ 10189101 w 10477522"/>
              <a:gd name="connsiteY15" fmla="*/ 852205 h 5254871"/>
              <a:gd name="connsiteX16" fmla="*/ 10383835 w 10477522"/>
              <a:gd name="connsiteY16" fmla="*/ 1411005 h 5254871"/>
              <a:gd name="connsiteX17" fmla="*/ 10476968 w 10477522"/>
              <a:gd name="connsiteY17" fmla="*/ 1817405 h 5254871"/>
              <a:gd name="connsiteX18" fmla="*/ 10409235 w 10477522"/>
              <a:gd name="connsiteY18" fmla="*/ 2215338 h 5254871"/>
              <a:gd name="connsiteX19" fmla="*/ 10163701 w 10477522"/>
              <a:gd name="connsiteY19" fmla="*/ 2875738 h 5254871"/>
              <a:gd name="connsiteX20" fmla="*/ 9748835 w 10477522"/>
              <a:gd name="connsiteY20" fmla="*/ 3299071 h 5254871"/>
              <a:gd name="connsiteX21" fmla="*/ 8868301 w 10477522"/>
              <a:gd name="connsiteY21" fmla="*/ 3824005 h 5254871"/>
              <a:gd name="connsiteX22" fmla="*/ 8171495 w 10477522"/>
              <a:gd name="connsiteY22" fmla="*/ 4050065 h 5254871"/>
              <a:gd name="connsiteX23" fmla="*/ 7767635 w 10477522"/>
              <a:gd name="connsiteY23" fmla="*/ 4196538 h 5254871"/>
              <a:gd name="connsiteX24" fmla="*/ 7174968 w 10477522"/>
              <a:gd name="connsiteY24" fmla="*/ 4619871 h 5254871"/>
              <a:gd name="connsiteX25" fmla="*/ 7174968 w 10477522"/>
              <a:gd name="connsiteY25" fmla="*/ 4619871 h 5254871"/>
              <a:gd name="connsiteX26" fmla="*/ 7022568 w 10477522"/>
              <a:gd name="connsiteY26" fmla="*/ 4738405 h 5254871"/>
              <a:gd name="connsiteX27" fmla="*/ 6827835 w 10477522"/>
              <a:gd name="connsiteY27" fmla="*/ 4865405 h 5254871"/>
              <a:gd name="connsiteX28" fmla="*/ 6446835 w 10477522"/>
              <a:gd name="connsiteY28" fmla="*/ 5068605 h 5254871"/>
              <a:gd name="connsiteX29" fmla="*/ 5998101 w 10477522"/>
              <a:gd name="connsiteY29" fmla="*/ 5229471 h 5254871"/>
              <a:gd name="connsiteX30" fmla="*/ 5718701 w 10477522"/>
              <a:gd name="connsiteY30" fmla="*/ 5254871 h 5254871"/>
              <a:gd name="connsiteX31" fmla="*/ 5549368 w 10477522"/>
              <a:gd name="connsiteY31" fmla="*/ 5246405 h 5254871"/>
              <a:gd name="connsiteX32" fmla="*/ 5083701 w 10477522"/>
              <a:gd name="connsiteY32" fmla="*/ 5136338 h 5254871"/>
              <a:gd name="connsiteX33" fmla="*/ 4760275 w 10477522"/>
              <a:gd name="connsiteY33" fmla="*/ 4950918 h 5254871"/>
              <a:gd name="connsiteX34" fmla="*/ 4487648 w 10477522"/>
              <a:gd name="connsiteY34" fmla="*/ 4751105 h 5254871"/>
              <a:gd name="connsiteX35" fmla="*/ 3778141 w 10477522"/>
              <a:gd name="connsiteY35" fmla="*/ 4433393 h 5254871"/>
              <a:gd name="connsiteX36" fmla="*/ 3542345 w 10477522"/>
              <a:gd name="connsiteY36" fmla="*/ 4116951 h 5254871"/>
              <a:gd name="connsiteX37" fmla="*/ 3362851 w 10477522"/>
              <a:gd name="connsiteY37" fmla="*/ 3369768 h 5254871"/>
              <a:gd name="connsiteX38" fmla="*/ 2873901 w 10477522"/>
              <a:gd name="connsiteY38" fmla="*/ 2973105 h 5254871"/>
              <a:gd name="connsiteX39" fmla="*/ 2772301 w 10477522"/>
              <a:gd name="connsiteY39" fmla="*/ 2706405 h 5254871"/>
              <a:gd name="connsiteX40" fmla="*/ 2797701 w 10477522"/>
              <a:gd name="connsiteY40" fmla="*/ 2494738 h 5254871"/>
              <a:gd name="connsiteX41" fmla="*/ 2814635 w 10477522"/>
              <a:gd name="connsiteY41" fmla="*/ 2393138 h 5254871"/>
              <a:gd name="connsiteX42" fmla="*/ 2789235 w 10477522"/>
              <a:gd name="connsiteY42" fmla="*/ 2223805 h 5254871"/>
              <a:gd name="connsiteX43" fmla="*/ 2602968 w 10477522"/>
              <a:gd name="connsiteY43" fmla="*/ 1969805 h 5254871"/>
              <a:gd name="connsiteX44" fmla="*/ 2442101 w 10477522"/>
              <a:gd name="connsiteY44" fmla="*/ 1825871 h 5254871"/>
              <a:gd name="connsiteX45" fmla="*/ 2247368 w 10477522"/>
              <a:gd name="connsiteY45" fmla="*/ 1775071 h 5254871"/>
              <a:gd name="connsiteX46" fmla="*/ 1967968 w 10477522"/>
              <a:gd name="connsiteY46" fmla="*/ 1842805 h 5254871"/>
              <a:gd name="connsiteX47" fmla="*/ 1459968 w 10477522"/>
              <a:gd name="connsiteY47" fmla="*/ 2037538 h 5254871"/>
              <a:gd name="connsiteX48" fmla="*/ 714901 w 10477522"/>
              <a:gd name="connsiteY48" fmla="*/ 1995205 h 5254871"/>
              <a:gd name="connsiteX49" fmla="*/ 418568 w 10477522"/>
              <a:gd name="connsiteY49" fmla="*/ 1885138 h 5254871"/>
              <a:gd name="connsiteX50" fmla="*/ 155255 w 10477522"/>
              <a:gd name="connsiteY50" fmla="*/ 1639605 h 5254871"/>
              <a:gd name="connsiteX51" fmla="*/ 46035 w 10477522"/>
              <a:gd name="connsiteY51" fmla="*/ 1182405 h 5254871"/>
              <a:gd name="connsiteX52" fmla="*/ 46035 w 10477522"/>
              <a:gd name="connsiteY52" fmla="*/ 809871 h 5254871"/>
              <a:gd name="connsiteX53" fmla="*/ 37568 w 10477522"/>
              <a:gd name="connsiteY53" fmla="*/ 665938 h 5254871"/>
              <a:gd name="connsiteX0" fmla="*/ 5424 w 10445378"/>
              <a:gd name="connsiteY0" fmla="*/ 699992 h 5288925"/>
              <a:gd name="connsiteX1" fmla="*/ 104061 w 10445378"/>
              <a:gd name="connsiteY1" fmla="*/ 55255 h 5288925"/>
              <a:gd name="connsiteX2" fmla="*/ 221343 w 10445378"/>
              <a:gd name="connsiteY2" fmla="*/ 39034 h 5288925"/>
              <a:gd name="connsiteX3" fmla="*/ 647428 w 10445378"/>
              <a:gd name="connsiteY3" fmla="*/ 94010 h 5288925"/>
              <a:gd name="connsiteX4" fmla="*/ 1190757 w 10445378"/>
              <a:gd name="connsiteY4" fmla="*/ 242792 h 5288925"/>
              <a:gd name="connsiteX5" fmla="*/ 1529424 w 10445378"/>
              <a:gd name="connsiteY5" fmla="*/ 420592 h 5288925"/>
              <a:gd name="connsiteX6" fmla="*/ 2172891 w 10445378"/>
              <a:gd name="connsiteY6" fmla="*/ 352859 h 5288925"/>
              <a:gd name="connsiteX7" fmla="*/ 3167569 w 10445378"/>
              <a:gd name="connsiteY7" fmla="*/ 69225 h 5288925"/>
              <a:gd name="connsiteX8" fmla="*/ 4298024 w 10445378"/>
              <a:gd name="connsiteY8" fmla="*/ 268192 h 5288925"/>
              <a:gd name="connsiteX9" fmla="*/ 5399461 w 10445378"/>
              <a:gd name="connsiteY9" fmla="*/ 1146801 h 5288925"/>
              <a:gd name="connsiteX10" fmla="*/ 6650141 w 10445378"/>
              <a:gd name="connsiteY10" fmla="*/ 1363355 h 5288925"/>
              <a:gd name="connsiteX11" fmla="*/ 7607683 w 10445378"/>
              <a:gd name="connsiteY11" fmla="*/ 1180899 h 5288925"/>
              <a:gd name="connsiteX12" fmla="*/ 8421291 w 10445378"/>
              <a:gd name="connsiteY12" fmla="*/ 674592 h 5288925"/>
              <a:gd name="connsiteX13" fmla="*/ 9458457 w 10445378"/>
              <a:gd name="connsiteY13" fmla="*/ 523885 h 5288925"/>
              <a:gd name="connsiteX14" fmla="*/ 10156957 w 10445378"/>
              <a:gd name="connsiteY14" fmla="*/ 886259 h 5288925"/>
              <a:gd name="connsiteX15" fmla="*/ 10351691 w 10445378"/>
              <a:gd name="connsiteY15" fmla="*/ 1445059 h 5288925"/>
              <a:gd name="connsiteX16" fmla="*/ 10444824 w 10445378"/>
              <a:gd name="connsiteY16" fmla="*/ 1851459 h 5288925"/>
              <a:gd name="connsiteX17" fmla="*/ 10377091 w 10445378"/>
              <a:gd name="connsiteY17" fmla="*/ 2249392 h 5288925"/>
              <a:gd name="connsiteX18" fmla="*/ 10131557 w 10445378"/>
              <a:gd name="connsiteY18" fmla="*/ 2909792 h 5288925"/>
              <a:gd name="connsiteX19" fmla="*/ 9716691 w 10445378"/>
              <a:gd name="connsiteY19" fmla="*/ 3333125 h 5288925"/>
              <a:gd name="connsiteX20" fmla="*/ 8836157 w 10445378"/>
              <a:gd name="connsiteY20" fmla="*/ 3858059 h 5288925"/>
              <a:gd name="connsiteX21" fmla="*/ 8139351 w 10445378"/>
              <a:gd name="connsiteY21" fmla="*/ 4084119 h 5288925"/>
              <a:gd name="connsiteX22" fmla="*/ 7735491 w 10445378"/>
              <a:gd name="connsiteY22" fmla="*/ 4230592 h 5288925"/>
              <a:gd name="connsiteX23" fmla="*/ 7142824 w 10445378"/>
              <a:gd name="connsiteY23" fmla="*/ 4653925 h 5288925"/>
              <a:gd name="connsiteX24" fmla="*/ 7142824 w 10445378"/>
              <a:gd name="connsiteY24" fmla="*/ 4653925 h 5288925"/>
              <a:gd name="connsiteX25" fmla="*/ 6990424 w 10445378"/>
              <a:gd name="connsiteY25" fmla="*/ 4772459 h 5288925"/>
              <a:gd name="connsiteX26" fmla="*/ 6795691 w 10445378"/>
              <a:gd name="connsiteY26" fmla="*/ 4899459 h 5288925"/>
              <a:gd name="connsiteX27" fmla="*/ 6414691 w 10445378"/>
              <a:gd name="connsiteY27" fmla="*/ 5102659 h 5288925"/>
              <a:gd name="connsiteX28" fmla="*/ 5965957 w 10445378"/>
              <a:gd name="connsiteY28" fmla="*/ 5263525 h 5288925"/>
              <a:gd name="connsiteX29" fmla="*/ 5686557 w 10445378"/>
              <a:gd name="connsiteY29" fmla="*/ 5288925 h 5288925"/>
              <a:gd name="connsiteX30" fmla="*/ 5517224 w 10445378"/>
              <a:gd name="connsiteY30" fmla="*/ 5280459 h 5288925"/>
              <a:gd name="connsiteX31" fmla="*/ 5051557 w 10445378"/>
              <a:gd name="connsiteY31" fmla="*/ 5170392 h 5288925"/>
              <a:gd name="connsiteX32" fmla="*/ 4728131 w 10445378"/>
              <a:gd name="connsiteY32" fmla="*/ 4984972 h 5288925"/>
              <a:gd name="connsiteX33" fmla="*/ 4455504 w 10445378"/>
              <a:gd name="connsiteY33" fmla="*/ 4785159 h 5288925"/>
              <a:gd name="connsiteX34" fmla="*/ 3745997 w 10445378"/>
              <a:gd name="connsiteY34" fmla="*/ 4467447 h 5288925"/>
              <a:gd name="connsiteX35" fmla="*/ 3510201 w 10445378"/>
              <a:gd name="connsiteY35" fmla="*/ 4151005 h 5288925"/>
              <a:gd name="connsiteX36" fmla="*/ 3330707 w 10445378"/>
              <a:gd name="connsiteY36" fmla="*/ 3403822 h 5288925"/>
              <a:gd name="connsiteX37" fmla="*/ 2841757 w 10445378"/>
              <a:gd name="connsiteY37" fmla="*/ 3007159 h 5288925"/>
              <a:gd name="connsiteX38" fmla="*/ 2740157 w 10445378"/>
              <a:gd name="connsiteY38" fmla="*/ 2740459 h 5288925"/>
              <a:gd name="connsiteX39" fmla="*/ 2765557 w 10445378"/>
              <a:gd name="connsiteY39" fmla="*/ 2528792 h 5288925"/>
              <a:gd name="connsiteX40" fmla="*/ 2782491 w 10445378"/>
              <a:gd name="connsiteY40" fmla="*/ 2427192 h 5288925"/>
              <a:gd name="connsiteX41" fmla="*/ 2757091 w 10445378"/>
              <a:gd name="connsiteY41" fmla="*/ 2257859 h 5288925"/>
              <a:gd name="connsiteX42" fmla="*/ 2570824 w 10445378"/>
              <a:gd name="connsiteY42" fmla="*/ 2003859 h 5288925"/>
              <a:gd name="connsiteX43" fmla="*/ 2409957 w 10445378"/>
              <a:gd name="connsiteY43" fmla="*/ 1859925 h 5288925"/>
              <a:gd name="connsiteX44" fmla="*/ 2215224 w 10445378"/>
              <a:gd name="connsiteY44" fmla="*/ 1809125 h 5288925"/>
              <a:gd name="connsiteX45" fmla="*/ 1935824 w 10445378"/>
              <a:gd name="connsiteY45" fmla="*/ 1876859 h 5288925"/>
              <a:gd name="connsiteX46" fmla="*/ 1427824 w 10445378"/>
              <a:gd name="connsiteY46" fmla="*/ 2071592 h 5288925"/>
              <a:gd name="connsiteX47" fmla="*/ 682757 w 10445378"/>
              <a:gd name="connsiteY47" fmla="*/ 2029259 h 5288925"/>
              <a:gd name="connsiteX48" fmla="*/ 386424 w 10445378"/>
              <a:gd name="connsiteY48" fmla="*/ 1919192 h 5288925"/>
              <a:gd name="connsiteX49" fmla="*/ 123111 w 10445378"/>
              <a:gd name="connsiteY49" fmla="*/ 1673659 h 5288925"/>
              <a:gd name="connsiteX50" fmla="*/ 13891 w 10445378"/>
              <a:gd name="connsiteY50" fmla="*/ 1216459 h 5288925"/>
              <a:gd name="connsiteX51" fmla="*/ 13891 w 10445378"/>
              <a:gd name="connsiteY51" fmla="*/ 843925 h 5288925"/>
              <a:gd name="connsiteX52" fmla="*/ 5424 w 10445378"/>
              <a:gd name="connsiteY52" fmla="*/ 699992 h 5288925"/>
              <a:gd name="connsiteX0" fmla="*/ 46817 w 10486771"/>
              <a:gd name="connsiteY0" fmla="*/ 665380 h 5254313"/>
              <a:gd name="connsiteX1" fmla="*/ 10834 w 10486771"/>
              <a:gd name="connsiteY1" fmla="*/ 203523 h 5254313"/>
              <a:gd name="connsiteX2" fmla="*/ 262736 w 10486771"/>
              <a:gd name="connsiteY2" fmla="*/ 4422 h 5254313"/>
              <a:gd name="connsiteX3" fmla="*/ 688821 w 10486771"/>
              <a:gd name="connsiteY3" fmla="*/ 59398 h 5254313"/>
              <a:gd name="connsiteX4" fmla="*/ 1232150 w 10486771"/>
              <a:gd name="connsiteY4" fmla="*/ 208180 h 5254313"/>
              <a:gd name="connsiteX5" fmla="*/ 1570817 w 10486771"/>
              <a:gd name="connsiteY5" fmla="*/ 385980 h 5254313"/>
              <a:gd name="connsiteX6" fmla="*/ 2214284 w 10486771"/>
              <a:gd name="connsiteY6" fmla="*/ 318247 h 5254313"/>
              <a:gd name="connsiteX7" fmla="*/ 3208962 w 10486771"/>
              <a:gd name="connsiteY7" fmla="*/ 34613 h 5254313"/>
              <a:gd name="connsiteX8" fmla="*/ 4339417 w 10486771"/>
              <a:gd name="connsiteY8" fmla="*/ 233580 h 5254313"/>
              <a:gd name="connsiteX9" fmla="*/ 5440854 w 10486771"/>
              <a:gd name="connsiteY9" fmla="*/ 1112189 h 5254313"/>
              <a:gd name="connsiteX10" fmla="*/ 6691534 w 10486771"/>
              <a:gd name="connsiteY10" fmla="*/ 1328743 h 5254313"/>
              <a:gd name="connsiteX11" fmla="*/ 7649076 w 10486771"/>
              <a:gd name="connsiteY11" fmla="*/ 1146287 h 5254313"/>
              <a:gd name="connsiteX12" fmla="*/ 8462684 w 10486771"/>
              <a:gd name="connsiteY12" fmla="*/ 639980 h 5254313"/>
              <a:gd name="connsiteX13" fmla="*/ 9499850 w 10486771"/>
              <a:gd name="connsiteY13" fmla="*/ 489273 h 5254313"/>
              <a:gd name="connsiteX14" fmla="*/ 10198350 w 10486771"/>
              <a:gd name="connsiteY14" fmla="*/ 851647 h 5254313"/>
              <a:gd name="connsiteX15" fmla="*/ 10393084 w 10486771"/>
              <a:gd name="connsiteY15" fmla="*/ 1410447 h 5254313"/>
              <a:gd name="connsiteX16" fmla="*/ 10486217 w 10486771"/>
              <a:gd name="connsiteY16" fmla="*/ 1816847 h 5254313"/>
              <a:gd name="connsiteX17" fmla="*/ 10418484 w 10486771"/>
              <a:gd name="connsiteY17" fmla="*/ 2214780 h 5254313"/>
              <a:gd name="connsiteX18" fmla="*/ 10172950 w 10486771"/>
              <a:gd name="connsiteY18" fmla="*/ 2875180 h 5254313"/>
              <a:gd name="connsiteX19" fmla="*/ 9758084 w 10486771"/>
              <a:gd name="connsiteY19" fmla="*/ 3298513 h 5254313"/>
              <a:gd name="connsiteX20" fmla="*/ 8877550 w 10486771"/>
              <a:gd name="connsiteY20" fmla="*/ 3823447 h 5254313"/>
              <a:gd name="connsiteX21" fmla="*/ 8180744 w 10486771"/>
              <a:gd name="connsiteY21" fmla="*/ 4049507 h 5254313"/>
              <a:gd name="connsiteX22" fmla="*/ 7776884 w 10486771"/>
              <a:gd name="connsiteY22" fmla="*/ 4195980 h 5254313"/>
              <a:gd name="connsiteX23" fmla="*/ 7184217 w 10486771"/>
              <a:gd name="connsiteY23" fmla="*/ 4619313 h 5254313"/>
              <a:gd name="connsiteX24" fmla="*/ 7184217 w 10486771"/>
              <a:gd name="connsiteY24" fmla="*/ 4619313 h 5254313"/>
              <a:gd name="connsiteX25" fmla="*/ 7031817 w 10486771"/>
              <a:gd name="connsiteY25" fmla="*/ 4737847 h 5254313"/>
              <a:gd name="connsiteX26" fmla="*/ 6837084 w 10486771"/>
              <a:gd name="connsiteY26" fmla="*/ 4864847 h 5254313"/>
              <a:gd name="connsiteX27" fmla="*/ 6456084 w 10486771"/>
              <a:gd name="connsiteY27" fmla="*/ 5068047 h 5254313"/>
              <a:gd name="connsiteX28" fmla="*/ 6007350 w 10486771"/>
              <a:gd name="connsiteY28" fmla="*/ 5228913 h 5254313"/>
              <a:gd name="connsiteX29" fmla="*/ 5727950 w 10486771"/>
              <a:gd name="connsiteY29" fmla="*/ 5254313 h 5254313"/>
              <a:gd name="connsiteX30" fmla="*/ 5558617 w 10486771"/>
              <a:gd name="connsiteY30" fmla="*/ 5245847 h 5254313"/>
              <a:gd name="connsiteX31" fmla="*/ 5092950 w 10486771"/>
              <a:gd name="connsiteY31" fmla="*/ 5135780 h 5254313"/>
              <a:gd name="connsiteX32" fmla="*/ 4769524 w 10486771"/>
              <a:gd name="connsiteY32" fmla="*/ 4950360 h 5254313"/>
              <a:gd name="connsiteX33" fmla="*/ 4496897 w 10486771"/>
              <a:gd name="connsiteY33" fmla="*/ 4750547 h 5254313"/>
              <a:gd name="connsiteX34" fmla="*/ 3787390 w 10486771"/>
              <a:gd name="connsiteY34" fmla="*/ 4432835 h 5254313"/>
              <a:gd name="connsiteX35" fmla="*/ 3551594 w 10486771"/>
              <a:gd name="connsiteY35" fmla="*/ 4116393 h 5254313"/>
              <a:gd name="connsiteX36" fmla="*/ 3372100 w 10486771"/>
              <a:gd name="connsiteY36" fmla="*/ 3369210 h 5254313"/>
              <a:gd name="connsiteX37" fmla="*/ 2883150 w 10486771"/>
              <a:gd name="connsiteY37" fmla="*/ 2972547 h 5254313"/>
              <a:gd name="connsiteX38" fmla="*/ 2781550 w 10486771"/>
              <a:gd name="connsiteY38" fmla="*/ 2705847 h 5254313"/>
              <a:gd name="connsiteX39" fmla="*/ 2806950 w 10486771"/>
              <a:gd name="connsiteY39" fmla="*/ 2494180 h 5254313"/>
              <a:gd name="connsiteX40" fmla="*/ 2823884 w 10486771"/>
              <a:gd name="connsiteY40" fmla="*/ 2392580 h 5254313"/>
              <a:gd name="connsiteX41" fmla="*/ 2798484 w 10486771"/>
              <a:gd name="connsiteY41" fmla="*/ 2223247 h 5254313"/>
              <a:gd name="connsiteX42" fmla="*/ 2612217 w 10486771"/>
              <a:gd name="connsiteY42" fmla="*/ 1969247 h 5254313"/>
              <a:gd name="connsiteX43" fmla="*/ 2451350 w 10486771"/>
              <a:gd name="connsiteY43" fmla="*/ 1825313 h 5254313"/>
              <a:gd name="connsiteX44" fmla="*/ 2256617 w 10486771"/>
              <a:gd name="connsiteY44" fmla="*/ 1774513 h 5254313"/>
              <a:gd name="connsiteX45" fmla="*/ 1977217 w 10486771"/>
              <a:gd name="connsiteY45" fmla="*/ 1842247 h 5254313"/>
              <a:gd name="connsiteX46" fmla="*/ 1469217 w 10486771"/>
              <a:gd name="connsiteY46" fmla="*/ 2036980 h 5254313"/>
              <a:gd name="connsiteX47" fmla="*/ 724150 w 10486771"/>
              <a:gd name="connsiteY47" fmla="*/ 1994647 h 5254313"/>
              <a:gd name="connsiteX48" fmla="*/ 427817 w 10486771"/>
              <a:gd name="connsiteY48" fmla="*/ 1884580 h 5254313"/>
              <a:gd name="connsiteX49" fmla="*/ 164504 w 10486771"/>
              <a:gd name="connsiteY49" fmla="*/ 1639047 h 5254313"/>
              <a:gd name="connsiteX50" fmla="*/ 55284 w 10486771"/>
              <a:gd name="connsiteY50" fmla="*/ 1181847 h 5254313"/>
              <a:gd name="connsiteX51" fmla="*/ 55284 w 10486771"/>
              <a:gd name="connsiteY51" fmla="*/ 809313 h 5254313"/>
              <a:gd name="connsiteX52" fmla="*/ 46817 w 10486771"/>
              <a:gd name="connsiteY52" fmla="*/ 665380 h 5254313"/>
              <a:gd name="connsiteX0" fmla="*/ 67776 w 10507730"/>
              <a:gd name="connsiteY0" fmla="*/ 665754 h 5254687"/>
              <a:gd name="connsiteX1" fmla="*/ 8933 w 10507730"/>
              <a:gd name="connsiteY1" fmla="*/ 211517 h 5254687"/>
              <a:gd name="connsiteX2" fmla="*/ 283695 w 10507730"/>
              <a:gd name="connsiteY2" fmla="*/ 4796 h 5254687"/>
              <a:gd name="connsiteX3" fmla="*/ 709780 w 10507730"/>
              <a:gd name="connsiteY3" fmla="*/ 59772 h 5254687"/>
              <a:gd name="connsiteX4" fmla="*/ 1253109 w 10507730"/>
              <a:gd name="connsiteY4" fmla="*/ 208554 h 5254687"/>
              <a:gd name="connsiteX5" fmla="*/ 1591776 w 10507730"/>
              <a:gd name="connsiteY5" fmla="*/ 386354 h 5254687"/>
              <a:gd name="connsiteX6" fmla="*/ 2235243 w 10507730"/>
              <a:gd name="connsiteY6" fmla="*/ 318621 h 5254687"/>
              <a:gd name="connsiteX7" fmla="*/ 3229921 w 10507730"/>
              <a:gd name="connsiteY7" fmla="*/ 34987 h 5254687"/>
              <a:gd name="connsiteX8" fmla="*/ 4360376 w 10507730"/>
              <a:gd name="connsiteY8" fmla="*/ 233954 h 5254687"/>
              <a:gd name="connsiteX9" fmla="*/ 5461813 w 10507730"/>
              <a:gd name="connsiteY9" fmla="*/ 1112563 h 5254687"/>
              <a:gd name="connsiteX10" fmla="*/ 6712493 w 10507730"/>
              <a:gd name="connsiteY10" fmla="*/ 1329117 h 5254687"/>
              <a:gd name="connsiteX11" fmla="*/ 7670035 w 10507730"/>
              <a:gd name="connsiteY11" fmla="*/ 1146661 h 5254687"/>
              <a:gd name="connsiteX12" fmla="*/ 8483643 w 10507730"/>
              <a:gd name="connsiteY12" fmla="*/ 640354 h 5254687"/>
              <a:gd name="connsiteX13" fmla="*/ 9520809 w 10507730"/>
              <a:gd name="connsiteY13" fmla="*/ 489647 h 5254687"/>
              <a:gd name="connsiteX14" fmla="*/ 10219309 w 10507730"/>
              <a:gd name="connsiteY14" fmla="*/ 852021 h 5254687"/>
              <a:gd name="connsiteX15" fmla="*/ 10414043 w 10507730"/>
              <a:gd name="connsiteY15" fmla="*/ 1410821 h 5254687"/>
              <a:gd name="connsiteX16" fmla="*/ 10507176 w 10507730"/>
              <a:gd name="connsiteY16" fmla="*/ 1817221 h 5254687"/>
              <a:gd name="connsiteX17" fmla="*/ 10439443 w 10507730"/>
              <a:gd name="connsiteY17" fmla="*/ 2215154 h 5254687"/>
              <a:gd name="connsiteX18" fmla="*/ 10193909 w 10507730"/>
              <a:gd name="connsiteY18" fmla="*/ 2875554 h 5254687"/>
              <a:gd name="connsiteX19" fmla="*/ 9779043 w 10507730"/>
              <a:gd name="connsiteY19" fmla="*/ 3298887 h 5254687"/>
              <a:gd name="connsiteX20" fmla="*/ 8898509 w 10507730"/>
              <a:gd name="connsiteY20" fmla="*/ 3823821 h 5254687"/>
              <a:gd name="connsiteX21" fmla="*/ 8201703 w 10507730"/>
              <a:gd name="connsiteY21" fmla="*/ 4049881 h 5254687"/>
              <a:gd name="connsiteX22" fmla="*/ 7797843 w 10507730"/>
              <a:gd name="connsiteY22" fmla="*/ 4196354 h 5254687"/>
              <a:gd name="connsiteX23" fmla="*/ 7205176 w 10507730"/>
              <a:gd name="connsiteY23" fmla="*/ 4619687 h 5254687"/>
              <a:gd name="connsiteX24" fmla="*/ 7205176 w 10507730"/>
              <a:gd name="connsiteY24" fmla="*/ 4619687 h 5254687"/>
              <a:gd name="connsiteX25" fmla="*/ 7052776 w 10507730"/>
              <a:gd name="connsiteY25" fmla="*/ 4738221 h 5254687"/>
              <a:gd name="connsiteX26" fmla="*/ 6858043 w 10507730"/>
              <a:gd name="connsiteY26" fmla="*/ 4865221 h 5254687"/>
              <a:gd name="connsiteX27" fmla="*/ 6477043 w 10507730"/>
              <a:gd name="connsiteY27" fmla="*/ 5068421 h 5254687"/>
              <a:gd name="connsiteX28" fmla="*/ 6028309 w 10507730"/>
              <a:gd name="connsiteY28" fmla="*/ 5229287 h 5254687"/>
              <a:gd name="connsiteX29" fmla="*/ 5748909 w 10507730"/>
              <a:gd name="connsiteY29" fmla="*/ 5254687 h 5254687"/>
              <a:gd name="connsiteX30" fmla="*/ 5579576 w 10507730"/>
              <a:gd name="connsiteY30" fmla="*/ 5246221 h 5254687"/>
              <a:gd name="connsiteX31" fmla="*/ 5113909 w 10507730"/>
              <a:gd name="connsiteY31" fmla="*/ 5136154 h 5254687"/>
              <a:gd name="connsiteX32" fmla="*/ 4790483 w 10507730"/>
              <a:gd name="connsiteY32" fmla="*/ 4950734 h 5254687"/>
              <a:gd name="connsiteX33" fmla="*/ 4517856 w 10507730"/>
              <a:gd name="connsiteY33" fmla="*/ 4750921 h 5254687"/>
              <a:gd name="connsiteX34" fmla="*/ 3808349 w 10507730"/>
              <a:gd name="connsiteY34" fmla="*/ 4433209 h 5254687"/>
              <a:gd name="connsiteX35" fmla="*/ 3572553 w 10507730"/>
              <a:gd name="connsiteY35" fmla="*/ 4116767 h 5254687"/>
              <a:gd name="connsiteX36" fmla="*/ 3393059 w 10507730"/>
              <a:gd name="connsiteY36" fmla="*/ 3369584 h 5254687"/>
              <a:gd name="connsiteX37" fmla="*/ 2904109 w 10507730"/>
              <a:gd name="connsiteY37" fmla="*/ 2972921 h 5254687"/>
              <a:gd name="connsiteX38" fmla="*/ 2802509 w 10507730"/>
              <a:gd name="connsiteY38" fmla="*/ 2706221 h 5254687"/>
              <a:gd name="connsiteX39" fmla="*/ 2827909 w 10507730"/>
              <a:gd name="connsiteY39" fmla="*/ 2494554 h 5254687"/>
              <a:gd name="connsiteX40" fmla="*/ 2844843 w 10507730"/>
              <a:gd name="connsiteY40" fmla="*/ 2392954 h 5254687"/>
              <a:gd name="connsiteX41" fmla="*/ 2819443 w 10507730"/>
              <a:gd name="connsiteY41" fmla="*/ 2223621 h 5254687"/>
              <a:gd name="connsiteX42" fmla="*/ 2633176 w 10507730"/>
              <a:gd name="connsiteY42" fmla="*/ 1969621 h 5254687"/>
              <a:gd name="connsiteX43" fmla="*/ 2472309 w 10507730"/>
              <a:gd name="connsiteY43" fmla="*/ 1825687 h 5254687"/>
              <a:gd name="connsiteX44" fmla="*/ 2277576 w 10507730"/>
              <a:gd name="connsiteY44" fmla="*/ 1774887 h 5254687"/>
              <a:gd name="connsiteX45" fmla="*/ 1998176 w 10507730"/>
              <a:gd name="connsiteY45" fmla="*/ 1842621 h 5254687"/>
              <a:gd name="connsiteX46" fmla="*/ 1490176 w 10507730"/>
              <a:gd name="connsiteY46" fmla="*/ 2037354 h 5254687"/>
              <a:gd name="connsiteX47" fmla="*/ 745109 w 10507730"/>
              <a:gd name="connsiteY47" fmla="*/ 1995021 h 5254687"/>
              <a:gd name="connsiteX48" fmla="*/ 448776 w 10507730"/>
              <a:gd name="connsiteY48" fmla="*/ 1884954 h 5254687"/>
              <a:gd name="connsiteX49" fmla="*/ 185463 w 10507730"/>
              <a:gd name="connsiteY49" fmla="*/ 1639421 h 5254687"/>
              <a:gd name="connsiteX50" fmla="*/ 76243 w 10507730"/>
              <a:gd name="connsiteY50" fmla="*/ 1182221 h 5254687"/>
              <a:gd name="connsiteX51" fmla="*/ 76243 w 10507730"/>
              <a:gd name="connsiteY51" fmla="*/ 809687 h 5254687"/>
              <a:gd name="connsiteX52" fmla="*/ 67776 w 10507730"/>
              <a:gd name="connsiteY52" fmla="*/ 665754 h 5254687"/>
              <a:gd name="connsiteX0" fmla="*/ 68847 w 10508801"/>
              <a:gd name="connsiteY0" fmla="*/ 633641 h 5222574"/>
              <a:gd name="connsiteX1" fmla="*/ 10004 w 10508801"/>
              <a:gd name="connsiteY1" fmla="*/ 179404 h 5222574"/>
              <a:gd name="connsiteX2" fmla="*/ 302546 w 10508801"/>
              <a:gd name="connsiteY2" fmla="*/ 31103 h 5222574"/>
              <a:gd name="connsiteX3" fmla="*/ 710851 w 10508801"/>
              <a:gd name="connsiteY3" fmla="*/ 27659 h 5222574"/>
              <a:gd name="connsiteX4" fmla="*/ 1254180 w 10508801"/>
              <a:gd name="connsiteY4" fmla="*/ 176441 h 5222574"/>
              <a:gd name="connsiteX5" fmla="*/ 1592847 w 10508801"/>
              <a:gd name="connsiteY5" fmla="*/ 354241 h 5222574"/>
              <a:gd name="connsiteX6" fmla="*/ 2236314 w 10508801"/>
              <a:gd name="connsiteY6" fmla="*/ 286508 h 5222574"/>
              <a:gd name="connsiteX7" fmla="*/ 3230992 w 10508801"/>
              <a:gd name="connsiteY7" fmla="*/ 2874 h 5222574"/>
              <a:gd name="connsiteX8" fmla="*/ 4361447 w 10508801"/>
              <a:gd name="connsiteY8" fmla="*/ 201841 h 5222574"/>
              <a:gd name="connsiteX9" fmla="*/ 5462884 w 10508801"/>
              <a:gd name="connsiteY9" fmla="*/ 1080450 h 5222574"/>
              <a:gd name="connsiteX10" fmla="*/ 6713564 w 10508801"/>
              <a:gd name="connsiteY10" fmla="*/ 1297004 h 5222574"/>
              <a:gd name="connsiteX11" fmla="*/ 7671106 w 10508801"/>
              <a:gd name="connsiteY11" fmla="*/ 1114548 h 5222574"/>
              <a:gd name="connsiteX12" fmla="*/ 8484714 w 10508801"/>
              <a:gd name="connsiteY12" fmla="*/ 608241 h 5222574"/>
              <a:gd name="connsiteX13" fmla="*/ 9521880 w 10508801"/>
              <a:gd name="connsiteY13" fmla="*/ 457534 h 5222574"/>
              <a:gd name="connsiteX14" fmla="*/ 10220380 w 10508801"/>
              <a:gd name="connsiteY14" fmla="*/ 819908 h 5222574"/>
              <a:gd name="connsiteX15" fmla="*/ 10415114 w 10508801"/>
              <a:gd name="connsiteY15" fmla="*/ 1378708 h 5222574"/>
              <a:gd name="connsiteX16" fmla="*/ 10508247 w 10508801"/>
              <a:gd name="connsiteY16" fmla="*/ 1785108 h 5222574"/>
              <a:gd name="connsiteX17" fmla="*/ 10440514 w 10508801"/>
              <a:gd name="connsiteY17" fmla="*/ 2183041 h 5222574"/>
              <a:gd name="connsiteX18" fmla="*/ 10194980 w 10508801"/>
              <a:gd name="connsiteY18" fmla="*/ 2843441 h 5222574"/>
              <a:gd name="connsiteX19" fmla="*/ 9780114 w 10508801"/>
              <a:gd name="connsiteY19" fmla="*/ 3266774 h 5222574"/>
              <a:gd name="connsiteX20" fmla="*/ 8899580 w 10508801"/>
              <a:gd name="connsiteY20" fmla="*/ 3791708 h 5222574"/>
              <a:gd name="connsiteX21" fmla="*/ 8202774 w 10508801"/>
              <a:gd name="connsiteY21" fmla="*/ 4017768 h 5222574"/>
              <a:gd name="connsiteX22" fmla="*/ 7798914 w 10508801"/>
              <a:gd name="connsiteY22" fmla="*/ 4164241 h 5222574"/>
              <a:gd name="connsiteX23" fmla="*/ 7206247 w 10508801"/>
              <a:gd name="connsiteY23" fmla="*/ 4587574 h 5222574"/>
              <a:gd name="connsiteX24" fmla="*/ 7206247 w 10508801"/>
              <a:gd name="connsiteY24" fmla="*/ 4587574 h 5222574"/>
              <a:gd name="connsiteX25" fmla="*/ 7053847 w 10508801"/>
              <a:gd name="connsiteY25" fmla="*/ 4706108 h 5222574"/>
              <a:gd name="connsiteX26" fmla="*/ 6859114 w 10508801"/>
              <a:gd name="connsiteY26" fmla="*/ 4833108 h 5222574"/>
              <a:gd name="connsiteX27" fmla="*/ 6478114 w 10508801"/>
              <a:gd name="connsiteY27" fmla="*/ 5036308 h 5222574"/>
              <a:gd name="connsiteX28" fmla="*/ 6029380 w 10508801"/>
              <a:gd name="connsiteY28" fmla="*/ 5197174 h 5222574"/>
              <a:gd name="connsiteX29" fmla="*/ 5749980 w 10508801"/>
              <a:gd name="connsiteY29" fmla="*/ 5222574 h 5222574"/>
              <a:gd name="connsiteX30" fmla="*/ 5580647 w 10508801"/>
              <a:gd name="connsiteY30" fmla="*/ 5214108 h 5222574"/>
              <a:gd name="connsiteX31" fmla="*/ 5114980 w 10508801"/>
              <a:gd name="connsiteY31" fmla="*/ 5104041 h 5222574"/>
              <a:gd name="connsiteX32" fmla="*/ 4791554 w 10508801"/>
              <a:gd name="connsiteY32" fmla="*/ 4918621 h 5222574"/>
              <a:gd name="connsiteX33" fmla="*/ 4518927 w 10508801"/>
              <a:gd name="connsiteY33" fmla="*/ 4718808 h 5222574"/>
              <a:gd name="connsiteX34" fmla="*/ 3809420 w 10508801"/>
              <a:gd name="connsiteY34" fmla="*/ 4401096 h 5222574"/>
              <a:gd name="connsiteX35" fmla="*/ 3573624 w 10508801"/>
              <a:gd name="connsiteY35" fmla="*/ 4084654 h 5222574"/>
              <a:gd name="connsiteX36" fmla="*/ 3394130 w 10508801"/>
              <a:gd name="connsiteY36" fmla="*/ 3337471 h 5222574"/>
              <a:gd name="connsiteX37" fmla="*/ 2905180 w 10508801"/>
              <a:gd name="connsiteY37" fmla="*/ 2940808 h 5222574"/>
              <a:gd name="connsiteX38" fmla="*/ 2803580 w 10508801"/>
              <a:gd name="connsiteY38" fmla="*/ 2674108 h 5222574"/>
              <a:gd name="connsiteX39" fmla="*/ 2828980 w 10508801"/>
              <a:gd name="connsiteY39" fmla="*/ 2462441 h 5222574"/>
              <a:gd name="connsiteX40" fmla="*/ 2845914 w 10508801"/>
              <a:gd name="connsiteY40" fmla="*/ 2360841 h 5222574"/>
              <a:gd name="connsiteX41" fmla="*/ 2820514 w 10508801"/>
              <a:gd name="connsiteY41" fmla="*/ 2191508 h 5222574"/>
              <a:gd name="connsiteX42" fmla="*/ 2634247 w 10508801"/>
              <a:gd name="connsiteY42" fmla="*/ 1937508 h 5222574"/>
              <a:gd name="connsiteX43" fmla="*/ 2473380 w 10508801"/>
              <a:gd name="connsiteY43" fmla="*/ 1793574 h 5222574"/>
              <a:gd name="connsiteX44" fmla="*/ 2278647 w 10508801"/>
              <a:gd name="connsiteY44" fmla="*/ 1742774 h 5222574"/>
              <a:gd name="connsiteX45" fmla="*/ 1999247 w 10508801"/>
              <a:gd name="connsiteY45" fmla="*/ 1810508 h 5222574"/>
              <a:gd name="connsiteX46" fmla="*/ 1491247 w 10508801"/>
              <a:gd name="connsiteY46" fmla="*/ 2005241 h 5222574"/>
              <a:gd name="connsiteX47" fmla="*/ 746180 w 10508801"/>
              <a:gd name="connsiteY47" fmla="*/ 1962908 h 5222574"/>
              <a:gd name="connsiteX48" fmla="*/ 449847 w 10508801"/>
              <a:gd name="connsiteY48" fmla="*/ 1852841 h 5222574"/>
              <a:gd name="connsiteX49" fmla="*/ 186534 w 10508801"/>
              <a:gd name="connsiteY49" fmla="*/ 1607308 h 5222574"/>
              <a:gd name="connsiteX50" fmla="*/ 77314 w 10508801"/>
              <a:gd name="connsiteY50" fmla="*/ 1150108 h 5222574"/>
              <a:gd name="connsiteX51" fmla="*/ 77314 w 10508801"/>
              <a:gd name="connsiteY51" fmla="*/ 777574 h 5222574"/>
              <a:gd name="connsiteX52" fmla="*/ 68847 w 10508801"/>
              <a:gd name="connsiteY52" fmla="*/ 633641 h 5222574"/>
              <a:gd name="connsiteX0" fmla="*/ 68847 w 10508801"/>
              <a:gd name="connsiteY0" fmla="*/ 633641 h 5222574"/>
              <a:gd name="connsiteX1" fmla="*/ 10004 w 10508801"/>
              <a:gd name="connsiteY1" fmla="*/ 179404 h 5222574"/>
              <a:gd name="connsiteX2" fmla="*/ 302546 w 10508801"/>
              <a:gd name="connsiteY2" fmla="*/ 31103 h 5222574"/>
              <a:gd name="connsiteX3" fmla="*/ 728631 w 10508801"/>
              <a:gd name="connsiteY3" fmla="*/ 70839 h 5222574"/>
              <a:gd name="connsiteX4" fmla="*/ 1254180 w 10508801"/>
              <a:gd name="connsiteY4" fmla="*/ 176441 h 5222574"/>
              <a:gd name="connsiteX5" fmla="*/ 1592847 w 10508801"/>
              <a:gd name="connsiteY5" fmla="*/ 354241 h 5222574"/>
              <a:gd name="connsiteX6" fmla="*/ 2236314 w 10508801"/>
              <a:gd name="connsiteY6" fmla="*/ 286508 h 5222574"/>
              <a:gd name="connsiteX7" fmla="*/ 3230992 w 10508801"/>
              <a:gd name="connsiteY7" fmla="*/ 2874 h 5222574"/>
              <a:gd name="connsiteX8" fmla="*/ 4361447 w 10508801"/>
              <a:gd name="connsiteY8" fmla="*/ 201841 h 5222574"/>
              <a:gd name="connsiteX9" fmla="*/ 5462884 w 10508801"/>
              <a:gd name="connsiteY9" fmla="*/ 1080450 h 5222574"/>
              <a:gd name="connsiteX10" fmla="*/ 6713564 w 10508801"/>
              <a:gd name="connsiteY10" fmla="*/ 1297004 h 5222574"/>
              <a:gd name="connsiteX11" fmla="*/ 7671106 w 10508801"/>
              <a:gd name="connsiteY11" fmla="*/ 1114548 h 5222574"/>
              <a:gd name="connsiteX12" fmla="*/ 8484714 w 10508801"/>
              <a:gd name="connsiteY12" fmla="*/ 608241 h 5222574"/>
              <a:gd name="connsiteX13" fmla="*/ 9521880 w 10508801"/>
              <a:gd name="connsiteY13" fmla="*/ 457534 h 5222574"/>
              <a:gd name="connsiteX14" fmla="*/ 10220380 w 10508801"/>
              <a:gd name="connsiteY14" fmla="*/ 819908 h 5222574"/>
              <a:gd name="connsiteX15" fmla="*/ 10415114 w 10508801"/>
              <a:gd name="connsiteY15" fmla="*/ 1378708 h 5222574"/>
              <a:gd name="connsiteX16" fmla="*/ 10508247 w 10508801"/>
              <a:gd name="connsiteY16" fmla="*/ 1785108 h 5222574"/>
              <a:gd name="connsiteX17" fmla="*/ 10440514 w 10508801"/>
              <a:gd name="connsiteY17" fmla="*/ 2183041 h 5222574"/>
              <a:gd name="connsiteX18" fmla="*/ 10194980 w 10508801"/>
              <a:gd name="connsiteY18" fmla="*/ 2843441 h 5222574"/>
              <a:gd name="connsiteX19" fmla="*/ 9780114 w 10508801"/>
              <a:gd name="connsiteY19" fmla="*/ 3266774 h 5222574"/>
              <a:gd name="connsiteX20" fmla="*/ 8899580 w 10508801"/>
              <a:gd name="connsiteY20" fmla="*/ 3791708 h 5222574"/>
              <a:gd name="connsiteX21" fmla="*/ 8202774 w 10508801"/>
              <a:gd name="connsiteY21" fmla="*/ 4017768 h 5222574"/>
              <a:gd name="connsiteX22" fmla="*/ 7798914 w 10508801"/>
              <a:gd name="connsiteY22" fmla="*/ 4164241 h 5222574"/>
              <a:gd name="connsiteX23" fmla="*/ 7206247 w 10508801"/>
              <a:gd name="connsiteY23" fmla="*/ 4587574 h 5222574"/>
              <a:gd name="connsiteX24" fmla="*/ 7206247 w 10508801"/>
              <a:gd name="connsiteY24" fmla="*/ 4587574 h 5222574"/>
              <a:gd name="connsiteX25" fmla="*/ 7053847 w 10508801"/>
              <a:gd name="connsiteY25" fmla="*/ 4706108 h 5222574"/>
              <a:gd name="connsiteX26" fmla="*/ 6859114 w 10508801"/>
              <a:gd name="connsiteY26" fmla="*/ 4833108 h 5222574"/>
              <a:gd name="connsiteX27" fmla="*/ 6478114 w 10508801"/>
              <a:gd name="connsiteY27" fmla="*/ 5036308 h 5222574"/>
              <a:gd name="connsiteX28" fmla="*/ 6029380 w 10508801"/>
              <a:gd name="connsiteY28" fmla="*/ 5197174 h 5222574"/>
              <a:gd name="connsiteX29" fmla="*/ 5749980 w 10508801"/>
              <a:gd name="connsiteY29" fmla="*/ 5222574 h 5222574"/>
              <a:gd name="connsiteX30" fmla="*/ 5580647 w 10508801"/>
              <a:gd name="connsiteY30" fmla="*/ 5214108 h 5222574"/>
              <a:gd name="connsiteX31" fmla="*/ 5114980 w 10508801"/>
              <a:gd name="connsiteY31" fmla="*/ 5104041 h 5222574"/>
              <a:gd name="connsiteX32" fmla="*/ 4791554 w 10508801"/>
              <a:gd name="connsiteY32" fmla="*/ 4918621 h 5222574"/>
              <a:gd name="connsiteX33" fmla="*/ 4518927 w 10508801"/>
              <a:gd name="connsiteY33" fmla="*/ 4718808 h 5222574"/>
              <a:gd name="connsiteX34" fmla="*/ 3809420 w 10508801"/>
              <a:gd name="connsiteY34" fmla="*/ 4401096 h 5222574"/>
              <a:gd name="connsiteX35" fmla="*/ 3573624 w 10508801"/>
              <a:gd name="connsiteY35" fmla="*/ 4084654 h 5222574"/>
              <a:gd name="connsiteX36" fmla="*/ 3394130 w 10508801"/>
              <a:gd name="connsiteY36" fmla="*/ 3337471 h 5222574"/>
              <a:gd name="connsiteX37" fmla="*/ 2905180 w 10508801"/>
              <a:gd name="connsiteY37" fmla="*/ 2940808 h 5222574"/>
              <a:gd name="connsiteX38" fmla="*/ 2803580 w 10508801"/>
              <a:gd name="connsiteY38" fmla="*/ 2674108 h 5222574"/>
              <a:gd name="connsiteX39" fmla="*/ 2828980 w 10508801"/>
              <a:gd name="connsiteY39" fmla="*/ 2462441 h 5222574"/>
              <a:gd name="connsiteX40" fmla="*/ 2845914 w 10508801"/>
              <a:gd name="connsiteY40" fmla="*/ 2360841 h 5222574"/>
              <a:gd name="connsiteX41" fmla="*/ 2820514 w 10508801"/>
              <a:gd name="connsiteY41" fmla="*/ 2191508 h 5222574"/>
              <a:gd name="connsiteX42" fmla="*/ 2634247 w 10508801"/>
              <a:gd name="connsiteY42" fmla="*/ 1937508 h 5222574"/>
              <a:gd name="connsiteX43" fmla="*/ 2473380 w 10508801"/>
              <a:gd name="connsiteY43" fmla="*/ 1793574 h 5222574"/>
              <a:gd name="connsiteX44" fmla="*/ 2278647 w 10508801"/>
              <a:gd name="connsiteY44" fmla="*/ 1742774 h 5222574"/>
              <a:gd name="connsiteX45" fmla="*/ 1999247 w 10508801"/>
              <a:gd name="connsiteY45" fmla="*/ 1810508 h 5222574"/>
              <a:gd name="connsiteX46" fmla="*/ 1491247 w 10508801"/>
              <a:gd name="connsiteY46" fmla="*/ 2005241 h 5222574"/>
              <a:gd name="connsiteX47" fmla="*/ 746180 w 10508801"/>
              <a:gd name="connsiteY47" fmla="*/ 1962908 h 5222574"/>
              <a:gd name="connsiteX48" fmla="*/ 449847 w 10508801"/>
              <a:gd name="connsiteY48" fmla="*/ 1852841 h 5222574"/>
              <a:gd name="connsiteX49" fmla="*/ 186534 w 10508801"/>
              <a:gd name="connsiteY49" fmla="*/ 1607308 h 5222574"/>
              <a:gd name="connsiteX50" fmla="*/ 77314 w 10508801"/>
              <a:gd name="connsiteY50" fmla="*/ 1150108 h 5222574"/>
              <a:gd name="connsiteX51" fmla="*/ 77314 w 10508801"/>
              <a:gd name="connsiteY51" fmla="*/ 777574 h 5222574"/>
              <a:gd name="connsiteX52" fmla="*/ 68847 w 10508801"/>
              <a:gd name="connsiteY52" fmla="*/ 633641 h 5222574"/>
              <a:gd name="connsiteX0" fmla="*/ 68847 w 10508801"/>
              <a:gd name="connsiteY0" fmla="*/ 633641 h 5222574"/>
              <a:gd name="connsiteX1" fmla="*/ 10004 w 10508801"/>
              <a:gd name="connsiteY1" fmla="*/ 179404 h 5222574"/>
              <a:gd name="connsiteX2" fmla="*/ 302546 w 10508801"/>
              <a:gd name="connsiteY2" fmla="*/ 31103 h 5222574"/>
              <a:gd name="connsiteX3" fmla="*/ 728631 w 10508801"/>
              <a:gd name="connsiteY3" fmla="*/ 70839 h 5222574"/>
              <a:gd name="connsiteX4" fmla="*/ 1195760 w 10508801"/>
              <a:gd name="connsiteY4" fmla="*/ 237401 h 5222574"/>
              <a:gd name="connsiteX5" fmla="*/ 1592847 w 10508801"/>
              <a:gd name="connsiteY5" fmla="*/ 354241 h 5222574"/>
              <a:gd name="connsiteX6" fmla="*/ 2236314 w 10508801"/>
              <a:gd name="connsiteY6" fmla="*/ 286508 h 5222574"/>
              <a:gd name="connsiteX7" fmla="*/ 3230992 w 10508801"/>
              <a:gd name="connsiteY7" fmla="*/ 2874 h 5222574"/>
              <a:gd name="connsiteX8" fmla="*/ 4361447 w 10508801"/>
              <a:gd name="connsiteY8" fmla="*/ 201841 h 5222574"/>
              <a:gd name="connsiteX9" fmla="*/ 5462884 w 10508801"/>
              <a:gd name="connsiteY9" fmla="*/ 1080450 h 5222574"/>
              <a:gd name="connsiteX10" fmla="*/ 6713564 w 10508801"/>
              <a:gd name="connsiteY10" fmla="*/ 1297004 h 5222574"/>
              <a:gd name="connsiteX11" fmla="*/ 7671106 w 10508801"/>
              <a:gd name="connsiteY11" fmla="*/ 1114548 h 5222574"/>
              <a:gd name="connsiteX12" fmla="*/ 8484714 w 10508801"/>
              <a:gd name="connsiteY12" fmla="*/ 608241 h 5222574"/>
              <a:gd name="connsiteX13" fmla="*/ 9521880 w 10508801"/>
              <a:gd name="connsiteY13" fmla="*/ 457534 h 5222574"/>
              <a:gd name="connsiteX14" fmla="*/ 10220380 w 10508801"/>
              <a:gd name="connsiteY14" fmla="*/ 819908 h 5222574"/>
              <a:gd name="connsiteX15" fmla="*/ 10415114 w 10508801"/>
              <a:gd name="connsiteY15" fmla="*/ 1378708 h 5222574"/>
              <a:gd name="connsiteX16" fmla="*/ 10508247 w 10508801"/>
              <a:gd name="connsiteY16" fmla="*/ 1785108 h 5222574"/>
              <a:gd name="connsiteX17" fmla="*/ 10440514 w 10508801"/>
              <a:gd name="connsiteY17" fmla="*/ 2183041 h 5222574"/>
              <a:gd name="connsiteX18" fmla="*/ 10194980 w 10508801"/>
              <a:gd name="connsiteY18" fmla="*/ 2843441 h 5222574"/>
              <a:gd name="connsiteX19" fmla="*/ 9780114 w 10508801"/>
              <a:gd name="connsiteY19" fmla="*/ 3266774 h 5222574"/>
              <a:gd name="connsiteX20" fmla="*/ 8899580 w 10508801"/>
              <a:gd name="connsiteY20" fmla="*/ 3791708 h 5222574"/>
              <a:gd name="connsiteX21" fmla="*/ 8202774 w 10508801"/>
              <a:gd name="connsiteY21" fmla="*/ 4017768 h 5222574"/>
              <a:gd name="connsiteX22" fmla="*/ 7798914 w 10508801"/>
              <a:gd name="connsiteY22" fmla="*/ 4164241 h 5222574"/>
              <a:gd name="connsiteX23" fmla="*/ 7206247 w 10508801"/>
              <a:gd name="connsiteY23" fmla="*/ 4587574 h 5222574"/>
              <a:gd name="connsiteX24" fmla="*/ 7206247 w 10508801"/>
              <a:gd name="connsiteY24" fmla="*/ 4587574 h 5222574"/>
              <a:gd name="connsiteX25" fmla="*/ 7053847 w 10508801"/>
              <a:gd name="connsiteY25" fmla="*/ 4706108 h 5222574"/>
              <a:gd name="connsiteX26" fmla="*/ 6859114 w 10508801"/>
              <a:gd name="connsiteY26" fmla="*/ 4833108 h 5222574"/>
              <a:gd name="connsiteX27" fmla="*/ 6478114 w 10508801"/>
              <a:gd name="connsiteY27" fmla="*/ 5036308 h 5222574"/>
              <a:gd name="connsiteX28" fmla="*/ 6029380 w 10508801"/>
              <a:gd name="connsiteY28" fmla="*/ 5197174 h 5222574"/>
              <a:gd name="connsiteX29" fmla="*/ 5749980 w 10508801"/>
              <a:gd name="connsiteY29" fmla="*/ 5222574 h 5222574"/>
              <a:gd name="connsiteX30" fmla="*/ 5580647 w 10508801"/>
              <a:gd name="connsiteY30" fmla="*/ 5214108 h 5222574"/>
              <a:gd name="connsiteX31" fmla="*/ 5114980 w 10508801"/>
              <a:gd name="connsiteY31" fmla="*/ 5104041 h 5222574"/>
              <a:gd name="connsiteX32" fmla="*/ 4791554 w 10508801"/>
              <a:gd name="connsiteY32" fmla="*/ 4918621 h 5222574"/>
              <a:gd name="connsiteX33" fmla="*/ 4518927 w 10508801"/>
              <a:gd name="connsiteY33" fmla="*/ 4718808 h 5222574"/>
              <a:gd name="connsiteX34" fmla="*/ 3809420 w 10508801"/>
              <a:gd name="connsiteY34" fmla="*/ 4401096 h 5222574"/>
              <a:gd name="connsiteX35" fmla="*/ 3573624 w 10508801"/>
              <a:gd name="connsiteY35" fmla="*/ 4084654 h 5222574"/>
              <a:gd name="connsiteX36" fmla="*/ 3394130 w 10508801"/>
              <a:gd name="connsiteY36" fmla="*/ 3337471 h 5222574"/>
              <a:gd name="connsiteX37" fmla="*/ 2905180 w 10508801"/>
              <a:gd name="connsiteY37" fmla="*/ 2940808 h 5222574"/>
              <a:gd name="connsiteX38" fmla="*/ 2803580 w 10508801"/>
              <a:gd name="connsiteY38" fmla="*/ 2674108 h 5222574"/>
              <a:gd name="connsiteX39" fmla="*/ 2828980 w 10508801"/>
              <a:gd name="connsiteY39" fmla="*/ 2462441 h 5222574"/>
              <a:gd name="connsiteX40" fmla="*/ 2845914 w 10508801"/>
              <a:gd name="connsiteY40" fmla="*/ 2360841 h 5222574"/>
              <a:gd name="connsiteX41" fmla="*/ 2820514 w 10508801"/>
              <a:gd name="connsiteY41" fmla="*/ 2191508 h 5222574"/>
              <a:gd name="connsiteX42" fmla="*/ 2634247 w 10508801"/>
              <a:gd name="connsiteY42" fmla="*/ 1937508 h 5222574"/>
              <a:gd name="connsiteX43" fmla="*/ 2473380 w 10508801"/>
              <a:gd name="connsiteY43" fmla="*/ 1793574 h 5222574"/>
              <a:gd name="connsiteX44" fmla="*/ 2278647 w 10508801"/>
              <a:gd name="connsiteY44" fmla="*/ 1742774 h 5222574"/>
              <a:gd name="connsiteX45" fmla="*/ 1999247 w 10508801"/>
              <a:gd name="connsiteY45" fmla="*/ 1810508 h 5222574"/>
              <a:gd name="connsiteX46" fmla="*/ 1491247 w 10508801"/>
              <a:gd name="connsiteY46" fmla="*/ 2005241 h 5222574"/>
              <a:gd name="connsiteX47" fmla="*/ 746180 w 10508801"/>
              <a:gd name="connsiteY47" fmla="*/ 1962908 h 5222574"/>
              <a:gd name="connsiteX48" fmla="*/ 449847 w 10508801"/>
              <a:gd name="connsiteY48" fmla="*/ 1852841 h 5222574"/>
              <a:gd name="connsiteX49" fmla="*/ 186534 w 10508801"/>
              <a:gd name="connsiteY49" fmla="*/ 1607308 h 5222574"/>
              <a:gd name="connsiteX50" fmla="*/ 77314 w 10508801"/>
              <a:gd name="connsiteY50" fmla="*/ 1150108 h 5222574"/>
              <a:gd name="connsiteX51" fmla="*/ 77314 w 10508801"/>
              <a:gd name="connsiteY51" fmla="*/ 777574 h 5222574"/>
              <a:gd name="connsiteX52" fmla="*/ 68847 w 10508801"/>
              <a:gd name="connsiteY52" fmla="*/ 633641 h 5222574"/>
              <a:gd name="connsiteX0" fmla="*/ 74628 w 10514582"/>
              <a:gd name="connsiteY0" fmla="*/ 633641 h 5222574"/>
              <a:gd name="connsiteX1" fmla="*/ 15785 w 10514582"/>
              <a:gd name="connsiteY1" fmla="*/ 179404 h 5222574"/>
              <a:gd name="connsiteX2" fmla="*/ 308327 w 10514582"/>
              <a:gd name="connsiteY2" fmla="*/ 31103 h 5222574"/>
              <a:gd name="connsiteX3" fmla="*/ 734412 w 10514582"/>
              <a:gd name="connsiteY3" fmla="*/ 70839 h 5222574"/>
              <a:gd name="connsiteX4" fmla="*/ 1201541 w 10514582"/>
              <a:gd name="connsiteY4" fmla="*/ 237401 h 5222574"/>
              <a:gd name="connsiteX5" fmla="*/ 1598628 w 10514582"/>
              <a:gd name="connsiteY5" fmla="*/ 354241 h 5222574"/>
              <a:gd name="connsiteX6" fmla="*/ 2242095 w 10514582"/>
              <a:gd name="connsiteY6" fmla="*/ 286508 h 5222574"/>
              <a:gd name="connsiteX7" fmla="*/ 3236773 w 10514582"/>
              <a:gd name="connsiteY7" fmla="*/ 2874 h 5222574"/>
              <a:gd name="connsiteX8" fmla="*/ 4367228 w 10514582"/>
              <a:gd name="connsiteY8" fmla="*/ 201841 h 5222574"/>
              <a:gd name="connsiteX9" fmla="*/ 5468665 w 10514582"/>
              <a:gd name="connsiteY9" fmla="*/ 1080450 h 5222574"/>
              <a:gd name="connsiteX10" fmla="*/ 6719345 w 10514582"/>
              <a:gd name="connsiteY10" fmla="*/ 1297004 h 5222574"/>
              <a:gd name="connsiteX11" fmla="*/ 7676887 w 10514582"/>
              <a:gd name="connsiteY11" fmla="*/ 1114548 h 5222574"/>
              <a:gd name="connsiteX12" fmla="*/ 8490495 w 10514582"/>
              <a:gd name="connsiteY12" fmla="*/ 608241 h 5222574"/>
              <a:gd name="connsiteX13" fmla="*/ 9527661 w 10514582"/>
              <a:gd name="connsiteY13" fmla="*/ 457534 h 5222574"/>
              <a:gd name="connsiteX14" fmla="*/ 10226161 w 10514582"/>
              <a:gd name="connsiteY14" fmla="*/ 819908 h 5222574"/>
              <a:gd name="connsiteX15" fmla="*/ 10420895 w 10514582"/>
              <a:gd name="connsiteY15" fmla="*/ 1378708 h 5222574"/>
              <a:gd name="connsiteX16" fmla="*/ 10514028 w 10514582"/>
              <a:gd name="connsiteY16" fmla="*/ 1785108 h 5222574"/>
              <a:gd name="connsiteX17" fmla="*/ 10446295 w 10514582"/>
              <a:gd name="connsiteY17" fmla="*/ 2183041 h 5222574"/>
              <a:gd name="connsiteX18" fmla="*/ 10200761 w 10514582"/>
              <a:gd name="connsiteY18" fmla="*/ 2843441 h 5222574"/>
              <a:gd name="connsiteX19" fmla="*/ 9785895 w 10514582"/>
              <a:gd name="connsiteY19" fmla="*/ 3266774 h 5222574"/>
              <a:gd name="connsiteX20" fmla="*/ 8905361 w 10514582"/>
              <a:gd name="connsiteY20" fmla="*/ 3791708 h 5222574"/>
              <a:gd name="connsiteX21" fmla="*/ 8208555 w 10514582"/>
              <a:gd name="connsiteY21" fmla="*/ 4017768 h 5222574"/>
              <a:gd name="connsiteX22" fmla="*/ 7804695 w 10514582"/>
              <a:gd name="connsiteY22" fmla="*/ 4164241 h 5222574"/>
              <a:gd name="connsiteX23" fmla="*/ 7212028 w 10514582"/>
              <a:gd name="connsiteY23" fmla="*/ 4587574 h 5222574"/>
              <a:gd name="connsiteX24" fmla="*/ 7212028 w 10514582"/>
              <a:gd name="connsiteY24" fmla="*/ 4587574 h 5222574"/>
              <a:gd name="connsiteX25" fmla="*/ 7059628 w 10514582"/>
              <a:gd name="connsiteY25" fmla="*/ 4706108 h 5222574"/>
              <a:gd name="connsiteX26" fmla="*/ 6864895 w 10514582"/>
              <a:gd name="connsiteY26" fmla="*/ 4833108 h 5222574"/>
              <a:gd name="connsiteX27" fmla="*/ 6483895 w 10514582"/>
              <a:gd name="connsiteY27" fmla="*/ 5036308 h 5222574"/>
              <a:gd name="connsiteX28" fmla="*/ 6035161 w 10514582"/>
              <a:gd name="connsiteY28" fmla="*/ 5197174 h 5222574"/>
              <a:gd name="connsiteX29" fmla="*/ 5755761 w 10514582"/>
              <a:gd name="connsiteY29" fmla="*/ 5222574 h 5222574"/>
              <a:gd name="connsiteX30" fmla="*/ 5586428 w 10514582"/>
              <a:gd name="connsiteY30" fmla="*/ 5214108 h 5222574"/>
              <a:gd name="connsiteX31" fmla="*/ 5120761 w 10514582"/>
              <a:gd name="connsiteY31" fmla="*/ 5104041 h 5222574"/>
              <a:gd name="connsiteX32" fmla="*/ 4797335 w 10514582"/>
              <a:gd name="connsiteY32" fmla="*/ 4918621 h 5222574"/>
              <a:gd name="connsiteX33" fmla="*/ 4524708 w 10514582"/>
              <a:gd name="connsiteY33" fmla="*/ 4718808 h 5222574"/>
              <a:gd name="connsiteX34" fmla="*/ 3815201 w 10514582"/>
              <a:gd name="connsiteY34" fmla="*/ 4401096 h 5222574"/>
              <a:gd name="connsiteX35" fmla="*/ 3579405 w 10514582"/>
              <a:gd name="connsiteY35" fmla="*/ 4084654 h 5222574"/>
              <a:gd name="connsiteX36" fmla="*/ 3399911 w 10514582"/>
              <a:gd name="connsiteY36" fmla="*/ 3337471 h 5222574"/>
              <a:gd name="connsiteX37" fmla="*/ 2910961 w 10514582"/>
              <a:gd name="connsiteY37" fmla="*/ 2940808 h 5222574"/>
              <a:gd name="connsiteX38" fmla="*/ 2809361 w 10514582"/>
              <a:gd name="connsiteY38" fmla="*/ 2674108 h 5222574"/>
              <a:gd name="connsiteX39" fmla="*/ 2834761 w 10514582"/>
              <a:gd name="connsiteY39" fmla="*/ 2462441 h 5222574"/>
              <a:gd name="connsiteX40" fmla="*/ 2851695 w 10514582"/>
              <a:gd name="connsiteY40" fmla="*/ 2360841 h 5222574"/>
              <a:gd name="connsiteX41" fmla="*/ 2826295 w 10514582"/>
              <a:gd name="connsiteY41" fmla="*/ 2191508 h 5222574"/>
              <a:gd name="connsiteX42" fmla="*/ 2640028 w 10514582"/>
              <a:gd name="connsiteY42" fmla="*/ 1937508 h 5222574"/>
              <a:gd name="connsiteX43" fmla="*/ 2479161 w 10514582"/>
              <a:gd name="connsiteY43" fmla="*/ 1793574 h 5222574"/>
              <a:gd name="connsiteX44" fmla="*/ 2284428 w 10514582"/>
              <a:gd name="connsiteY44" fmla="*/ 1742774 h 5222574"/>
              <a:gd name="connsiteX45" fmla="*/ 2005028 w 10514582"/>
              <a:gd name="connsiteY45" fmla="*/ 1810508 h 5222574"/>
              <a:gd name="connsiteX46" fmla="*/ 1497028 w 10514582"/>
              <a:gd name="connsiteY46" fmla="*/ 2005241 h 5222574"/>
              <a:gd name="connsiteX47" fmla="*/ 751961 w 10514582"/>
              <a:gd name="connsiteY47" fmla="*/ 1962908 h 5222574"/>
              <a:gd name="connsiteX48" fmla="*/ 455628 w 10514582"/>
              <a:gd name="connsiteY48" fmla="*/ 1852841 h 5222574"/>
              <a:gd name="connsiteX49" fmla="*/ 192315 w 10514582"/>
              <a:gd name="connsiteY49" fmla="*/ 1607308 h 5222574"/>
              <a:gd name="connsiteX50" fmla="*/ 83095 w 10514582"/>
              <a:gd name="connsiteY50" fmla="*/ 1150108 h 5222574"/>
              <a:gd name="connsiteX51" fmla="*/ 83095 w 10514582"/>
              <a:gd name="connsiteY51" fmla="*/ 777574 h 5222574"/>
              <a:gd name="connsiteX52" fmla="*/ 74628 w 10514582"/>
              <a:gd name="connsiteY52" fmla="*/ 633641 h 5222574"/>
              <a:gd name="connsiteX0" fmla="*/ 8457 w 10448411"/>
              <a:gd name="connsiteY0" fmla="*/ 633641 h 5222574"/>
              <a:gd name="connsiteX1" fmla="*/ 30894 w 10448411"/>
              <a:gd name="connsiteY1" fmla="*/ 209884 h 5222574"/>
              <a:gd name="connsiteX2" fmla="*/ 242156 w 10448411"/>
              <a:gd name="connsiteY2" fmla="*/ 31103 h 5222574"/>
              <a:gd name="connsiteX3" fmla="*/ 668241 w 10448411"/>
              <a:gd name="connsiteY3" fmla="*/ 70839 h 5222574"/>
              <a:gd name="connsiteX4" fmla="*/ 1135370 w 10448411"/>
              <a:gd name="connsiteY4" fmla="*/ 237401 h 5222574"/>
              <a:gd name="connsiteX5" fmla="*/ 1532457 w 10448411"/>
              <a:gd name="connsiteY5" fmla="*/ 354241 h 5222574"/>
              <a:gd name="connsiteX6" fmla="*/ 2175924 w 10448411"/>
              <a:gd name="connsiteY6" fmla="*/ 286508 h 5222574"/>
              <a:gd name="connsiteX7" fmla="*/ 3170602 w 10448411"/>
              <a:gd name="connsiteY7" fmla="*/ 2874 h 5222574"/>
              <a:gd name="connsiteX8" fmla="*/ 4301057 w 10448411"/>
              <a:gd name="connsiteY8" fmla="*/ 201841 h 5222574"/>
              <a:gd name="connsiteX9" fmla="*/ 5402494 w 10448411"/>
              <a:gd name="connsiteY9" fmla="*/ 1080450 h 5222574"/>
              <a:gd name="connsiteX10" fmla="*/ 6653174 w 10448411"/>
              <a:gd name="connsiteY10" fmla="*/ 1297004 h 5222574"/>
              <a:gd name="connsiteX11" fmla="*/ 7610716 w 10448411"/>
              <a:gd name="connsiteY11" fmla="*/ 1114548 h 5222574"/>
              <a:gd name="connsiteX12" fmla="*/ 8424324 w 10448411"/>
              <a:gd name="connsiteY12" fmla="*/ 608241 h 5222574"/>
              <a:gd name="connsiteX13" fmla="*/ 9461490 w 10448411"/>
              <a:gd name="connsiteY13" fmla="*/ 457534 h 5222574"/>
              <a:gd name="connsiteX14" fmla="*/ 10159990 w 10448411"/>
              <a:gd name="connsiteY14" fmla="*/ 819908 h 5222574"/>
              <a:gd name="connsiteX15" fmla="*/ 10354724 w 10448411"/>
              <a:gd name="connsiteY15" fmla="*/ 1378708 h 5222574"/>
              <a:gd name="connsiteX16" fmla="*/ 10447857 w 10448411"/>
              <a:gd name="connsiteY16" fmla="*/ 1785108 h 5222574"/>
              <a:gd name="connsiteX17" fmla="*/ 10380124 w 10448411"/>
              <a:gd name="connsiteY17" fmla="*/ 2183041 h 5222574"/>
              <a:gd name="connsiteX18" fmla="*/ 10134590 w 10448411"/>
              <a:gd name="connsiteY18" fmla="*/ 2843441 h 5222574"/>
              <a:gd name="connsiteX19" fmla="*/ 9719724 w 10448411"/>
              <a:gd name="connsiteY19" fmla="*/ 3266774 h 5222574"/>
              <a:gd name="connsiteX20" fmla="*/ 8839190 w 10448411"/>
              <a:gd name="connsiteY20" fmla="*/ 3791708 h 5222574"/>
              <a:gd name="connsiteX21" fmla="*/ 8142384 w 10448411"/>
              <a:gd name="connsiteY21" fmla="*/ 4017768 h 5222574"/>
              <a:gd name="connsiteX22" fmla="*/ 7738524 w 10448411"/>
              <a:gd name="connsiteY22" fmla="*/ 4164241 h 5222574"/>
              <a:gd name="connsiteX23" fmla="*/ 7145857 w 10448411"/>
              <a:gd name="connsiteY23" fmla="*/ 4587574 h 5222574"/>
              <a:gd name="connsiteX24" fmla="*/ 7145857 w 10448411"/>
              <a:gd name="connsiteY24" fmla="*/ 4587574 h 5222574"/>
              <a:gd name="connsiteX25" fmla="*/ 6993457 w 10448411"/>
              <a:gd name="connsiteY25" fmla="*/ 4706108 h 5222574"/>
              <a:gd name="connsiteX26" fmla="*/ 6798724 w 10448411"/>
              <a:gd name="connsiteY26" fmla="*/ 4833108 h 5222574"/>
              <a:gd name="connsiteX27" fmla="*/ 6417724 w 10448411"/>
              <a:gd name="connsiteY27" fmla="*/ 5036308 h 5222574"/>
              <a:gd name="connsiteX28" fmla="*/ 5968990 w 10448411"/>
              <a:gd name="connsiteY28" fmla="*/ 5197174 h 5222574"/>
              <a:gd name="connsiteX29" fmla="*/ 5689590 w 10448411"/>
              <a:gd name="connsiteY29" fmla="*/ 5222574 h 5222574"/>
              <a:gd name="connsiteX30" fmla="*/ 5520257 w 10448411"/>
              <a:gd name="connsiteY30" fmla="*/ 5214108 h 5222574"/>
              <a:gd name="connsiteX31" fmla="*/ 5054590 w 10448411"/>
              <a:gd name="connsiteY31" fmla="*/ 5104041 h 5222574"/>
              <a:gd name="connsiteX32" fmla="*/ 4731164 w 10448411"/>
              <a:gd name="connsiteY32" fmla="*/ 4918621 h 5222574"/>
              <a:gd name="connsiteX33" fmla="*/ 4458537 w 10448411"/>
              <a:gd name="connsiteY33" fmla="*/ 4718808 h 5222574"/>
              <a:gd name="connsiteX34" fmla="*/ 3749030 w 10448411"/>
              <a:gd name="connsiteY34" fmla="*/ 4401096 h 5222574"/>
              <a:gd name="connsiteX35" fmla="*/ 3513234 w 10448411"/>
              <a:gd name="connsiteY35" fmla="*/ 4084654 h 5222574"/>
              <a:gd name="connsiteX36" fmla="*/ 3333740 w 10448411"/>
              <a:gd name="connsiteY36" fmla="*/ 3337471 h 5222574"/>
              <a:gd name="connsiteX37" fmla="*/ 2844790 w 10448411"/>
              <a:gd name="connsiteY37" fmla="*/ 2940808 h 5222574"/>
              <a:gd name="connsiteX38" fmla="*/ 2743190 w 10448411"/>
              <a:gd name="connsiteY38" fmla="*/ 2674108 h 5222574"/>
              <a:gd name="connsiteX39" fmla="*/ 2768590 w 10448411"/>
              <a:gd name="connsiteY39" fmla="*/ 2462441 h 5222574"/>
              <a:gd name="connsiteX40" fmla="*/ 2785524 w 10448411"/>
              <a:gd name="connsiteY40" fmla="*/ 2360841 h 5222574"/>
              <a:gd name="connsiteX41" fmla="*/ 2760124 w 10448411"/>
              <a:gd name="connsiteY41" fmla="*/ 2191508 h 5222574"/>
              <a:gd name="connsiteX42" fmla="*/ 2573857 w 10448411"/>
              <a:gd name="connsiteY42" fmla="*/ 1937508 h 5222574"/>
              <a:gd name="connsiteX43" fmla="*/ 2412990 w 10448411"/>
              <a:gd name="connsiteY43" fmla="*/ 1793574 h 5222574"/>
              <a:gd name="connsiteX44" fmla="*/ 2218257 w 10448411"/>
              <a:gd name="connsiteY44" fmla="*/ 1742774 h 5222574"/>
              <a:gd name="connsiteX45" fmla="*/ 1938857 w 10448411"/>
              <a:gd name="connsiteY45" fmla="*/ 1810508 h 5222574"/>
              <a:gd name="connsiteX46" fmla="*/ 1430857 w 10448411"/>
              <a:gd name="connsiteY46" fmla="*/ 2005241 h 5222574"/>
              <a:gd name="connsiteX47" fmla="*/ 685790 w 10448411"/>
              <a:gd name="connsiteY47" fmla="*/ 1962908 h 5222574"/>
              <a:gd name="connsiteX48" fmla="*/ 389457 w 10448411"/>
              <a:gd name="connsiteY48" fmla="*/ 1852841 h 5222574"/>
              <a:gd name="connsiteX49" fmla="*/ 126144 w 10448411"/>
              <a:gd name="connsiteY49" fmla="*/ 1607308 h 5222574"/>
              <a:gd name="connsiteX50" fmla="*/ 16924 w 10448411"/>
              <a:gd name="connsiteY50" fmla="*/ 1150108 h 5222574"/>
              <a:gd name="connsiteX51" fmla="*/ 16924 w 10448411"/>
              <a:gd name="connsiteY51" fmla="*/ 777574 h 5222574"/>
              <a:gd name="connsiteX52" fmla="*/ 8457 w 10448411"/>
              <a:gd name="connsiteY52" fmla="*/ 633641 h 5222574"/>
              <a:gd name="connsiteX0" fmla="*/ 4587 w 10444541"/>
              <a:gd name="connsiteY0" fmla="*/ 633641 h 5222574"/>
              <a:gd name="connsiteX1" fmla="*/ 27024 w 10444541"/>
              <a:gd name="connsiteY1" fmla="*/ 209884 h 5222574"/>
              <a:gd name="connsiteX2" fmla="*/ 271306 w 10444541"/>
              <a:gd name="connsiteY2" fmla="*/ 94603 h 5222574"/>
              <a:gd name="connsiteX3" fmla="*/ 664371 w 10444541"/>
              <a:gd name="connsiteY3" fmla="*/ 70839 h 5222574"/>
              <a:gd name="connsiteX4" fmla="*/ 1131500 w 10444541"/>
              <a:gd name="connsiteY4" fmla="*/ 237401 h 5222574"/>
              <a:gd name="connsiteX5" fmla="*/ 1528587 w 10444541"/>
              <a:gd name="connsiteY5" fmla="*/ 354241 h 5222574"/>
              <a:gd name="connsiteX6" fmla="*/ 2172054 w 10444541"/>
              <a:gd name="connsiteY6" fmla="*/ 286508 h 5222574"/>
              <a:gd name="connsiteX7" fmla="*/ 3166732 w 10444541"/>
              <a:gd name="connsiteY7" fmla="*/ 2874 h 5222574"/>
              <a:gd name="connsiteX8" fmla="*/ 4297187 w 10444541"/>
              <a:gd name="connsiteY8" fmla="*/ 201841 h 5222574"/>
              <a:gd name="connsiteX9" fmla="*/ 5398624 w 10444541"/>
              <a:gd name="connsiteY9" fmla="*/ 1080450 h 5222574"/>
              <a:gd name="connsiteX10" fmla="*/ 6649304 w 10444541"/>
              <a:gd name="connsiteY10" fmla="*/ 1297004 h 5222574"/>
              <a:gd name="connsiteX11" fmla="*/ 7606846 w 10444541"/>
              <a:gd name="connsiteY11" fmla="*/ 1114548 h 5222574"/>
              <a:gd name="connsiteX12" fmla="*/ 8420454 w 10444541"/>
              <a:gd name="connsiteY12" fmla="*/ 608241 h 5222574"/>
              <a:gd name="connsiteX13" fmla="*/ 9457620 w 10444541"/>
              <a:gd name="connsiteY13" fmla="*/ 457534 h 5222574"/>
              <a:gd name="connsiteX14" fmla="*/ 10156120 w 10444541"/>
              <a:gd name="connsiteY14" fmla="*/ 819908 h 5222574"/>
              <a:gd name="connsiteX15" fmla="*/ 10350854 w 10444541"/>
              <a:gd name="connsiteY15" fmla="*/ 1378708 h 5222574"/>
              <a:gd name="connsiteX16" fmla="*/ 10443987 w 10444541"/>
              <a:gd name="connsiteY16" fmla="*/ 1785108 h 5222574"/>
              <a:gd name="connsiteX17" fmla="*/ 10376254 w 10444541"/>
              <a:gd name="connsiteY17" fmla="*/ 2183041 h 5222574"/>
              <a:gd name="connsiteX18" fmla="*/ 10130720 w 10444541"/>
              <a:gd name="connsiteY18" fmla="*/ 2843441 h 5222574"/>
              <a:gd name="connsiteX19" fmla="*/ 9715854 w 10444541"/>
              <a:gd name="connsiteY19" fmla="*/ 3266774 h 5222574"/>
              <a:gd name="connsiteX20" fmla="*/ 8835320 w 10444541"/>
              <a:gd name="connsiteY20" fmla="*/ 3791708 h 5222574"/>
              <a:gd name="connsiteX21" fmla="*/ 8138514 w 10444541"/>
              <a:gd name="connsiteY21" fmla="*/ 4017768 h 5222574"/>
              <a:gd name="connsiteX22" fmla="*/ 7734654 w 10444541"/>
              <a:gd name="connsiteY22" fmla="*/ 4164241 h 5222574"/>
              <a:gd name="connsiteX23" fmla="*/ 7141987 w 10444541"/>
              <a:gd name="connsiteY23" fmla="*/ 4587574 h 5222574"/>
              <a:gd name="connsiteX24" fmla="*/ 7141987 w 10444541"/>
              <a:gd name="connsiteY24" fmla="*/ 4587574 h 5222574"/>
              <a:gd name="connsiteX25" fmla="*/ 6989587 w 10444541"/>
              <a:gd name="connsiteY25" fmla="*/ 4706108 h 5222574"/>
              <a:gd name="connsiteX26" fmla="*/ 6794854 w 10444541"/>
              <a:gd name="connsiteY26" fmla="*/ 4833108 h 5222574"/>
              <a:gd name="connsiteX27" fmla="*/ 6413854 w 10444541"/>
              <a:gd name="connsiteY27" fmla="*/ 5036308 h 5222574"/>
              <a:gd name="connsiteX28" fmla="*/ 5965120 w 10444541"/>
              <a:gd name="connsiteY28" fmla="*/ 5197174 h 5222574"/>
              <a:gd name="connsiteX29" fmla="*/ 5685720 w 10444541"/>
              <a:gd name="connsiteY29" fmla="*/ 5222574 h 5222574"/>
              <a:gd name="connsiteX30" fmla="*/ 5516387 w 10444541"/>
              <a:gd name="connsiteY30" fmla="*/ 5214108 h 5222574"/>
              <a:gd name="connsiteX31" fmla="*/ 5050720 w 10444541"/>
              <a:gd name="connsiteY31" fmla="*/ 5104041 h 5222574"/>
              <a:gd name="connsiteX32" fmla="*/ 4727294 w 10444541"/>
              <a:gd name="connsiteY32" fmla="*/ 4918621 h 5222574"/>
              <a:gd name="connsiteX33" fmla="*/ 4454667 w 10444541"/>
              <a:gd name="connsiteY33" fmla="*/ 4718808 h 5222574"/>
              <a:gd name="connsiteX34" fmla="*/ 3745160 w 10444541"/>
              <a:gd name="connsiteY34" fmla="*/ 4401096 h 5222574"/>
              <a:gd name="connsiteX35" fmla="*/ 3509364 w 10444541"/>
              <a:gd name="connsiteY35" fmla="*/ 4084654 h 5222574"/>
              <a:gd name="connsiteX36" fmla="*/ 3329870 w 10444541"/>
              <a:gd name="connsiteY36" fmla="*/ 3337471 h 5222574"/>
              <a:gd name="connsiteX37" fmla="*/ 2840920 w 10444541"/>
              <a:gd name="connsiteY37" fmla="*/ 2940808 h 5222574"/>
              <a:gd name="connsiteX38" fmla="*/ 2739320 w 10444541"/>
              <a:gd name="connsiteY38" fmla="*/ 2674108 h 5222574"/>
              <a:gd name="connsiteX39" fmla="*/ 2764720 w 10444541"/>
              <a:gd name="connsiteY39" fmla="*/ 2462441 h 5222574"/>
              <a:gd name="connsiteX40" fmla="*/ 2781654 w 10444541"/>
              <a:gd name="connsiteY40" fmla="*/ 2360841 h 5222574"/>
              <a:gd name="connsiteX41" fmla="*/ 2756254 w 10444541"/>
              <a:gd name="connsiteY41" fmla="*/ 2191508 h 5222574"/>
              <a:gd name="connsiteX42" fmla="*/ 2569987 w 10444541"/>
              <a:gd name="connsiteY42" fmla="*/ 1937508 h 5222574"/>
              <a:gd name="connsiteX43" fmla="*/ 2409120 w 10444541"/>
              <a:gd name="connsiteY43" fmla="*/ 1793574 h 5222574"/>
              <a:gd name="connsiteX44" fmla="*/ 2214387 w 10444541"/>
              <a:gd name="connsiteY44" fmla="*/ 1742774 h 5222574"/>
              <a:gd name="connsiteX45" fmla="*/ 1934987 w 10444541"/>
              <a:gd name="connsiteY45" fmla="*/ 1810508 h 5222574"/>
              <a:gd name="connsiteX46" fmla="*/ 1426987 w 10444541"/>
              <a:gd name="connsiteY46" fmla="*/ 2005241 h 5222574"/>
              <a:gd name="connsiteX47" fmla="*/ 681920 w 10444541"/>
              <a:gd name="connsiteY47" fmla="*/ 1962908 h 5222574"/>
              <a:gd name="connsiteX48" fmla="*/ 385587 w 10444541"/>
              <a:gd name="connsiteY48" fmla="*/ 1852841 h 5222574"/>
              <a:gd name="connsiteX49" fmla="*/ 122274 w 10444541"/>
              <a:gd name="connsiteY49" fmla="*/ 1607308 h 5222574"/>
              <a:gd name="connsiteX50" fmla="*/ 13054 w 10444541"/>
              <a:gd name="connsiteY50" fmla="*/ 1150108 h 5222574"/>
              <a:gd name="connsiteX51" fmla="*/ 13054 w 10444541"/>
              <a:gd name="connsiteY51" fmla="*/ 777574 h 5222574"/>
              <a:gd name="connsiteX52" fmla="*/ 4587 w 10444541"/>
              <a:gd name="connsiteY52" fmla="*/ 633641 h 5222574"/>
              <a:gd name="connsiteX0" fmla="*/ 4587 w 10444541"/>
              <a:gd name="connsiteY0" fmla="*/ 633641 h 5222574"/>
              <a:gd name="connsiteX1" fmla="*/ 27024 w 10444541"/>
              <a:gd name="connsiteY1" fmla="*/ 209884 h 5222574"/>
              <a:gd name="connsiteX2" fmla="*/ 271306 w 10444541"/>
              <a:gd name="connsiteY2" fmla="*/ 94603 h 5222574"/>
              <a:gd name="connsiteX3" fmla="*/ 1131500 w 10444541"/>
              <a:gd name="connsiteY3" fmla="*/ 237401 h 5222574"/>
              <a:gd name="connsiteX4" fmla="*/ 1528587 w 10444541"/>
              <a:gd name="connsiteY4" fmla="*/ 354241 h 5222574"/>
              <a:gd name="connsiteX5" fmla="*/ 2172054 w 10444541"/>
              <a:gd name="connsiteY5" fmla="*/ 286508 h 5222574"/>
              <a:gd name="connsiteX6" fmla="*/ 3166732 w 10444541"/>
              <a:gd name="connsiteY6" fmla="*/ 2874 h 5222574"/>
              <a:gd name="connsiteX7" fmla="*/ 4297187 w 10444541"/>
              <a:gd name="connsiteY7" fmla="*/ 201841 h 5222574"/>
              <a:gd name="connsiteX8" fmla="*/ 5398624 w 10444541"/>
              <a:gd name="connsiteY8" fmla="*/ 1080450 h 5222574"/>
              <a:gd name="connsiteX9" fmla="*/ 6649304 w 10444541"/>
              <a:gd name="connsiteY9" fmla="*/ 1297004 h 5222574"/>
              <a:gd name="connsiteX10" fmla="*/ 7606846 w 10444541"/>
              <a:gd name="connsiteY10" fmla="*/ 1114548 h 5222574"/>
              <a:gd name="connsiteX11" fmla="*/ 8420454 w 10444541"/>
              <a:gd name="connsiteY11" fmla="*/ 608241 h 5222574"/>
              <a:gd name="connsiteX12" fmla="*/ 9457620 w 10444541"/>
              <a:gd name="connsiteY12" fmla="*/ 457534 h 5222574"/>
              <a:gd name="connsiteX13" fmla="*/ 10156120 w 10444541"/>
              <a:gd name="connsiteY13" fmla="*/ 819908 h 5222574"/>
              <a:gd name="connsiteX14" fmla="*/ 10350854 w 10444541"/>
              <a:gd name="connsiteY14" fmla="*/ 1378708 h 5222574"/>
              <a:gd name="connsiteX15" fmla="*/ 10443987 w 10444541"/>
              <a:gd name="connsiteY15" fmla="*/ 1785108 h 5222574"/>
              <a:gd name="connsiteX16" fmla="*/ 10376254 w 10444541"/>
              <a:gd name="connsiteY16" fmla="*/ 2183041 h 5222574"/>
              <a:gd name="connsiteX17" fmla="*/ 10130720 w 10444541"/>
              <a:gd name="connsiteY17" fmla="*/ 2843441 h 5222574"/>
              <a:gd name="connsiteX18" fmla="*/ 9715854 w 10444541"/>
              <a:gd name="connsiteY18" fmla="*/ 3266774 h 5222574"/>
              <a:gd name="connsiteX19" fmla="*/ 8835320 w 10444541"/>
              <a:gd name="connsiteY19" fmla="*/ 3791708 h 5222574"/>
              <a:gd name="connsiteX20" fmla="*/ 8138514 w 10444541"/>
              <a:gd name="connsiteY20" fmla="*/ 4017768 h 5222574"/>
              <a:gd name="connsiteX21" fmla="*/ 7734654 w 10444541"/>
              <a:gd name="connsiteY21" fmla="*/ 4164241 h 5222574"/>
              <a:gd name="connsiteX22" fmla="*/ 7141987 w 10444541"/>
              <a:gd name="connsiteY22" fmla="*/ 4587574 h 5222574"/>
              <a:gd name="connsiteX23" fmla="*/ 7141987 w 10444541"/>
              <a:gd name="connsiteY23" fmla="*/ 4587574 h 5222574"/>
              <a:gd name="connsiteX24" fmla="*/ 6989587 w 10444541"/>
              <a:gd name="connsiteY24" fmla="*/ 4706108 h 5222574"/>
              <a:gd name="connsiteX25" fmla="*/ 6794854 w 10444541"/>
              <a:gd name="connsiteY25" fmla="*/ 4833108 h 5222574"/>
              <a:gd name="connsiteX26" fmla="*/ 6413854 w 10444541"/>
              <a:gd name="connsiteY26" fmla="*/ 5036308 h 5222574"/>
              <a:gd name="connsiteX27" fmla="*/ 5965120 w 10444541"/>
              <a:gd name="connsiteY27" fmla="*/ 5197174 h 5222574"/>
              <a:gd name="connsiteX28" fmla="*/ 5685720 w 10444541"/>
              <a:gd name="connsiteY28" fmla="*/ 5222574 h 5222574"/>
              <a:gd name="connsiteX29" fmla="*/ 5516387 w 10444541"/>
              <a:gd name="connsiteY29" fmla="*/ 5214108 h 5222574"/>
              <a:gd name="connsiteX30" fmla="*/ 5050720 w 10444541"/>
              <a:gd name="connsiteY30" fmla="*/ 5104041 h 5222574"/>
              <a:gd name="connsiteX31" fmla="*/ 4727294 w 10444541"/>
              <a:gd name="connsiteY31" fmla="*/ 4918621 h 5222574"/>
              <a:gd name="connsiteX32" fmla="*/ 4454667 w 10444541"/>
              <a:gd name="connsiteY32" fmla="*/ 4718808 h 5222574"/>
              <a:gd name="connsiteX33" fmla="*/ 3745160 w 10444541"/>
              <a:gd name="connsiteY33" fmla="*/ 4401096 h 5222574"/>
              <a:gd name="connsiteX34" fmla="*/ 3509364 w 10444541"/>
              <a:gd name="connsiteY34" fmla="*/ 4084654 h 5222574"/>
              <a:gd name="connsiteX35" fmla="*/ 3329870 w 10444541"/>
              <a:gd name="connsiteY35" fmla="*/ 3337471 h 5222574"/>
              <a:gd name="connsiteX36" fmla="*/ 2840920 w 10444541"/>
              <a:gd name="connsiteY36" fmla="*/ 2940808 h 5222574"/>
              <a:gd name="connsiteX37" fmla="*/ 2739320 w 10444541"/>
              <a:gd name="connsiteY37" fmla="*/ 2674108 h 5222574"/>
              <a:gd name="connsiteX38" fmla="*/ 2764720 w 10444541"/>
              <a:gd name="connsiteY38" fmla="*/ 2462441 h 5222574"/>
              <a:gd name="connsiteX39" fmla="*/ 2781654 w 10444541"/>
              <a:gd name="connsiteY39" fmla="*/ 2360841 h 5222574"/>
              <a:gd name="connsiteX40" fmla="*/ 2756254 w 10444541"/>
              <a:gd name="connsiteY40" fmla="*/ 2191508 h 5222574"/>
              <a:gd name="connsiteX41" fmla="*/ 2569987 w 10444541"/>
              <a:gd name="connsiteY41" fmla="*/ 1937508 h 5222574"/>
              <a:gd name="connsiteX42" fmla="*/ 2409120 w 10444541"/>
              <a:gd name="connsiteY42" fmla="*/ 1793574 h 5222574"/>
              <a:gd name="connsiteX43" fmla="*/ 2214387 w 10444541"/>
              <a:gd name="connsiteY43" fmla="*/ 1742774 h 5222574"/>
              <a:gd name="connsiteX44" fmla="*/ 1934987 w 10444541"/>
              <a:gd name="connsiteY44" fmla="*/ 1810508 h 5222574"/>
              <a:gd name="connsiteX45" fmla="*/ 1426987 w 10444541"/>
              <a:gd name="connsiteY45" fmla="*/ 2005241 h 5222574"/>
              <a:gd name="connsiteX46" fmla="*/ 681920 w 10444541"/>
              <a:gd name="connsiteY46" fmla="*/ 1962908 h 5222574"/>
              <a:gd name="connsiteX47" fmla="*/ 385587 w 10444541"/>
              <a:gd name="connsiteY47" fmla="*/ 1852841 h 5222574"/>
              <a:gd name="connsiteX48" fmla="*/ 122274 w 10444541"/>
              <a:gd name="connsiteY48" fmla="*/ 1607308 h 5222574"/>
              <a:gd name="connsiteX49" fmla="*/ 13054 w 10444541"/>
              <a:gd name="connsiteY49" fmla="*/ 1150108 h 5222574"/>
              <a:gd name="connsiteX50" fmla="*/ 13054 w 10444541"/>
              <a:gd name="connsiteY50" fmla="*/ 777574 h 5222574"/>
              <a:gd name="connsiteX51" fmla="*/ 4587 w 10444541"/>
              <a:gd name="connsiteY51" fmla="*/ 633641 h 5222574"/>
              <a:gd name="connsiteX0" fmla="*/ 22650 w 10462604"/>
              <a:gd name="connsiteY0" fmla="*/ 633641 h 5222574"/>
              <a:gd name="connsiteX1" fmla="*/ 45087 w 10462604"/>
              <a:gd name="connsiteY1" fmla="*/ 209884 h 5222574"/>
              <a:gd name="connsiteX2" fmla="*/ 548449 w 10462604"/>
              <a:gd name="connsiteY2" fmla="*/ 81903 h 5222574"/>
              <a:gd name="connsiteX3" fmla="*/ 1149563 w 10462604"/>
              <a:gd name="connsiteY3" fmla="*/ 237401 h 5222574"/>
              <a:gd name="connsiteX4" fmla="*/ 1546650 w 10462604"/>
              <a:gd name="connsiteY4" fmla="*/ 354241 h 5222574"/>
              <a:gd name="connsiteX5" fmla="*/ 2190117 w 10462604"/>
              <a:gd name="connsiteY5" fmla="*/ 286508 h 5222574"/>
              <a:gd name="connsiteX6" fmla="*/ 3184795 w 10462604"/>
              <a:gd name="connsiteY6" fmla="*/ 2874 h 5222574"/>
              <a:gd name="connsiteX7" fmla="*/ 4315250 w 10462604"/>
              <a:gd name="connsiteY7" fmla="*/ 201841 h 5222574"/>
              <a:gd name="connsiteX8" fmla="*/ 5416687 w 10462604"/>
              <a:gd name="connsiteY8" fmla="*/ 1080450 h 5222574"/>
              <a:gd name="connsiteX9" fmla="*/ 6667367 w 10462604"/>
              <a:gd name="connsiteY9" fmla="*/ 1297004 h 5222574"/>
              <a:gd name="connsiteX10" fmla="*/ 7624909 w 10462604"/>
              <a:gd name="connsiteY10" fmla="*/ 1114548 h 5222574"/>
              <a:gd name="connsiteX11" fmla="*/ 8438517 w 10462604"/>
              <a:gd name="connsiteY11" fmla="*/ 608241 h 5222574"/>
              <a:gd name="connsiteX12" fmla="*/ 9475683 w 10462604"/>
              <a:gd name="connsiteY12" fmla="*/ 457534 h 5222574"/>
              <a:gd name="connsiteX13" fmla="*/ 10174183 w 10462604"/>
              <a:gd name="connsiteY13" fmla="*/ 819908 h 5222574"/>
              <a:gd name="connsiteX14" fmla="*/ 10368917 w 10462604"/>
              <a:gd name="connsiteY14" fmla="*/ 1378708 h 5222574"/>
              <a:gd name="connsiteX15" fmla="*/ 10462050 w 10462604"/>
              <a:gd name="connsiteY15" fmla="*/ 1785108 h 5222574"/>
              <a:gd name="connsiteX16" fmla="*/ 10394317 w 10462604"/>
              <a:gd name="connsiteY16" fmla="*/ 2183041 h 5222574"/>
              <a:gd name="connsiteX17" fmla="*/ 10148783 w 10462604"/>
              <a:gd name="connsiteY17" fmla="*/ 2843441 h 5222574"/>
              <a:gd name="connsiteX18" fmla="*/ 9733917 w 10462604"/>
              <a:gd name="connsiteY18" fmla="*/ 3266774 h 5222574"/>
              <a:gd name="connsiteX19" fmla="*/ 8853383 w 10462604"/>
              <a:gd name="connsiteY19" fmla="*/ 3791708 h 5222574"/>
              <a:gd name="connsiteX20" fmla="*/ 8156577 w 10462604"/>
              <a:gd name="connsiteY20" fmla="*/ 4017768 h 5222574"/>
              <a:gd name="connsiteX21" fmla="*/ 7752717 w 10462604"/>
              <a:gd name="connsiteY21" fmla="*/ 4164241 h 5222574"/>
              <a:gd name="connsiteX22" fmla="*/ 7160050 w 10462604"/>
              <a:gd name="connsiteY22" fmla="*/ 4587574 h 5222574"/>
              <a:gd name="connsiteX23" fmla="*/ 7160050 w 10462604"/>
              <a:gd name="connsiteY23" fmla="*/ 4587574 h 5222574"/>
              <a:gd name="connsiteX24" fmla="*/ 7007650 w 10462604"/>
              <a:gd name="connsiteY24" fmla="*/ 4706108 h 5222574"/>
              <a:gd name="connsiteX25" fmla="*/ 6812917 w 10462604"/>
              <a:gd name="connsiteY25" fmla="*/ 4833108 h 5222574"/>
              <a:gd name="connsiteX26" fmla="*/ 6431917 w 10462604"/>
              <a:gd name="connsiteY26" fmla="*/ 5036308 h 5222574"/>
              <a:gd name="connsiteX27" fmla="*/ 5983183 w 10462604"/>
              <a:gd name="connsiteY27" fmla="*/ 5197174 h 5222574"/>
              <a:gd name="connsiteX28" fmla="*/ 5703783 w 10462604"/>
              <a:gd name="connsiteY28" fmla="*/ 5222574 h 5222574"/>
              <a:gd name="connsiteX29" fmla="*/ 5534450 w 10462604"/>
              <a:gd name="connsiteY29" fmla="*/ 5214108 h 5222574"/>
              <a:gd name="connsiteX30" fmla="*/ 5068783 w 10462604"/>
              <a:gd name="connsiteY30" fmla="*/ 5104041 h 5222574"/>
              <a:gd name="connsiteX31" fmla="*/ 4745357 w 10462604"/>
              <a:gd name="connsiteY31" fmla="*/ 4918621 h 5222574"/>
              <a:gd name="connsiteX32" fmla="*/ 4472730 w 10462604"/>
              <a:gd name="connsiteY32" fmla="*/ 4718808 h 5222574"/>
              <a:gd name="connsiteX33" fmla="*/ 3763223 w 10462604"/>
              <a:gd name="connsiteY33" fmla="*/ 4401096 h 5222574"/>
              <a:gd name="connsiteX34" fmla="*/ 3527427 w 10462604"/>
              <a:gd name="connsiteY34" fmla="*/ 4084654 h 5222574"/>
              <a:gd name="connsiteX35" fmla="*/ 3347933 w 10462604"/>
              <a:gd name="connsiteY35" fmla="*/ 3337471 h 5222574"/>
              <a:gd name="connsiteX36" fmla="*/ 2858983 w 10462604"/>
              <a:gd name="connsiteY36" fmla="*/ 2940808 h 5222574"/>
              <a:gd name="connsiteX37" fmla="*/ 2757383 w 10462604"/>
              <a:gd name="connsiteY37" fmla="*/ 2674108 h 5222574"/>
              <a:gd name="connsiteX38" fmla="*/ 2782783 w 10462604"/>
              <a:gd name="connsiteY38" fmla="*/ 2462441 h 5222574"/>
              <a:gd name="connsiteX39" fmla="*/ 2799717 w 10462604"/>
              <a:gd name="connsiteY39" fmla="*/ 2360841 h 5222574"/>
              <a:gd name="connsiteX40" fmla="*/ 2774317 w 10462604"/>
              <a:gd name="connsiteY40" fmla="*/ 2191508 h 5222574"/>
              <a:gd name="connsiteX41" fmla="*/ 2588050 w 10462604"/>
              <a:gd name="connsiteY41" fmla="*/ 1937508 h 5222574"/>
              <a:gd name="connsiteX42" fmla="*/ 2427183 w 10462604"/>
              <a:gd name="connsiteY42" fmla="*/ 1793574 h 5222574"/>
              <a:gd name="connsiteX43" fmla="*/ 2232450 w 10462604"/>
              <a:gd name="connsiteY43" fmla="*/ 1742774 h 5222574"/>
              <a:gd name="connsiteX44" fmla="*/ 1953050 w 10462604"/>
              <a:gd name="connsiteY44" fmla="*/ 1810508 h 5222574"/>
              <a:gd name="connsiteX45" fmla="*/ 1445050 w 10462604"/>
              <a:gd name="connsiteY45" fmla="*/ 2005241 h 5222574"/>
              <a:gd name="connsiteX46" fmla="*/ 699983 w 10462604"/>
              <a:gd name="connsiteY46" fmla="*/ 1962908 h 5222574"/>
              <a:gd name="connsiteX47" fmla="*/ 403650 w 10462604"/>
              <a:gd name="connsiteY47" fmla="*/ 1852841 h 5222574"/>
              <a:gd name="connsiteX48" fmla="*/ 140337 w 10462604"/>
              <a:gd name="connsiteY48" fmla="*/ 1607308 h 5222574"/>
              <a:gd name="connsiteX49" fmla="*/ 31117 w 10462604"/>
              <a:gd name="connsiteY49" fmla="*/ 1150108 h 5222574"/>
              <a:gd name="connsiteX50" fmla="*/ 31117 w 10462604"/>
              <a:gd name="connsiteY50" fmla="*/ 777574 h 5222574"/>
              <a:gd name="connsiteX51" fmla="*/ 22650 w 10462604"/>
              <a:gd name="connsiteY51" fmla="*/ 633641 h 5222574"/>
              <a:gd name="connsiteX0" fmla="*/ 8906 w 10448860"/>
              <a:gd name="connsiteY0" fmla="*/ 633641 h 5222574"/>
              <a:gd name="connsiteX1" fmla="*/ 155803 w 10448860"/>
              <a:gd name="connsiteY1" fmla="*/ 209884 h 5222574"/>
              <a:gd name="connsiteX2" fmla="*/ 534705 w 10448860"/>
              <a:gd name="connsiteY2" fmla="*/ 81903 h 5222574"/>
              <a:gd name="connsiteX3" fmla="*/ 1135819 w 10448860"/>
              <a:gd name="connsiteY3" fmla="*/ 237401 h 5222574"/>
              <a:gd name="connsiteX4" fmla="*/ 1532906 w 10448860"/>
              <a:gd name="connsiteY4" fmla="*/ 354241 h 5222574"/>
              <a:gd name="connsiteX5" fmla="*/ 2176373 w 10448860"/>
              <a:gd name="connsiteY5" fmla="*/ 286508 h 5222574"/>
              <a:gd name="connsiteX6" fmla="*/ 3171051 w 10448860"/>
              <a:gd name="connsiteY6" fmla="*/ 2874 h 5222574"/>
              <a:gd name="connsiteX7" fmla="*/ 4301506 w 10448860"/>
              <a:gd name="connsiteY7" fmla="*/ 201841 h 5222574"/>
              <a:gd name="connsiteX8" fmla="*/ 5402943 w 10448860"/>
              <a:gd name="connsiteY8" fmla="*/ 1080450 h 5222574"/>
              <a:gd name="connsiteX9" fmla="*/ 6653623 w 10448860"/>
              <a:gd name="connsiteY9" fmla="*/ 1297004 h 5222574"/>
              <a:gd name="connsiteX10" fmla="*/ 7611165 w 10448860"/>
              <a:gd name="connsiteY10" fmla="*/ 1114548 h 5222574"/>
              <a:gd name="connsiteX11" fmla="*/ 8424773 w 10448860"/>
              <a:gd name="connsiteY11" fmla="*/ 608241 h 5222574"/>
              <a:gd name="connsiteX12" fmla="*/ 9461939 w 10448860"/>
              <a:gd name="connsiteY12" fmla="*/ 457534 h 5222574"/>
              <a:gd name="connsiteX13" fmla="*/ 10160439 w 10448860"/>
              <a:gd name="connsiteY13" fmla="*/ 819908 h 5222574"/>
              <a:gd name="connsiteX14" fmla="*/ 10355173 w 10448860"/>
              <a:gd name="connsiteY14" fmla="*/ 1378708 h 5222574"/>
              <a:gd name="connsiteX15" fmla="*/ 10448306 w 10448860"/>
              <a:gd name="connsiteY15" fmla="*/ 1785108 h 5222574"/>
              <a:gd name="connsiteX16" fmla="*/ 10380573 w 10448860"/>
              <a:gd name="connsiteY16" fmla="*/ 2183041 h 5222574"/>
              <a:gd name="connsiteX17" fmla="*/ 10135039 w 10448860"/>
              <a:gd name="connsiteY17" fmla="*/ 2843441 h 5222574"/>
              <a:gd name="connsiteX18" fmla="*/ 9720173 w 10448860"/>
              <a:gd name="connsiteY18" fmla="*/ 3266774 h 5222574"/>
              <a:gd name="connsiteX19" fmla="*/ 8839639 w 10448860"/>
              <a:gd name="connsiteY19" fmla="*/ 3791708 h 5222574"/>
              <a:gd name="connsiteX20" fmla="*/ 8142833 w 10448860"/>
              <a:gd name="connsiteY20" fmla="*/ 4017768 h 5222574"/>
              <a:gd name="connsiteX21" fmla="*/ 7738973 w 10448860"/>
              <a:gd name="connsiteY21" fmla="*/ 4164241 h 5222574"/>
              <a:gd name="connsiteX22" fmla="*/ 7146306 w 10448860"/>
              <a:gd name="connsiteY22" fmla="*/ 4587574 h 5222574"/>
              <a:gd name="connsiteX23" fmla="*/ 7146306 w 10448860"/>
              <a:gd name="connsiteY23" fmla="*/ 4587574 h 5222574"/>
              <a:gd name="connsiteX24" fmla="*/ 6993906 w 10448860"/>
              <a:gd name="connsiteY24" fmla="*/ 4706108 h 5222574"/>
              <a:gd name="connsiteX25" fmla="*/ 6799173 w 10448860"/>
              <a:gd name="connsiteY25" fmla="*/ 4833108 h 5222574"/>
              <a:gd name="connsiteX26" fmla="*/ 6418173 w 10448860"/>
              <a:gd name="connsiteY26" fmla="*/ 5036308 h 5222574"/>
              <a:gd name="connsiteX27" fmla="*/ 5969439 w 10448860"/>
              <a:gd name="connsiteY27" fmla="*/ 5197174 h 5222574"/>
              <a:gd name="connsiteX28" fmla="*/ 5690039 w 10448860"/>
              <a:gd name="connsiteY28" fmla="*/ 5222574 h 5222574"/>
              <a:gd name="connsiteX29" fmla="*/ 5520706 w 10448860"/>
              <a:gd name="connsiteY29" fmla="*/ 5214108 h 5222574"/>
              <a:gd name="connsiteX30" fmla="*/ 5055039 w 10448860"/>
              <a:gd name="connsiteY30" fmla="*/ 5104041 h 5222574"/>
              <a:gd name="connsiteX31" fmla="*/ 4731613 w 10448860"/>
              <a:gd name="connsiteY31" fmla="*/ 4918621 h 5222574"/>
              <a:gd name="connsiteX32" fmla="*/ 4458986 w 10448860"/>
              <a:gd name="connsiteY32" fmla="*/ 4718808 h 5222574"/>
              <a:gd name="connsiteX33" fmla="*/ 3749479 w 10448860"/>
              <a:gd name="connsiteY33" fmla="*/ 4401096 h 5222574"/>
              <a:gd name="connsiteX34" fmla="*/ 3513683 w 10448860"/>
              <a:gd name="connsiteY34" fmla="*/ 4084654 h 5222574"/>
              <a:gd name="connsiteX35" fmla="*/ 3334189 w 10448860"/>
              <a:gd name="connsiteY35" fmla="*/ 3337471 h 5222574"/>
              <a:gd name="connsiteX36" fmla="*/ 2845239 w 10448860"/>
              <a:gd name="connsiteY36" fmla="*/ 2940808 h 5222574"/>
              <a:gd name="connsiteX37" fmla="*/ 2743639 w 10448860"/>
              <a:gd name="connsiteY37" fmla="*/ 2674108 h 5222574"/>
              <a:gd name="connsiteX38" fmla="*/ 2769039 w 10448860"/>
              <a:gd name="connsiteY38" fmla="*/ 2462441 h 5222574"/>
              <a:gd name="connsiteX39" fmla="*/ 2785973 w 10448860"/>
              <a:gd name="connsiteY39" fmla="*/ 2360841 h 5222574"/>
              <a:gd name="connsiteX40" fmla="*/ 2760573 w 10448860"/>
              <a:gd name="connsiteY40" fmla="*/ 2191508 h 5222574"/>
              <a:gd name="connsiteX41" fmla="*/ 2574306 w 10448860"/>
              <a:gd name="connsiteY41" fmla="*/ 1937508 h 5222574"/>
              <a:gd name="connsiteX42" fmla="*/ 2413439 w 10448860"/>
              <a:gd name="connsiteY42" fmla="*/ 1793574 h 5222574"/>
              <a:gd name="connsiteX43" fmla="*/ 2218706 w 10448860"/>
              <a:gd name="connsiteY43" fmla="*/ 1742774 h 5222574"/>
              <a:gd name="connsiteX44" fmla="*/ 1939306 w 10448860"/>
              <a:gd name="connsiteY44" fmla="*/ 1810508 h 5222574"/>
              <a:gd name="connsiteX45" fmla="*/ 1431306 w 10448860"/>
              <a:gd name="connsiteY45" fmla="*/ 2005241 h 5222574"/>
              <a:gd name="connsiteX46" fmla="*/ 686239 w 10448860"/>
              <a:gd name="connsiteY46" fmla="*/ 1962908 h 5222574"/>
              <a:gd name="connsiteX47" fmla="*/ 389906 w 10448860"/>
              <a:gd name="connsiteY47" fmla="*/ 1852841 h 5222574"/>
              <a:gd name="connsiteX48" fmla="*/ 126593 w 10448860"/>
              <a:gd name="connsiteY48" fmla="*/ 1607308 h 5222574"/>
              <a:gd name="connsiteX49" fmla="*/ 17373 w 10448860"/>
              <a:gd name="connsiteY49" fmla="*/ 1150108 h 5222574"/>
              <a:gd name="connsiteX50" fmla="*/ 17373 w 10448860"/>
              <a:gd name="connsiteY50" fmla="*/ 777574 h 5222574"/>
              <a:gd name="connsiteX51" fmla="*/ 8906 w 10448860"/>
              <a:gd name="connsiteY51" fmla="*/ 633641 h 5222574"/>
              <a:gd name="connsiteX0" fmla="*/ 12645 w 10452599"/>
              <a:gd name="connsiteY0" fmla="*/ 633641 h 5222574"/>
              <a:gd name="connsiteX1" fmla="*/ 159542 w 10452599"/>
              <a:gd name="connsiteY1" fmla="*/ 209884 h 5222574"/>
              <a:gd name="connsiteX2" fmla="*/ 538444 w 10452599"/>
              <a:gd name="connsiteY2" fmla="*/ 81903 h 5222574"/>
              <a:gd name="connsiteX3" fmla="*/ 1139558 w 10452599"/>
              <a:gd name="connsiteY3" fmla="*/ 237401 h 5222574"/>
              <a:gd name="connsiteX4" fmla="*/ 1536645 w 10452599"/>
              <a:gd name="connsiteY4" fmla="*/ 354241 h 5222574"/>
              <a:gd name="connsiteX5" fmla="*/ 2180112 w 10452599"/>
              <a:gd name="connsiteY5" fmla="*/ 286508 h 5222574"/>
              <a:gd name="connsiteX6" fmla="*/ 3174790 w 10452599"/>
              <a:gd name="connsiteY6" fmla="*/ 2874 h 5222574"/>
              <a:gd name="connsiteX7" fmla="*/ 4305245 w 10452599"/>
              <a:gd name="connsiteY7" fmla="*/ 201841 h 5222574"/>
              <a:gd name="connsiteX8" fmla="*/ 5406682 w 10452599"/>
              <a:gd name="connsiteY8" fmla="*/ 1080450 h 5222574"/>
              <a:gd name="connsiteX9" fmla="*/ 6657362 w 10452599"/>
              <a:gd name="connsiteY9" fmla="*/ 1297004 h 5222574"/>
              <a:gd name="connsiteX10" fmla="*/ 7614904 w 10452599"/>
              <a:gd name="connsiteY10" fmla="*/ 1114548 h 5222574"/>
              <a:gd name="connsiteX11" fmla="*/ 8428512 w 10452599"/>
              <a:gd name="connsiteY11" fmla="*/ 608241 h 5222574"/>
              <a:gd name="connsiteX12" fmla="*/ 9465678 w 10452599"/>
              <a:gd name="connsiteY12" fmla="*/ 457534 h 5222574"/>
              <a:gd name="connsiteX13" fmla="*/ 10164178 w 10452599"/>
              <a:gd name="connsiteY13" fmla="*/ 819908 h 5222574"/>
              <a:gd name="connsiteX14" fmla="*/ 10358912 w 10452599"/>
              <a:gd name="connsiteY14" fmla="*/ 1378708 h 5222574"/>
              <a:gd name="connsiteX15" fmla="*/ 10452045 w 10452599"/>
              <a:gd name="connsiteY15" fmla="*/ 1785108 h 5222574"/>
              <a:gd name="connsiteX16" fmla="*/ 10384312 w 10452599"/>
              <a:gd name="connsiteY16" fmla="*/ 2183041 h 5222574"/>
              <a:gd name="connsiteX17" fmla="*/ 10138778 w 10452599"/>
              <a:gd name="connsiteY17" fmla="*/ 2843441 h 5222574"/>
              <a:gd name="connsiteX18" fmla="*/ 9723912 w 10452599"/>
              <a:gd name="connsiteY18" fmla="*/ 3266774 h 5222574"/>
              <a:gd name="connsiteX19" fmla="*/ 8843378 w 10452599"/>
              <a:gd name="connsiteY19" fmla="*/ 3791708 h 5222574"/>
              <a:gd name="connsiteX20" fmla="*/ 8146572 w 10452599"/>
              <a:gd name="connsiteY20" fmla="*/ 4017768 h 5222574"/>
              <a:gd name="connsiteX21" fmla="*/ 7742712 w 10452599"/>
              <a:gd name="connsiteY21" fmla="*/ 4164241 h 5222574"/>
              <a:gd name="connsiteX22" fmla="*/ 7150045 w 10452599"/>
              <a:gd name="connsiteY22" fmla="*/ 4587574 h 5222574"/>
              <a:gd name="connsiteX23" fmla="*/ 7150045 w 10452599"/>
              <a:gd name="connsiteY23" fmla="*/ 4587574 h 5222574"/>
              <a:gd name="connsiteX24" fmla="*/ 6997645 w 10452599"/>
              <a:gd name="connsiteY24" fmla="*/ 4706108 h 5222574"/>
              <a:gd name="connsiteX25" fmla="*/ 6802912 w 10452599"/>
              <a:gd name="connsiteY25" fmla="*/ 4833108 h 5222574"/>
              <a:gd name="connsiteX26" fmla="*/ 6421912 w 10452599"/>
              <a:gd name="connsiteY26" fmla="*/ 5036308 h 5222574"/>
              <a:gd name="connsiteX27" fmla="*/ 5973178 w 10452599"/>
              <a:gd name="connsiteY27" fmla="*/ 5197174 h 5222574"/>
              <a:gd name="connsiteX28" fmla="*/ 5693778 w 10452599"/>
              <a:gd name="connsiteY28" fmla="*/ 5222574 h 5222574"/>
              <a:gd name="connsiteX29" fmla="*/ 5524445 w 10452599"/>
              <a:gd name="connsiteY29" fmla="*/ 5214108 h 5222574"/>
              <a:gd name="connsiteX30" fmla="*/ 5058778 w 10452599"/>
              <a:gd name="connsiteY30" fmla="*/ 5104041 h 5222574"/>
              <a:gd name="connsiteX31" fmla="*/ 4735352 w 10452599"/>
              <a:gd name="connsiteY31" fmla="*/ 4918621 h 5222574"/>
              <a:gd name="connsiteX32" fmla="*/ 4462725 w 10452599"/>
              <a:gd name="connsiteY32" fmla="*/ 4718808 h 5222574"/>
              <a:gd name="connsiteX33" fmla="*/ 3753218 w 10452599"/>
              <a:gd name="connsiteY33" fmla="*/ 4401096 h 5222574"/>
              <a:gd name="connsiteX34" fmla="*/ 3517422 w 10452599"/>
              <a:gd name="connsiteY34" fmla="*/ 4084654 h 5222574"/>
              <a:gd name="connsiteX35" fmla="*/ 3337928 w 10452599"/>
              <a:gd name="connsiteY35" fmla="*/ 3337471 h 5222574"/>
              <a:gd name="connsiteX36" fmla="*/ 2848978 w 10452599"/>
              <a:gd name="connsiteY36" fmla="*/ 2940808 h 5222574"/>
              <a:gd name="connsiteX37" fmla="*/ 2747378 w 10452599"/>
              <a:gd name="connsiteY37" fmla="*/ 2674108 h 5222574"/>
              <a:gd name="connsiteX38" fmla="*/ 2772778 w 10452599"/>
              <a:gd name="connsiteY38" fmla="*/ 2462441 h 5222574"/>
              <a:gd name="connsiteX39" fmla="*/ 2789712 w 10452599"/>
              <a:gd name="connsiteY39" fmla="*/ 2360841 h 5222574"/>
              <a:gd name="connsiteX40" fmla="*/ 2764312 w 10452599"/>
              <a:gd name="connsiteY40" fmla="*/ 2191508 h 5222574"/>
              <a:gd name="connsiteX41" fmla="*/ 2578045 w 10452599"/>
              <a:gd name="connsiteY41" fmla="*/ 1937508 h 5222574"/>
              <a:gd name="connsiteX42" fmla="*/ 2417178 w 10452599"/>
              <a:gd name="connsiteY42" fmla="*/ 1793574 h 5222574"/>
              <a:gd name="connsiteX43" fmla="*/ 2222445 w 10452599"/>
              <a:gd name="connsiteY43" fmla="*/ 1742774 h 5222574"/>
              <a:gd name="connsiteX44" fmla="*/ 1943045 w 10452599"/>
              <a:gd name="connsiteY44" fmla="*/ 1810508 h 5222574"/>
              <a:gd name="connsiteX45" fmla="*/ 1435045 w 10452599"/>
              <a:gd name="connsiteY45" fmla="*/ 2005241 h 5222574"/>
              <a:gd name="connsiteX46" fmla="*/ 689978 w 10452599"/>
              <a:gd name="connsiteY46" fmla="*/ 1962908 h 5222574"/>
              <a:gd name="connsiteX47" fmla="*/ 393645 w 10452599"/>
              <a:gd name="connsiteY47" fmla="*/ 1852841 h 5222574"/>
              <a:gd name="connsiteX48" fmla="*/ 130332 w 10452599"/>
              <a:gd name="connsiteY48" fmla="*/ 1607308 h 5222574"/>
              <a:gd name="connsiteX49" fmla="*/ 21112 w 10452599"/>
              <a:gd name="connsiteY49" fmla="*/ 1150108 h 5222574"/>
              <a:gd name="connsiteX50" fmla="*/ 12645 w 10452599"/>
              <a:gd name="connsiteY50" fmla="*/ 633641 h 5222574"/>
              <a:gd name="connsiteX0" fmla="*/ 12645 w 10452599"/>
              <a:gd name="connsiteY0" fmla="*/ 632554 h 5221487"/>
              <a:gd name="connsiteX1" fmla="*/ 159542 w 10452599"/>
              <a:gd name="connsiteY1" fmla="*/ 208797 h 5221487"/>
              <a:gd name="connsiteX2" fmla="*/ 538444 w 10452599"/>
              <a:gd name="connsiteY2" fmla="*/ 80816 h 5221487"/>
              <a:gd name="connsiteX3" fmla="*/ 1139558 w 10452599"/>
              <a:gd name="connsiteY3" fmla="*/ 236314 h 5221487"/>
              <a:gd name="connsiteX4" fmla="*/ 1536645 w 10452599"/>
              <a:gd name="connsiteY4" fmla="*/ 353154 h 5221487"/>
              <a:gd name="connsiteX5" fmla="*/ 2180112 w 10452599"/>
              <a:gd name="connsiteY5" fmla="*/ 285421 h 5221487"/>
              <a:gd name="connsiteX6" fmla="*/ 3174790 w 10452599"/>
              <a:gd name="connsiteY6" fmla="*/ 1787 h 5221487"/>
              <a:gd name="connsiteX7" fmla="*/ 4305245 w 10452599"/>
              <a:gd name="connsiteY7" fmla="*/ 200754 h 5221487"/>
              <a:gd name="connsiteX8" fmla="*/ 5374025 w 10452599"/>
              <a:gd name="connsiteY8" fmla="*/ 861649 h 5221487"/>
              <a:gd name="connsiteX9" fmla="*/ 6657362 w 10452599"/>
              <a:gd name="connsiteY9" fmla="*/ 1295917 h 5221487"/>
              <a:gd name="connsiteX10" fmla="*/ 7614904 w 10452599"/>
              <a:gd name="connsiteY10" fmla="*/ 1113461 h 5221487"/>
              <a:gd name="connsiteX11" fmla="*/ 8428512 w 10452599"/>
              <a:gd name="connsiteY11" fmla="*/ 607154 h 5221487"/>
              <a:gd name="connsiteX12" fmla="*/ 9465678 w 10452599"/>
              <a:gd name="connsiteY12" fmla="*/ 456447 h 5221487"/>
              <a:gd name="connsiteX13" fmla="*/ 10164178 w 10452599"/>
              <a:gd name="connsiteY13" fmla="*/ 818821 h 5221487"/>
              <a:gd name="connsiteX14" fmla="*/ 10358912 w 10452599"/>
              <a:gd name="connsiteY14" fmla="*/ 1377621 h 5221487"/>
              <a:gd name="connsiteX15" fmla="*/ 10452045 w 10452599"/>
              <a:gd name="connsiteY15" fmla="*/ 1784021 h 5221487"/>
              <a:gd name="connsiteX16" fmla="*/ 10384312 w 10452599"/>
              <a:gd name="connsiteY16" fmla="*/ 2181954 h 5221487"/>
              <a:gd name="connsiteX17" fmla="*/ 10138778 w 10452599"/>
              <a:gd name="connsiteY17" fmla="*/ 2842354 h 5221487"/>
              <a:gd name="connsiteX18" fmla="*/ 9723912 w 10452599"/>
              <a:gd name="connsiteY18" fmla="*/ 3265687 h 5221487"/>
              <a:gd name="connsiteX19" fmla="*/ 8843378 w 10452599"/>
              <a:gd name="connsiteY19" fmla="*/ 3790621 h 5221487"/>
              <a:gd name="connsiteX20" fmla="*/ 8146572 w 10452599"/>
              <a:gd name="connsiteY20" fmla="*/ 4016681 h 5221487"/>
              <a:gd name="connsiteX21" fmla="*/ 7742712 w 10452599"/>
              <a:gd name="connsiteY21" fmla="*/ 4163154 h 5221487"/>
              <a:gd name="connsiteX22" fmla="*/ 7150045 w 10452599"/>
              <a:gd name="connsiteY22" fmla="*/ 4586487 h 5221487"/>
              <a:gd name="connsiteX23" fmla="*/ 7150045 w 10452599"/>
              <a:gd name="connsiteY23" fmla="*/ 4586487 h 5221487"/>
              <a:gd name="connsiteX24" fmla="*/ 6997645 w 10452599"/>
              <a:gd name="connsiteY24" fmla="*/ 4705021 h 5221487"/>
              <a:gd name="connsiteX25" fmla="*/ 6802912 w 10452599"/>
              <a:gd name="connsiteY25" fmla="*/ 4832021 h 5221487"/>
              <a:gd name="connsiteX26" fmla="*/ 6421912 w 10452599"/>
              <a:gd name="connsiteY26" fmla="*/ 5035221 h 5221487"/>
              <a:gd name="connsiteX27" fmla="*/ 5973178 w 10452599"/>
              <a:gd name="connsiteY27" fmla="*/ 5196087 h 5221487"/>
              <a:gd name="connsiteX28" fmla="*/ 5693778 w 10452599"/>
              <a:gd name="connsiteY28" fmla="*/ 5221487 h 5221487"/>
              <a:gd name="connsiteX29" fmla="*/ 5524445 w 10452599"/>
              <a:gd name="connsiteY29" fmla="*/ 5213021 h 5221487"/>
              <a:gd name="connsiteX30" fmla="*/ 5058778 w 10452599"/>
              <a:gd name="connsiteY30" fmla="*/ 5102954 h 5221487"/>
              <a:gd name="connsiteX31" fmla="*/ 4735352 w 10452599"/>
              <a:gd name="connsiteY31" fmla="*/ 4917534 h 5221487"/>
              <a:gd name="connsiteX32" fmla="*/ 4462725 w 10452599"/>
              <a:gd name="connsiteY32" fmla="*/ 4717721 h 5221487"/>
              <a:gd name="connsiteX33" fmla="*/ 3753218 w 10452599"/>
              <a:gd name="connsiteY33" fmla="*/ 4400009 h 5221487"/>
              <a:gd name="connsiteX34" fmla="*/ 3517422 w 10452599"/>
              <a:gd name="connsiteY34" fmla="*/ 4083567 h 5221487"/>
              <a:gd name="connsiteX35" fmla="*/ 3337928 w 10452599"/>
              <a:gd name="connsiteY35" fmla="*/ 3336384 h 5221487"/>
              <a:gd name="connsiteX36" fmla="*/ 2848978 w 10452599"/>
              <a:gd name="connsiteY36" fmla="*/ 2939721 h 5221487"/>
              <a:gd name="connsiteX37" fmla="*/ 2747378 w 10452599"/>
              <a:gd name="connsiteY37" fmla="*/ 2673021 h 5221487"/>
              <a:gd name="connsiteX38" fmla="*/ 2772778 w 10452599"/>
              <a:gd name="connsiteY38" fmla="*/ 2461354 h 5221487"/>
              <a:gd name="connsiteX39" fmla="*/ 2789712 w 10452599"/>
              <a:gd name="connsiteY39" fmla="*/ 2359754 h 5221487"/>
              <a:gd name="connsiteX40" fmla="*/ 2764312 w 10452599"/>
              <a:gd name="connsiteY40" fmla="*/ 2190421 h 5221487"/>
              <a:gd name="connsiteX41" fmla="*/ 2578045 w 10452599"/>
              <a:gd name="connsiteY41" fmla="*/ 1936421 h 5221487"/>
              <a:gd name="connsiteX42" fmla="*/ 2417178 w 10452599"/>
              <a:gd name="connsiteY42" fmla="*/ 1792487 h 5221487"/>
              <a:gd name="connsiteX43" fmla="*/ 2222445 w 10452599"/>
              <a:gd name="connsiteY43" fmla="*/ 1741687 h 5221487"/>
              <a:gd name="connsiteX44" fmla="*/ 1943045 w 10452599"/>
              <a:gd name="connsiteY44" fmla="*/ 1809421 h 5221487"/>
              <a:gd name="connsiteX45" fmla="*/ 1435045 w 10452599"/>
              <a:gd name="connsiteY45" fmla="*/ 2004154 h 5221487"/>
              <a:gd name="connsiteX46" fmla="*/ 689978 w 10452599"/>
              <a:gd name="connsiteY46" fmla="*/ 1961821 h 5221487"/>
              <a:gd name="connsiteX47" fmla="*/ 393645 w 10452599"/>
              <a:gd name="connsiteY47" fmla="*/ 1851754 h 5221487"/>
              <a:gd name="connsiteX48" fmla="*/ 130332 w 10452599"/>
              <a:gd name="connsiteY48" fmla="*/ 1606221 h 5221487"/>
              <a:gd name="connsiteX49" fmla="*/ 21112 w 10452599"/>
              <a:gd name="connsiteY49" fmla="*/ 1149021 h 5221487"/>
              <a:gd name="connsiteX50" fmla="*/ 12645 w 10452599"/>
              <a:gd name="connsiteY50" fmla="*/ 632554 h 5221487"/>
              <a:gd name="connsiteX0" fmla="*/ 12645 w 10452599"/>
              <a:gd name="connsiteY0" fmla="*/ 632554 h 5221487"/>
              <a:gd name="connsiteX1" fmla="*/ 159542 w 10452599"/>
              <a:gd name="connsiteY1" fmla="*/ 208797 h 5221487"/>
              <a:gd name="connsiteX2" fmla="*/ 538444 w 10452599"/>
              <a:gd name="connsiteY2" fmla="*/ 80816 h 5221487"/>
              <a:gd name="connsiteX3" fmla="*/ 1139558 w 10452599"/>
              <a:gd name="connsiteY3" fmla="*/ 236314 h 5221487"/>
              <a:gd name="connsiteX4" fmla="*/ 1536645 w 10452599"/>
              <a:gd name="connsiteY4" fmla="*/ 353154 h 5221487"/>
              <a:gd name="connsiteX5" fmla="*/ 2180112 w 10452599"/>
              <a:gd name="connsiteY5" fmla="*/ 285421 h 5221487"/>
              <a:gd name="connsiteX6" fmla="*/ 3174790 w 10452599"/>
              <a:gd name="connsiteY6" fmla="*/ 1787 h 5221487"/>
              <a:gd name="connsiteX7" fmla="*/ 4305245 w 10452599"/>
              <a:gd name="connsiteY7" fmla="*/ 200754 h 5221487"/>
              <a:gd name="connsiteX8" fmla="*/ 5374025 w 10452599"/>
              <a:gd name="connsiteY8" fmla="*/ 861649 h 5221487"/>
              <a:gd name="connsiteX9" fmla="*/ 6755334 w 10452599"/>
              <a:gd name="connsiteY9" fmla="*/ 1110860 h 5221487"/>
              <a:gd name="connsiteX10" fmla="*/ 7614904 w 10452599"/>
              <a:gd name="connsiteY10" fmla="*/ 1113461 h 5221487"/>
              <a:gd name="connsiteX11" fmla="*/ 8428512 w 10452599"/>
              <a:gd name="connsiteY11" fmla="*/ 607154 h 5221487"/>
              <a:gd name="connsiteX12" fmla="*/ 9465678 w 10452599"/>
              <a:gd name="connsiteY12" fmla="*/ 456447 h 5221487"/>
              <a:gd name="connsiteX13" fmla="*/ 10164178 w 10452599"/>
              <a:gd name="connsiteY13" fmla="*/ 818821 h 5221487"/>
              <a:gd name="connsiteX14" fmla="*/ 10358912 w 10452599"/>
              <a:gd name="connsiteY14" fmla="*/ 1377621 h 5221487"/>
              <a:gd name="connsiteX15" fmla="*/ 10452045 w 10452599"/>
              <a:gd name="connsiteY15" fmla="*/ 1784021 h 5221487"/>
              <a:gd name="connsiteX16" fmla="*/ 10384312 w 10452599"/>
              <a:gd name="connsiteY16" fmla="*/ 2181954 h 5221487"/>
              <a:gd name="connsiteX17" fmla="*/ 10138778 w 10452599"/>
              <a:gd name="connsiteY17" fmla="*/ 2842354 h 5221487"/>
              <a:gd name="connsiteX18" fmla="*/ 9723912 w 10452599"/>
              <a:gd name="connsiteY18" fmla="*/ 3265687 h 5221487"/>
              <a:gd name="connsiteX19" fmla="*/ 8843378 w 10452599"/>
              <a:gd name="connsiteY19" fmla="*/ 3790621 h 5221487"/>
              <a:gd name="connsiteX20" fmla="*/ 8146572 w 10452599"/>
              <a:gd name="connsiteY20" fmla="*/ 4016681 h 5221487"/>
              <a:gd name="connsiteX21" fmla="*/ 7742712 w 10452599"/>
              <a:gd name="connsiteY21" fmla="*/ 4163154 h 5221487"/>
              <a:gd name="connsiteX22" fmla="*/ 7150045 w 10452599"/>
              <a:gd name="connsiteY22" fmla="*/ 4586487 h 5221487"/>
              <a:gd name="connsiteX23" fmla="*/ 7150045 w 10452599"/>
              <a:gd name="connsiteY23" fmla="*/ 4586487 h 5221487"/>
              <a:gd name="connsiteX24" fmla="*/ 6997645 w 10452599"/>
              <a:gd name="connsiteY24" fmla="*/ 4705021 h 5221487"/>
              <a:gd name="connsiteX25" fmla="*/ 6802912 w 10452599"/>
              <a:gd name="connsiteY25" fmla="*/ 4832021 h 5221487"/>
              <a:gd name="connsiteX26" fmla="*/ 6421912 w 10452599"/>
              <a:gd name="connsiteY26" fmla="*/ 5035221 h 5221487"/>
              <a:gd name="connsiteX27" fmla="*/ 5973178 w 10452599"/>
              <a:gd name="connsiteY27" fmla="*/ 5196087 h 5221487"/>
              <a:gd name="connsiteX28" fmla="*/ 5693778 w 10452599"/>
              <a:gd name="connsiteY28" fmla="*/ 5221487 h 5221487"/>
              <a:gd name="connsiteX29" fmla="*/ 5524445 w 10452599"/>
              <a:gd name="connsiteY29" fmla="*/ 5213021 h 5221487"/>
              <a:gd name="connsiteX30" fmla="*/ 5058778 w 10452599"/>
              <a:gd name="connsiteY30" fmla="*/ 5102954 h 5221487"/>
              <a:gd name="connsiteX31" fmla="*/ 4735352 w 10452599"/>
              <a:gd name="connsiteY31" fmla="*/ 4917534 h 5221487"/>
              <a:gd name="connsiteX32" fmla="*/ 4462725 w 10452599"/>
              <a:gd name="connsiteY32" fmla="*/ 4717721 h 5221487"/>
              <a:gd name="connsiteX33" fmla="*/ 3753218 w 10452599"/>
              <a:gd name="connsiteY33" fmla="*/ 4400009 h 5221487"/>
              <a:gd name="connsiteX34" fmla="*/ 3517422 w 10452599"/>
              <a:gd name="connsiteY34" fmla="*/ 4083567 h 5221487"/>
              <a:gd name="connsiteX35" fmla="*/ 3337928 w 10452599"/>
              <a:gd name="connsiteY35" fmla="*/ 3336384 h 5221487"/>
              <a:gd name="connsiteX36" fmla="*/ 2848978 w 10452599"/>
              <a:gd name="connsiteY36" fmla="*/ 2939721 h 5221487"/>
              <a:gd name="connsiteX37" fmla="*/ 2747378 w 10452599"/>
              <a:gd name="connsiteY37" fmla="*/ 2673021 h 5221487"/>
              <a:gd name="connsiteX38" fmla="*/ 2772778 w 10452599"/>
              <a:gd name="connsiteY38" fmla="*/ 2461354 h 5221487"/>
              <a:gd name="connsiteX39" fmla="*/ 2789712 w 10452599"/>
              <a:gd name="connsiteY39" fmla="*/ 2359754 h 5221487"/>
              <a:gd name="connsiteX40" fmla="*/ 2764312 w 10452599"/>
              <a:gd name="connsiteY40" fmla="*/ 2190421 h 5221487"/>
              <a:gd name="connsiteX41" fmla="*/ 2578045 w 10452599"/>
              <a:gd name="connsiteY41" fmla="*/ 1936421 h 5221487"/>
              <a:gd name="connsiteX42" fmla="*/ 2417178 w 10452599"/>
              <a:gd name="connsiteY42" fmla="*/ 1792487 h 5221487"/>
              <a:gd name="connsiteX43" fmla="*/ 2222445 w 10452599"/>
              <a:gd name="connsiteY43" fmla="*/ 1741687 h 5221487"/>
              <a:gd name="connsiteX44" fmla="*/ 1943045 w 10452599"/>
              <a:gd name="connsiteY44" fmla="*/ 1809421 h 5221487"/>
              <a:gd name="connsiteX45" fmla="*/ 1435045 w 10452599"/>
              <a:gd name="connsiteY45" fmla="*/ 2004154 h 5221487"/>
              <a:gd name="connsiteX46" fmla="*/ 689978 w 10452599"/>
              <a:gd name="connsiteY46" fmla="*/ 1961821 h 5221487"/>
              <a:gd name="connsiteX47" fmla="*/ 393645 w 10452599"/>
              <a:gd name="connsiteY47" fmla="*/ 1851754 h 5221487"/>
              <a:gd name="connsiteX48" fmla="*/ 130332 w 10452599"/>
              <a:gd name="connsiteY48" fmla="*/ 1606221 h 5221487"/>
              <a:gd name="connsiteX49" fmla="*/ 21112 w 10452599"/>
              <a:gd name="connsiteY49" fmla="*/ 1149021 h 5221487"/>
              <a:gd name="connsiteX50" fmla="*/ 12645 w 10452599"/>
              <a:gd name="connsiteY50" fmla="*/ 632554 h 5221487"/>
              <a:gd name="connsiteX0" fmla="*/ 12645 w 10452599"/>
              <a:gd name="connsiteY0" fmla="*/ 632554 h 5221487"/>
              <a:gd name="connsiteX1" fmla="*/ 159542 w 10452599"/>
              <a:gd name="connsiteY1" fmla="*/ 208797 h 5221487"/>
              <a:gd name="connsiteX2" fmla="*/ 538444 w 10452599"/>
              <a:gd name="connsiteY2" fmla="*/ 80816 h 5221487"/>
              <a:gd name="connsiteX3" fmla="*/ 1139558 w 10452599"/>
              <a:gd name="connsiteY3" fmla="*/ 236314 h 5221487"/>
              <a:gd name="connsiteX4" fmla="*/ 1536645 w 10452599"/>
              <a:gd name="connsiteY4" fmla="*/ 353154 h 5221487"/>
              <a:gd name="connsiteX5" fmla="*/ 2180112 w 10452599"/>
              <a:gd name="connsiteY5" fmla="*/ 285421 h 5221487"/>
              <a:gd name="connsiteX6" fmla="*/ 3174790 w 10452599"/>
              <a:gd name="connsiteY6" fmla="*/ 1787 h 5221487"/>
              <a:gd name="connsiteX7" fmla="*/ 4305245 w 10452599"/>
              <a:gd name="connsiteY7" fmla="*/ 200754 h 5221487"/>
              <a:gd name="connsiteX8" fmla="*/ 5374025 w 10452599"/>
              <a:gd name="connsiteY8" fmla="*/ 861649 h 5221487"/>
              <a:gd name="connsiteX9" fmla="*/ 6755334 w 10452599"/>
              <a:gd name="connsiteY9" fmla="*/ 1110860 h 5221487"/>
              <a:gd name="connsiteX10" fmla="*/ 7636676 w 10452599"/>
              <a:gd name="connsiteY10" fmla="*/ 928404 h 5221487"/>
              <a:gd name="connsiteX11" fmla="*/ 8428512 w 10452599"/>
              <a:gd name="connsiteY11" fmla="*/ 607154 h 5221487"/>
              <a:gd name="connsiteX12" fmla="*/ 9465678 w 10452599"/>
              <a:gd name="connsiteY12" fmla="*/ 456447 h 5221487"/>
              <a:gd name="connsiteX13" fmla="*/ 10164178 w 10452599"/>
              <a:gd name="connsiteY13" fmla="*/ 818821 h 5221487"/>
              <a:gd name="connsiteX14" fmla="*/ 10358912 w 10452599"/>
              <a:gd name="connsiteY14" fmla="*/ 1377621 h 5221487"/>
              <a:gd name="connsiteX15" fmla="*/ 10452045 w 10452599"/>
              <a:gd name="connsiteY15" fmla="*/ 1784021 h 5221487"/>
              <a:gd name="connsiteX16" fmla="*/ 10384312 w 10452599"/>
              <a:gd name="connsiteY16" fmla="*/ 2181954 h 5221487"/>
              <a:gd name="connsiteX17" fmla="*/ 10138778 w 10452599"/>
              <a:gd name="connsiteY17" fmla="*/ 2842354 h 5221487"/>
              <a:gd name="connsiteX18" fmla="*/ 9723912 w 10452599"/>
              <a:gd name="connsiteY18" fmla="*/ 3265687 h 5221487"/>
              <a:gd name="connsiteX19" fmla="*/ 8843378 w 10452599"/>
              <a:gd name="connsiteY19" fmla="*/ 3790621 h 5221487"/>
              <a:gd name="connsiteX20" fmla="*/ 8146572 w 10452599"/>
              <a:gd name="connsiteY20" fmla="*/ 4016681 h 5221487"/>
              <a:gd name="connsiteX21" fmla="*/ 7742712 w 10452599"/>
              <a:gd name="connsiteY21" fmla="*/ 4163154 h 5221487"/>
              <a:gd name="connsiteX22" fmla="*/ 7150045 w 10452599"/>
              <a:gd name="connsiteY22" fmla="*/ 4586487 h 5221487"/>
              <a:gd name="connsiteX23" fmla="*/ 7150045 w 10452599"/>
              <a:gd name="connsiteY23" fmla="*/ 4586487 h 5221487"/>
              <a:gd name="connsiteX24" fmla="*/ 6997645 w 10452599"/>
              <a:gd name="connsiteY24" fmla="*/ 4705021 h 5221487"/>
              <a:gd name="connsiteX25" fmla="*/ 6802912 w 10452599"/>
              <a:gd name="connsiteY25" fmla="*/ 4832021 h 5221487"/>
              <a:gd name="connsiteX26" fmla="*/ 6421912 w 10452599"/>
              <a:gd name="connsiteY26" fmla="*/ 5035221 h 5221487"/>
              <a:gd name="connsiteX27" fmla="*/ 5973178 w 10452599"/>
              <a:gd name="connsiteY27" fmla="*/ 5196087 h 5221487"/>
              <a:gd name="connsiteX28" fmla="*/ 5693778 w 10452599"/>
              <a:gd name="connsiteY28" fmla="*/ 5221487 h 5221487"/>
              <a:gd name="connsiteX29" fmla="*/ 5524445 w 10452599"/>
              <a:gd name="connsiteY29" fmla="*/ 5213021 h 5221487"/>
              <a:gd name="connsiteX30" fmla="*/ 5058778 w 10452599"/>
              <a:gd name="connsiteY30" fmla="*/ 5102954 h 5221487"/>
              <a:gd name="connsiteX31" fmla="*/ 4735352 w 10452599"/>
              <a:gd name="connsiteY31" fmla="*/ 4917534 h 5221487"/>
              <a:gd name="connsiteX32" fmla="*/ 4462725 w 10452599"/>
              <a:gd name="connsiteY32" fmla="*/ 4717721 h 5221487"/>
              <a:gd name="connsiteX33" fmla="*/ 3753218 w 10452599"/>
              <a:gd name="connsiteY33" fmla="*/ 4400009 h 5221487"/>
              <a:gd name="connsiteX34" fmla="*/ 3517422 w 10452599"/>
              <a:gd name="connsiteY34" fmla="*/ 4083567 h 5221487"/>
              <a:gd name="connsiteX35" fmla="*/ 3337928 w 10452599"/>
              <a:gd name="connsiteY35" fmla="*/ 3336384 h 5221487"/>
              <a:gd name="connsiteX36" fmla="*/ 2848978 w 10452599"/>
              <a:gd name="connsiteY36" fmla="*/ 2939721 h 5221487"/>
              <a:gd name="connsiteX37" fmla="*/ 2747378 w 10452599"/>
              <a:gd name="connsiteY37" fmla="*/ 2673021 h 5221487"/>
              <a:gd name="connsiteX38" fmla="*/ 2772778 w 10452599"/>
              <a:gd name="connsiteY38" fmla="*/ 2461354 h 5221487"/>
              <a:gd name="connsiteX39" fmla="*/ 2789712 w 10452599"/>
              <a:gd name="connsiteY39" fmla="*/ 2359754 h 5221487"/>
              <a:gd name="connsiteX40" fmla="*/ 2764312 w 10452599"/>
              <a:gd name="connsiteY40" fmla="*/ 2190421 h 5221487"/>
              <a:gd name="connsiteX41" fmla="*/ 2578045 w 10452599"/>
              <a:gd name="connsiteY41" fmla="*/ 1936421 h 5221487"/>
              <a:gd name="connsiteX42" fmla="*/ 2417178 w 10452599"/>
              <a:gd name="connsiteY42" fmla="*/ 1792487 h 5221487"/>
              <a:gd name="connsiteX43" fmla="*/ 2222445 w 10452599"/>
              <a:gd name="connsiteY43" fmla="*/ 1741687 h 5221487"/>
              <a:gd name="connsiteX44" fmla="*/ 1943045 w 10452599"/>
              <a:gd name="connsiteY44" fmla="*/ 1809421 h 5221487"/>
              <a:gd name="connsiteX45" fmla="*/ 1435045 w 10452599"/>
              <a:gd name="connsiteY45" fmla="*/ 2004154 h 5221487"/>
              <a:gd name="connsiteX46" fmla="*/ 689978 w 10452599"/>
              <a:gd name="connsiteY46" fmla="*/ 1961821 h 5221487"/>
              <a:gd name="connsiteX47" fmla="*/ 393645 w 10452599"/>
              <a:gd name="connsiteY47" fmla="*/ 1851754 h 5221487"/>
              <a:gd name="connsiteX48" fmla="*/ 130332 w 10452599"/>
              <a:gd name="connsiteY48" fmla="*/ 1606221 h 5221487"/>
              <a:gd name="connsiteX49" fmla="*/ 21112 w 10452599"/>
              <a:gd name="connsiteY49" fmla="*/ 1149021 h 5221487"/>
              <a:gd name="connsiteX50" fmla="*/ 12645 w 10452599"/>
              <a:gd name="connsiteY50" fmla="*/ 632554 h 5221487"/>
              <a:gd name="connsiteX0" fmla="*/ 12645 w 10452599"/>
              <a:gd name="connsiteY0" fmla="*/ 632554 h 5221487"/>
              <a:gd name="connsiteX1" fmla="*/ 159542 w 10452599"/>
              <a:gd name="connsiteY1" fmla="*/ 208797 h 5221487"/>
              <a:gd name="connsiteX2" fmla="*/ 538444 w 10452599"/>
              <a:gd name="connsiteY2" fmla="*/ 80816 h 5221487"/>
              <a:gd name="connsiteX3" fmla="*/ 1139558 w 10452599"/>
              <a:gd name="connsiteY3" fmla="*/ 236314 h 5221487"/>
              <a:gd name="connsiteX4" fmla="*/ 1536645 w 10452599"/>
              <a:gd name="connsiteY4" fmla="*/ 353154 h 5221487"/>
              <a:gd name="connsiteX5" fmla="*/ 2180112 w 10452599"/>
              <a:gd name="connsiteY5" fmla="*/ 285421 h 5221487"/>
              <a:gd name="connsiteX6" fmla="*/ 3174790 w 10452599"/>
              <a:gd name="connsiteY6" fmla="*/ 1787 h 5221487"/>
              <a:gd name="connsiteX7" fmla="*/ 4305245 w 10452599"/>
              <a:gd name="connsiteY7" fmla="*/ 200754 h 5221487"/>
              <a:gd name="connsiteX8" fmla="*/ 5374025 w 10452599"/>
              <a:gd name="connsiteY8" fmla="*/ 861649 h 5221487"/>
              <a:gd name="connsiteX9" fmla="*/ 6755334 w 10452599"/>
              <a:gd name="connsiteY9" fmla="*/ 1110860 h 5221487"/>
              <a:gd name="connsiteX10" fmla="*/ 7636676 w 10452599"/>
              <a:gd name="connsiteY10" fmla="*/ 928404 h 5221487"/>
              <a:gd name="connsiteX11" fmla="*/ 8428512 w 10452599"/>
              <a:gd name="connsiteY11" fmla="*/ 607154 h 5221487"/>
              <a:gd name="connsiteX12" fmla="*/ 10164178 w 10452599"/>
              <a:gd name="connsiteY12" fmla="*/ 818821 h 5221487"/>
              <a:gd name="connsiteX13" fmla="*/ 10358912 w 10452599"/>
              <a:gd name="connsiteY13" fmla="*/ 1377621 h 5221487"/>
              <a:gd name="connsiteX14" fmla="*/ 10452045 w 10452599"/>
              <a:gd name="connsiteY14" fmla="*/ 1784021 h 5221487"/>
              <a:gd name="connsiteX15" fmla="*/ 10384312 w 10452599"/>
              <a:gd name="connsiteY15" fmla="*/ 2181954 h 5221487"/>
              <a:gd name="connsiteX16" fmla="*/ 10138778 w 10452599"/>
              <a:gd name="connsiteY16" fmla="*/ 2842354 h 5221487"/>
              <a:gd name="connsiteX17" fmla="*/ 9723912 w 10452599"/>
              <a:gd name="connsiteY17" fmla="*/ 3265687 h 5221487"/>
              <a:gd name="connsiteX18" fmla="*/ 8843378 w 10452599"/>
              <a:gd name="connsiteY18" fmla="*/ 3790621 h 5221487"/>
              <a:gd name="connsiteX19" fmla="*/ 8146572 w 10452599"/>
              <a:gd name="connsiteY19" fmla="*/ 4016681 h 5221487"/>
              <a:gd name="connsiteX20" fmla="*/ 7742712 w 10452599"/>
              <a:gd name="connsiteY20" fmla="*/ 4163154 h 5221487"/>
              <a:gd name="connsiteX21" fmla="*/ 7150045 w 10452599"/>
              <a:gd name="connsiteY21" fmla="*/ 4586487 h 5221487"/>
              <a:gd name="connsiteX22" fmla="*/ 7150045 w 10452599"/>
              <a:gd name="connsiteY22" fmla="*/ 4586487 h 5221487"/>
              <a:gd name="connsiteX23" fmla="*/ 6997645 w 10452599"/>
              <a:gd name="connsiteY23" fmla="*/ 4705021 h 5221487"/>
              <a:gd name="connsiteX24" fmla="*/ 6802912 w 10452599"/>
              <a:gd name="connsiteY24" fmla="*/ 4832021 h 5221487"/>
              <a:gd name="connsiteX25" fmla="*/ 6421912 w 10452599"/>
              <a:gd name="connsiteY25" fmla="*/ 5035221 h 5221487"/>
              <a:gd name="connsiteX26" fmla="*/ 5973178 w 10452599"/>
              <a:gd name="connsiteY26" fmla="*/ 5196087 h 5221487"/>
              <a:gd name="connsiteX27" fmla="*/ 5693778 w 10452599"/>
              <a:gd name="connsiteY27" fmla="*/ 5221487 h 5221487"/>
              <a:gd name="connsiteX28" fmla="*/ 5524445 w 10452599"/>
              <a:gd name="connsiteY28" fmla="*/ 5213021 h 5221487"/>
              <a:gd name="connsiteX29" fmla="*/ 5058778 w 10452599"/>
              <a:gd name="connsiteY29" fmla="*/ 5102954 h 5221487"/>
              <a:gd name="connsiteX30" fmla="*/ 4735352 w 10452599"/>
              <a:gd name="connsiteY30" fmla="*/ 4917534 h 5221487"/>
              <a:gd name="connsiteX31" fmla="*/ 4462725 w 10452599"/>
              <a:gd name="connsiteY31" fmla="*/ 4717721 h 5221487"/>
              <a:gd name="connsiteX32" fmla="*/ 3753218 w 10452599"/>
              <a:gd name="connsiteY32" fmla="*/ 4400009 h 5221487"/>
              <a:gd name="connsiteX33" fmla="*/ 3517422 w 10452599"/>
              <a:gd name="connsiteY33" fmla="*/ 4083567 h 5221487"/>
              <a:gd name="connsiteX34" fmla="*/ 3337928 w 10452599"/>
              <a:gd name="connsiteY34" fmla="*/ 3336384 h 5221487"/>
              <a:gd name="connsiteX35" fmla="*/ 2848978 w 10452599"/>
              <a:gd name="connsiteY35" fmla="*/ 2939721 h 5221487"/>
              <a:gd name="connsiteX36" fmla="*/ 2747378 w 10452599"/>
              <a:gd name="connsiteY36" fmla="*/ 2673021 h 5221487"/>
              <a:gd name="connsiteX37" fmla="*/ 2772778 w 10452599"/>
              <a:gd name="connsiteY37" fmla="*/ 2461354 h 5221487"/>
              <a:gd name="connsiteX38" fmla="*/ 2789712 w 10452599"/>
              <a:gd name="connsiteY38" fmla="*/ 2359754 h 5221487"/>
              <a:gd name="connsiteX39" fmla="*/ 2764312 w 10452599"/>
              <a:gd name="connsiteY39" fmla="*/ 2190421 h 5221487"/>
              <a:gd name="connsiteX40" fmla="*/ 2578045 w 10452599"/>
              <a:gd name="connsiteY40" fmla="*/ 1936421 h 5221487"/>
              <a:gd name="connsiteX41" fmla="*/ 2417178 w 10452599"/>
              <a:gd name="connsiteY41" fmla="*/ 1792487 h 5221487"/>
              <a:gd name="connsiteX42" fmla="*/ 2222445 w 10452599"/>
              <a:gd name="connsiteY42" fmla="*/ 1741687 h 5221487"/>
              <a:gd name="connsiteX43" fmla="*/ 1943045 w 10452599"/>
              <a:gd name="connsiteY43" fmla="*/ 1809421 h 5221487"/>
              <a:gd name="connsiteX44" fmla="*/ 1435045 w 10452599"/>
              <a:gd name="connsiteY44" fmla="*/ 2004154 h 5221487"/>
              <a:gd name="connsiteX45" fmla="*/ 689978 w 10452599"/>
              <a:gd name="connsiteY45" fmla="*/ 1961821 h 5221487"/>
              <a:gd name="connsiteX46" fmla="*/ 393645 w 10452599"/>
              <a:gd name="connsiteY46" fmla="*/ 1851754 h 5221487"/>
              <a:gd name="connsiteX47" fmla="*/ 130332 w 10452599"/>
              <a:gd name="connsiteY47" fmla="*/ 1606221 h 5221487"/>
              <a:gd name="connsiteX48" fmla="*/ 21112 w 10452599"/>
              <a:gd name="connsiteY48" fmla="*/ 1149021 h 5221487"/>
              <a:gd name="connsiteX49" fmla="*/ 12645 w 10452599"/>
              <a:gd name="connsiteY49" fmla="*/ 632554 h 5221487"/>
              <a:gd name="connsiteX0" fmla="*/ 12645 w 10536194"/>
              <a:gd name="connsiteY0" fmla="*/ 632554 h 5221487"/>
              <a:gd name="connsiteX1" fmla="*/ 159542 w 10536194"/>
              <a:gd name="connsiteY1" fmla="*/ 208797 h 5221487"/>
              <a:gd name="connsiteX2" fmla="*/ 538444 w 10536194"/>
              <a:gd name="connsiteY2" fmla="*/ 80816 h 5221487"/>
              <a:gd name="connsiteX3" fmla="*/ 1139558 w 10536194"/>
              <a:gd name="connsiteY3" fmla="*/ 236314 h 5221487"/>
              <a:gd name="connsiteX4" fmla="*/ 1536645 w 10536194"/>
              <a:gd name="connsiteY4" fmla="*/ 353154 h 5221487"/>
              <a:gd name="connsiteX5" fmla="*/ 2180112 w 10536194"/>
              <a:gd name="connsiteY5" fmla="*/ 285421 h 5221487"/>
              <a:gd name="connsiteX6" fmla="*/ 3174790 w 10536194"/>
              <a:gd name="connsiteY6" fmla="*/ 1787 h 5221487"/>
              <a:gd name="connsiteX7" fmla="*/ 4305245 w 10536194"/>
              <a:gd name="connsiteY7" fmla="*/ 200754 h 5221487"/>
              <a:gd name="connsiteX8" fmla="*/ 5374025 w 10536194"/>
              <a:gd name="connsiteY8" fmla="*/ 861649 h 5221487"/>
              <a:gd name="connsiteX9" fmla="*/ 6755334 w 10536194"/>
              <a:gd name="connsiteY9" fmla="*/ 1110860 h 5221487"/>
              <a:gd name="connsiteX10" fmla="*/ 7636676 w 10536194"/>
              <a:gd name="connsiteY10" fmla="*/ 928404 h 5221487"/>
              <a:gd name="connsiteX11" fmla="*/ 8428512 w 10536194"/>
              <a:gd name="connsiteY11" fmla="*/ 607154 h 5221487"/>
              <a:gd name="connsiteX12" fmla="*/ 10358912 w 10536194"/>
              <a:gd name="connsiteY12" fmla="*/ 1377621 h 5221487"/>
              <a:gd name="connsiteX13" fmla="*/ 10452045 w 10536194"/>
              <a:gd name="connsiteY13" fmla="*/ 1784021 h 5221487"/>
              <a:gd name="connsiteX14" fmla="*/ 10384312 w 10536194"/>
              <a:gd name="connsiteY14" fmla="*/ 2181954 h 5221487"/>
              <a:gd name="connsiteX15" fmla="*/ 10138778 w 10536194"/>
              <a:gd name="connsiteY15" fmla="*/ 2842354 h 5221487"/>
              <a:gd name="connsiteX16" fmla="*/ 9723912 w 10536194"/>
              <a:gd name="connsiteY16" fmla="*/ 3265687 h 5221487"/>
              <a:gd name="connsiteX17" fmla="*/ 8843378 w 10536194"/>
              <a:gd name="connsiteY17" fmla="*/ 3790621 h 5221487"/>
              <a:gd name="connsiteX18" fmla="*/ 8146572 w 10536194"/>
              <a:gd name="connsiteY18" fmla="*/ 4016681 h 5221487"/>
              <a:gd name="connsiteX19" fmla="*/ 7742712 w 10536194"/>
              <a:gd name="connsiteY19" fmla="*/ 4163154 h 5221487"/>
              <a:gd name="connsiteX20" fmla="*/ 7150045 w 10536194"/>
              <a:gd name="connsiteY20" fmla="*/ 4586487 h 5221487"/>
              <a:gd name="connsiteX21" fmla="*/ 7150045 w 10536194"/>
              <a:gd name="connsiteY21" fmla="*/ 4586487 h 5221487"/>
              <a:gd name="connsiteX22" fmla="*/ 6997645 w 10536194"/>
              <a:gd name="connsiteY22" fmla="*/ 4705021 h 5221487"/>
              <a:gd name="connsiteX23" fmla="*/ 6802912 w 10536194"/>
              <a:gd name="connsiteY23" fmla="*/ 4832021 h 5221487"/>
              <a:gd name="connsiteX24" fmla="*/ 6421912 w 10536194"/>
              <a:gd name="connsiteY24" fmla="*/ 5035221 h 5221487"/>
              <a:gd name="connsiteX25" fmla="*/ 5973178 w 10536194"/>
              <a:gd name="connsiteY25" fmla="*/ 5196087 h 5221487"/>
              <a:gd name="connsiteX26" fmla="*/ 5693778 w 10536194"/>
              <a:gd name="connsiteY26" fmla="*/ 5221487 h 5221487"/>
              <a:gd name="connsiteX27" fmla="*/ 5524445 w 10536194"/>
              <a:gd name="connsiteY27" fmla="*/ 5213021 h 5221487"/>
              <a:gd name="connsiteX28" fmla="*/ 5058778 w 10536194"/>
              <a:gd name="connsiteY28" fmla="*/ 5102954 h 5221487"/>
              <a:gd name="connsiteX29" fmla="*/ 4735352 w 10536194"/>
              <a:gd name="connsiteY29" fmla="*/ 4917534 h 5221487"/>
              <a:gd name="connsiteX30" fmla="*/ 4462725 w 10536194"/>
              <a:gd name="connsiteY30" fmla="*/ 4717721 h 5221487"/>
              <a:gd name="connsiteX31" fmla="*/ 3753218 w 10536194"/>
              <a:gd name="connsiteY31" fmla="*/ 4400009 h 5221487"/>
              <a:gd name="connsiteX32" fmla="*/ 3517422 w 10536194"/>
              <a:gd name="connsiteY32" fmla="*/ 4083567 h 5221487"/>
              <a:gd name="connsiteX33" fmla="*/ 3337928 w 10536194"/>
              <a:gd name="connsiteY33" fmla="*/ 3336384 h 5221487"/>
              <a:gd name="connsiteX34" fmla="*/ 2848978 w 10536194"/>
              <a:gd name="connsiteY34" fmla="*/ 2939721 h 5221487"/>
              <a:gd name="connsiteX35" fmla="*/ 2747378 w 10536194"/>
              <a:gd name="connsiteY35" fmla="*/ 2673021 h 5221487"/>
              <a:gd name="connsiteX36" fmla="*/ 2772778 w 10536194"/>
              <a:gd name="connsiteY36" fmla="*/ 2461354 h 5221487"/>
              <a:gd name="connsiteX37" fmla="*/ 2789712 w 10536194"/>
              <a:gd name="connsiteY37" fmla="*/ 2359754 h 5221487"/>
              <a:gd name="connsiteX38" fmla="*/ 2764312 w 10536194"/>
              <a:gd name="connsiteY38" fmla="*/ 2190421 h 5221487"/>
              <a:gd name="connsiteX39" fmla="*/ 2578045 w 10536194"/>
              <a:gd name="connsiteY39" fmla="*/ 1936421 h 5221487"/>
              <a:gd name="connsiteX40" fmla="*/ 2417178 w 10536194"/>
              <a:gd name="connsiteY40" fmla="*/ 1792487 h 5221487"/>
              <a:gd name="connsiteX41" fmla="*/ 2222445 w 10536194"/>
              <a:gd name="connsiteY41" fmla="*/ 1741687 h 5221487"/>
              <a:gd name="connsiteX42" fmla="*/ 1943045 w 10536194"/>
              <a:gd name="connsiteY42" fmla="*/ 1809421 h 5221487"/>
              <a:gd name="connsiteX43" fmla="*/ 1435045 w 10536194"/>
              <a:gd name="connsiteY43" fmla="*/ 2004154 h 5221487"/>
              <a:gd name="connsiteX44" fmla="*/ 689978 w 10536194"/>
              <a:gd name="connsiteY44" fmla="*/ 1961821 h 5221487"/>
              <a:gd name="connsiteX45" fmla="*/ 393645 w 10536194"/>
              <a:gd name="connsiteY45" fmla="*/ 1851754 h 5221487"/>
              <a:gd name="connsiteX46" fmla="*/ 130332 w 10536194"/>
              <a:gd name="connsiteY46" fmla="*/ 1606221 h 5221487"/>
              <a:gd name="connsiteX47" fmla="*/ 21112 w 10536194"/>
              <a:gd name="connsiteY47" fmla="*/ 1149021 h 5221487"/>
              <a:gd name="connsiteX48" fmla="*/ 12645 w 10536194"/>
              <a:gd name="connsiteY48" fmla="*/ 632554 h 5221487"/>
              <a:gd name="connsiteX0" fmla="*/ 12645 w 10593528"/>
              <a:gd name="connsiteY0" fmla="*/ 632554 h 5221487"/>
              <a:gd name="connsiteX1" fmla="*/ 159542 w 10593528"/>
              <a:gd name="connsiteY1" fmla="*/ 208797 h 5221487"/>
              <a:gd name="connsiteX2" fmla="*/ 538444 w 10593528"/>
              <a:gd name="connsiteY2" fmla="*/ 80816 h 5221487"/>
              <a:gd name="connsiteX3" fmla="*/ 1139558 w 10593528"/>
              <a:gd name="connsiteY3" fmla="*/ 236314 h 5221487"/>
              <a:gd name="connsiteX4" fmla="*/ 1536645 w 10593528"/>
              <a:gd name="connsiteY4" fmla="*/ 353154 h 5221487"/>
              <a:gd name="connsiteX5" fmla="*/ 2180112 w 10593528"/>
              <a:gd name="connsiteY5" fmla="*/ 285421 h 5221487"/>
              <a:gd name="connsiteX6" fmla="*/ 3174790 w 10593528"/>
              <a:gd name="connsiteY6" fmla="*/ 1787 h 5221487"/>
              <a:gd name="connsiteX7" fmla="*/ 4305245 w 10593528"/>
              <a:gd name="connsiteY7" fmla="*/ 200754 h 5221487"/>
              <a:gd name="connsiteX8" fmla="*/ 5374025 w 10593528"/>
              <a:gd name="connsiteY8" fmla="*/ 861649 h 5221487"/>
              <a:gd name="connsiteX9" fmla="*/ 6755334 w 10593528"/>
              <a:gd name="connsiteY9" fmla="*/ 1110860 h 5221487"/>
              <a:gd name="connsiteX10" fmla="*/ 7636676 w 10593528"/>
              <a:gd name="connsiteY10" fmla="*/ 928404 h 5221487"/>
              <a:gd name="connsiteX11" fmla="*/ 10358912 w 10593528"/>
              <a:gd name="connsiteY11" fmla="*/ 1377621 h 5221487"/>
              <a:gd name="connsiteX12" fmla="*/ 10452045 w 10593528"/>
              <a:gd name="connsiteY12" fmla="*/ 1784021 h 5221487"/>
              <a:gd name="connsiteX13" fmla="*/ 10384312 w 10593528"/>
              <a:gd name="connsiteY13" fmla="*/ 2181954 h 5221487"/>
              <a:gd name="connsiteX14" fmla="*/ 10138778 w 10593528"/>
              <a:gd name="connsiteY14" fmla="*/ 2842354 h 5221487"/>
              <a:gd name="connsiteX15" fmla="*/ 9723912 w 10593528"/>
              <a:gd name="connsiteY15" fmla="*/ 3265687 h 5221487"/>
              <a:gd name="connsiteX16" fmla="*/ 8843378 w 10593528"/>
              <a:gd name="connsiteY16" fmla="*/ 3790621 h 5221487"/>
              <a:gd name="connsiteX17" fmla="*/ 8146572 w 10593528"/>
              <a:gd name="connsiteY17" fmla="*/ 4016681 h 5221487"/>
              <a:gd name="connsiteX18" fmla="*/ 7742712 w 10593528"/>
              <a:gd name="connsiteY18" fmla="*/ 4163154 h 5221487"/>
              <a:gd name="connsiteX19" fmla="*/ 7150045 w 10593528"/>
              <a:gd name="connsiteY19" fmla="*/ 4586487 h 5221487"/>
              <a:gd name="connsiteX20" fmla="*/ 7150045 w 10593528"/>
              <a:gd name="connsiteY20" fmla="*/ 4586487 h 5221487"/>
              <a:gd name="connsiteX21" fmla="*/ 6997645 w 10593528"/>
              <a:gd name="connsiteY21" fmla="*/ 4705021 h 5221487"/>
              <a:gd name="connsiteX22" fmla="*/ 6802912 w 10593528"/>
              <a:gd name="connsiteY22" fmla="*/ 4832021 h 5221487"/>
              <a:gd name="connsiteX23" fmla="*/ 6421912 w 10593528"/>
              <a:gd name="connsiteY23" fmla="*/ 5035221 h 5221487"/>
              <a:gd name="connsiteX24" fmla="*/ 5973178 w 10593528"/>
              <a:gd name="connsiteY24" fmla="*/ 5196087 h 5221487"/>
              <a:gd name="connsiteX25" fmla="*/ 5693778 w 10593528"/>
              <a:gd name="connsiteY25" fmla="*/ 5221487 h 5221487"/>
              <a:gd name="connsiteX26" fmla="*/ 5524445 w 10593528"/>
              <a:gd name="connsiteY26" fmla="*/ 5213021 h 5221487"/>
              <a:gd name="connsiteX27" fmla="*/ 5058778 w 10593528"/>
              <a:gd name="connsiteY27" fmla="*/ 5102954 h 5221487"/>
              <a:gd name="connsiteX28" fmla="*/ 4735352 w 10593528"/>
              <a:gd name="connsiteY28" fmla="*/ 4917534 h 5221487"/>
              <a:gd name="connsiteX29" fmla="*/ 4462725 w 10593528"/>
              <a:gd name="connsiteY29" fmla="*/ 4717721 h 5221487"/>
              <a:gd name="connsiteX30" fmla="*/ 3753218 w 10593528"/>
              <a:gd name="connsiteY30" fmla="*/ 4400009 h 5221487"/>
              <a:gd name="connsiteX31" fmla="*/ 3517422 w 10593528"/>
              <a:gd name="connsiteY31" fmla="*/ 4083567 h 5221487"/>
              <a:gd name="connsiteX32" fmla="*/ 3337928 w 10593528"/>
              <a:gd name="connsiteY32" fmla="*/ 3336384 h 5221487"/>
              <a:gd name="connsiteX33" fmla="*/ 2848978 w 10593528"/>
              <a:gd name="connsiteY33" fmla="*/ 2939721 h 5221487"/>
              <a:gd name="connsiteX34" fmla="*/ 2747378 w 10593528"/>
              <a:gd name="connsiteY34" fmla="*/ 2673021 h 5221487"/>
              <a:gd name="connsiteX35" fmla="*/ 2772778 w 10593528"/>
              <a:gd name="connsiteY35" fmla="*/ 2461354 h 5221487"/>
              <a:gd name="connsiteX36" fmla="*/ 2789712 w 10593528"/>
              <a:gd name="connsiteY36" fmla="*/ 2359754 h 5221487"/>
              <a:gd name="connsiteX37" fmla="*/ 2764312 w 10593528"/>
              <a:gd name="connsiteY37" fmla="*/ 2190421 h 5221487"/>
              <a:gd name="connsiteX38" fmla="*/ 2578045 w 10593528"/>
              <a:gd name="connsiteY38" fmla="*/ 1936421 h 5221487"/>
              <a:gd name="connsiteX39" fmla="*/ 2417178 w 10593528"/>
              <a:gd name="connsiteY39" fmla="*/ 1792487 h 5221487"/>
              <a:gd name="connsiteX40" fmla="*/ 2222445 w 10593528"/>
              <a:gd name="connsiteY40" fmla="*/ 1741687 h 5221487"/>
              <a:gd name="connsiteX41" fmla="*/ 1943045 w 10593528"/>
              <a:gd name="connsiteY41" fmla="*/ 1809421 h 5221487"/>
              <a:gd name="connsiteX42" fmla="*/ 1435045 w 10593528"/>
              <a:gd name="connsiteY42" fmla="*/ 2004154 h 5221487"/>
              <a:gd name="connsiteX43" fmla="*/ 689978 w 10593528"/>
              <a:gd name="connsiteY43" fmla="*/ 1961821 h 5221487"/>
              <a:gd name="connsiteX44" fmla="*/ 393645 w 10593528"/>
              <a:gd name="connsiteY44" fmla="*/ 1851754 h 5221487"/>
              <a:gd name="connsiteX45" fmla="*/ 130332 w 10593528"/>
              <a:gd name="connsiteY45" fmla="*/ 1606221 h 5221487"/>
              <a:gd name="connsiteX46" fmla="*/ 21112 w 10593528"/>
              <a:gd name="connsiteY46" fmla="*/ 1149021 h 5221487"/>
              <a:gd name="connsiteX47" fmla="*/ 12645 w 10593528"/>
              <a:gd name="connsiteY47" fmla="*/ 632554 h 5221487"/>
              <a:gd name="connsiteX0" fmla="*/ 12645 w 10649864"/>
              <a:gd name="connsiteY0" fmla="*/ 632554 h 5221487"/>
              <a:gd name="connsiteX1" fmla="*/ 159542 w 10649864"/>
              <a:gd name="connsiteY1" fmla="*/ 208797 h 5221487"/>
              <a:gd name="connsiteX2" fmla="*/ 538444 w 10649864"/>
              <a:gd name="connsiteY2" fmla="*/ 80816 h 5221487"/>
              <a:gd name="connsiteX3" fmla="*/ 1139558 w 10649864"/>
              <a:gd name="connsiteY3" fmla="*/ 236314 h 5221487"/>
              <a:gd name="connsiteX4" fmla="*/ 1536645 w 10649864"/>
              <a:gd name="connsiteY4" fmla="*/ 353154 h 5221487"/>
              <a:gd name="connsiteX5" fmla="*/ 2180112 w 10649864"/>
              <a:gd name="connsiteY5" fmla="*/ 285421 h 5221487"/>
              <a:gd name="connsiteX6" fmla="*/ 3174790 w 10649864"/>
              <a:gd name="connsiteY6" fmla="*/ 1787 h 5221487"/>
              <a:gd name="connsiteX7" fmla="*/ 4305245 w 10649864"/>
              <a:gd name="connsiteY7" fmla="*/ 200754 h 5221487"/>
              <a:gd name="connsiteX8" fmla="*/ 5374025 w 10649864"/>
              <a:gd name="connsiteY8" fmla="*/ 861649 h 5221487"/>
              <a:gd name="connsiteX9" fmla="*/ 6755334 w 10649864"/>
              <a:gd name="connsiteY9" fmla="*/ 1110860 h 5221487"/>
              <a:gd name="connsiteX10" fmla="*/ 7636676 w 10649864"/>
              <a:gd name="connsiteY10" fmla="*/ 928404 h 5221487"/>
              <a:gd name="connsiteX11" fmla="*/ 10452045 w 10649864"/>
              <a:gd name="connsiteY11" fmla="*/ 1784021 h 5221487"/>
              <a:gd name="connsiteX12" fmla="*/ 10384312 w 10649864"/>
              <a:gd name="connsiteY12" fmla="*/ 2181954 h 5221487"/>
              <a:gd name="connsiteX13" fmla="*/ 10138778 w 10649864"/>
              <a:gd name="connsiteY13" fmla="*/ 2842354 h 5221487"/>
              <a:gd name="connsiteX14" fmla="*/ 9723912 w 10649864"/>
              <a:gd name="connsiteY14" fmla="*/ 3265687 h 5221487"/>
              <a:gd name="connsiteX15" fmla="*/ 8843378 w 10649864"/>
              <a:gd name="connsiteY15" fmla="*/ 3790621 h 5221487"/>
              <a:gd name="connsiteX16" fmla="*/ 8146572 w 10649864"/>
              <a:gd name="connsiteY16" fmla="*/ 4016681 h 5221487"/>
              <a:gd name="connsiteX17" fmla="*/ 7742712 w 10649864"/>
              <a:gd name="connsiteY17" fmla="*/ 4163154 h 5221487"/>
              <a:gd name="connsiteX18" fmla="*/ 7150045 w 10649864"/>
              <a:gd name="connsiteY18" fmla="*/ 4586487 h 5221487"/>
              <a:gd name="connsiteX19" fmla="*/ 7150045 w 10649864"/>
              <a:gd name="connsiteY19" fmla="*/ 4586487 h 5221487"/>
              <a:gd name="connsiteX20" fmla="*/ 6997645 w 10649864"/>
              <a:gd name="connsiteY20" fmla="*/ 4705021 h 5221487"/>
              <a:gd name="connsiteX21" fmla="*/ 6802912 w 10649864"/>
              <a:gd name="connsiteY21" fmla="*/ 4832021 h 5221487"/>
              <a:gd name="connsiteX22" fmla="*/ 6421912 w 10649864"/>
              <a:gd name="connsiteY22" fmla="*/ 5035221 h 5221487"/>
              <a:gd name="connsiteX23" fmla="*/ 5973178 w 10649864"/>
              <a:gd name="connsiteY23" fmla="*/ 5196087 h 5221487"/>
              <a:gd name="connsiteX24" fmla="*/ 5693778 w 10649864"/>
              <a:gd name="connsiteY24" fmla="*/ 5221487 h 5221487"/>
              <a:gd name="connsiteX25" fmla="*/ 5524445 w 10649864"/>
              <a:gd name="connsiteY25" fmla="*/ 5213021 h 5221487"/>
              <a:gd name="connsiteX26" fmla="*/ 5058778 w 10649864"/>
              <a:gd name="connsiteY26" fmla="*/ 5102954 h 5221487"/>
              <a:gd name="connsiteX27" fmla="*/ 4735352 w 10649864"/>
              <a:gd name="connsiteY27" fmla="*/ 4917534 h 5221487"/>
              <a:gd name="connsiteX28" fmla="*/ 4462725 w 10649864"/>
              <a:gd name="connsiteY28" fmla="*/ 4717721 h 5221487"/>
              <a:gd name="connsiteX29" fmla="*/ 3753218 w 10649864"/>
              <a:gd name="connsiteY29" fmla="*/ 4400009 h 5221487"/>
              <a:gd name="connsiteX30" fmla="*/ 3517422 w 10649864"/>
              <a:gd name="connsiteY30" fmla="*/ 4083567 h 5221487"/>
              <a:gd name="connsiteX31" fmla="*/ 3337928 w 10649864"/>
              <a:gd name="connsiteY31" fmla="*/ 3336384 h 5221487"/>
              <a:gd name="connsiteX32" fmla="*/ 2848978 w 10649864"/>
              <a:gd name="connsiteY32" fmla="*/ 2939721 h 5221487"/>
              <a:gd name="connsiteX33" fmla="*/ 2747378 w 10649864"/>
              <a:gd name="connsiteY33" fmla="*/ 2673021 h 5221487"/>
              <a:gd name="connsiteX34" fmla="*/ 2772778 w 10649864"/>
              <a:gd name="connsiteY34" fmla="*/ 2461354 h 5221487"/>
              <a:gd name="connsiteX35" fmla="*/ 2789712 w 10649864"/>
              <a:gd name="connsiteY35" fmla="*/ 2359754 h 5221487"/>
              <a:gd name="connsiteX36" fmla="*/ 2764312 w 10649864"/>
              <a:gd name="connsiteY36" fmla="*/ 2190421 h 5221487"/>
              <a:gd name="connsiteX37" fmla="*/ 2578045 w 10649864"/>
              <a:gd name="connsiteY37" fmla="*/ 1936421 h 5221487"/>
              <a:gd name="connsiteX38" fmla="*/ 2417178 w 10649864"/>
              <a:gd name="connsiteY38" fmla="*/ 1792487 h 5221487"/>
              <a:gd name="connsiteX39" fmla="*/ 2222445 w 10649864"/>
              <a:gd name="connsiteY39" fmla="*/ 1741687 h 5221487"/>
              <a:gd name="connsiteX40" fmla="*/ 1943045 w 10649864"/>
              <a:gd name="connsiteY40" fmla="*/ 1809421 h 5221487"/>
              <a:gd name="connsiteX41" fmla="*/ 1435045 w 10649864"/>
              <a:gd name="connsiteY41" fmla="*/ 2004154 h 5221487"/>
              <a:gd name="connsiteX42" fmla="*/ 689978 w 10649864"/>
              <a:gd name="connsiteY42" fmla="*/ 1961821 h 5221487"/>
              <a:gd name="connsiteX43" fmla="*/ 393645 w 10649864"/>
              <a:gd name="connsiteY43" fmla="*/ 1851754 h 5221487"/>
              <a:gd name="connsiteX44" fmla="*/ 130332 w 10649864"/>
              <a:gd name="connsiteY44" fmla="*/ 1606221 h 5221487"/>
              <a:gd name="connsiteX45" fmla="*/ 21112 w 10649864"/>
              <a:gd name="connsiteY45" fmla="*/ 1149021 h 5221487"/>
              <a:gd name="connsiteX46" fmla="*/ 12645 w 10649864"/>
              <a:gd name="connsiteY46" fmla="*/ 632554 h 5221487"/>
              <a:gd name="connsiteX0" fmla="*/ 12645 w 10537873"/>
              <a:gd name="connsiteY0" fmla="*/ 632554 h 5221487"/>
              <a:gd name="connsiteX1" fmla="*/ 159542 w 10537873"/>
              <a:gd name="connsiteY1" fmla="*/ 208797 h 5221487"/>
              <a:gd name="connsiteX2" fmla="*/ 538444 w 10537873"/>
              <a:gd name="connsiteY2" fmla="*/ 80816 h 5221487"/>
              <a:gd name="connsiteX3" fmla="*/ 1139558 w 10537873"/>
              <a:gd name="connsiteY3" fmla="*/ 236314 h 5221487"/>
              <a:gd name="connsiteX4" fmla="*/ 1536645 w 10537873"/>
              <a:gd name="connsiteY4" fmla="*/ 353154 h 5221487"/>
              <a:gd name="connsiteX5" fmla="*/ 2180112 w 10537873"/>
              <a:gd name="connsiteY5" fmla="*/ 285421 h 5221487"/>
              <a:gd name="connsiteX6" fmla="*/ 3174790 w 10537873"/>
              <a:gd name="connsiteY6" fmla="*/ 1787 h 5221487"/>
              <a:gd name="connsiteX7" fmla="*/ 4305245 w 10537873"/>
              <a:gd name="connsiteY7" fmla="*/ 200754 h 5221487"/>
              <a:gd name="connsiteX8" fmla="*/ 5374025 w 10537873"/>
              <a:gd name="connsiteY8" fmla="*/ 861649 h 5221487"/>
              <a:gd name="connsiteX9" fmla="*/ 6755334 w 10537873"/>
              <a:gd name="connsiteY9" fmla="*/ 1110860 h 5221487"/>
              <a:gd name="connsiteX10" fmla="*/ 7636676 w 10537873"/>
              <a:gd name="connsiteY10" fmla="*/ 928404 h 5221487"/>
              <a:gd name="connsiteX11" fmla="*/ 10384312 w 10537873"/>
              <a:gd name="connsiteY11" fmla="*/ 2181954 h 5221487"/>
              <a:gd name="connsiteX12" fmla="*/ 10138778 w 10537873"/>
              <a:gd name="connsiteY12" fmla="*/ 2842354 h 5221487"/>
              <a:gd name="connsiteX13" fmla="*/ 9723912 w 10537873"/>
              <a:gd name="connsiteY13" fmla="*/ 3265687 h 5221487"/>
              <a:gd name="connsiteX14" fmla="*/ 8843378 w 10537873"/>
              <a:gd name="connsiteY14" fmla="*/ 3790621 h 5221487"/>
              <a:gd name="connsiteX15" fmla="*/ 8146572 w 10537873"/>
              <a:gd name="connsiteY15" fmla="*/ 4016681 h 5221487"/>
              <a:gd name="connsiteX16" fmla="*/ 7742712 w 10537873"/>
              <a:gd name="connsiteY16" fmla="*/ 4163154 h 5221487"/>
              <a:gd name="connsiteX17" fmla="*/ 7150045 w 10537873"/>
              <a:gd name="connsiteY17" fmla="*/ 4586487 h 5221487"/>
              <a:gd name="connsiteX18" fmla="*/ 7150045 w 10537873"/>
              <a:gd name="connsiteY18" fmla="*/ 4586487 h 5221487"/>
              <a:gd name="connsiteX19" fmla="*/ 6997645 w 10537873"/>
              <a:gd name="connsiteY19" fmla="*/ 4705021 h 5221487"/>
              <a:gd name="connsiteX20" fmla="*/ 6802912 w 10537873"/>
              <a:gd name="connsiteY20" fmla="*/ 4832021 h 5221487"/>
              <a:gd name="connsiteX21" fmla="*/ 6421912 w 10537873"/>
              <a:gd name="connsiteY21" fmla="*/ 5035221 h 5221487"/>
              <a:gd name="connsiteX22" fmla="*/ 5973178 w 10537873"/>
              <a:gd name="connsiteY22" fmla="*/ 5196087 h 5221487"/>
              <a:gd name="connsiteX23" fmla="*/ 5693778 w 10537873"/>
              <a:gd name="connsiteY23" fmla="*/ 5221487 h 5221487"/>
              <a:gd name="connsiteX24" fmla="*/ 5524445 w 10537873"/>
              <a:gd name="connsiteY24" fmla="*/ 5213021 h 5221487"/>
              <a:gd name="connsiteX25" fmla="*/ 5058778 w 10537873"/>
              <a:gd name="connsiteY25" fmla="*/ 5102954 h 5221487"/>
              <a:gd name="connsiteX26" fmla="*/ 4735352 w 10537873"/>
              <a:gd name="connsiteY26" fmla="*/ 4917534 h 5221487"/>
              <a:gd name="connsiteX27" fmla="*/ 4462725 w 10537873"/>
              <a:gd name="connsiteY27" fmla="*/ 4717721 h 5221487"/>
              <a:gd name="connsiteX28" fmla="*/ 3753218 w 10537873"/>
              <a:gd name="connsiteY28" fmla="*/ 4400009 h 5221487"/>
              <a:gd name="connsiteX29" fmla="*/ 3517422 w 10537873"/>
              <a:gd name="connsiteY29" fmla="*/ 4083567 h 5221487"/>
              <a:gd name="connsiteX30" fmla="*/ 3337928 w 10537873"/>
              <a:gd name="connsiteY30" fmla="*/ 3336384 h 5221487"/>
              <a:gd name="connsiteX31" fmla="*/ 2848978 w 10537873"/>
              <a:gd name="connsiteY31" fmla="*/ 2939721 h 5221487"/>
              <a:gd name="connsiteX32" fmla="*/ 2747378 w 10537873"/>
              <a:gd name="connsiteY32" fmla="*/ 2673021 h 5221487"/>
              <a:gd name="connsiteX33" fmla="*/ 2772778 w 10537873"/>
              <a:gd name="connsiteY33" fmla="*/ 2461354 h 5221487"/>
              <a:gd name="connsiteX34" fmla="*/ 2789712 w 10537873"/>
              <a:gd name="connsiteY34" fmla="*/ 2359754 h 5221487"/>
              <a:gd name="connsiteX35" fmla="*/ 2764312 w 10537873"/>
              <a:gd name="connsiteY35" fmla="*/ 2190421 h 5221487"/>
              <a:gd name="connsiteX36" fmla="*/ 2578045 w 10537873"/>
              <a:gd name="connsiteY36" fmla="*/ 1936421 h 5221487"/>
              <a:gd name="connsiteX37" fmla="*/ 2417178 w 10537873"/>
              <a:gd name="connsiteY37" fmla="*/ 1792487 h 5221487"/>
              <a:gd name="connsiteX38" fmla="*/ 2222445 w 10537873"/>
              <a:gd name="connsiteY38" fmla="*/ 1741687 h 5221487"/>
              <a:gd name="connsiteX39" fmla="*/ 1943045 w 10537873"/>
              <a:gd name="connsiteY39" fmla="*/ 1809421 h 5221487"/>
              <a:gd name="connsiteX40" fmla="*/ 1435045 w 10537873"/>
              <a:gd name="connsiteY40" fmla="*/ 2004154 h 5221487"/>
              <a:gd name="connsiteX41" fmla="*/ 689978 w 10537873"/>
              <a:gd name="connsiteY41" fmla="*/ 1961821 h 5221487"/>
              <a:gd name="connsiteX42" fmla="*/ 393645 w 10537873"/>
              <a:gd name="connsiteY42" fmla="*/ 1851754 h 5221487"/>
              <a:gd name="connsiteX43" fmla="*/ 130332 w 10537873"/>
              <a:gd name="connsiteY43" fmla="*/ 1606221 h 5221487"/>
              <a:gd name="connsiteX44" fmla="*/ 21112 w 10537873"/>
              <a:gd name="connsiteY44" fmla="*/ 1149021 h 5221487"/>
              <a:gd name="connsiteX45" fmla="*/ 12645 w 10537873"/>
              <a:gd name="connsiteY45" fmla="*/ 632554 h 5221487"/>
              <a:gd name="connsiteX0" fmla="*/ 12645 w 10251733"/>
              <a:gd name="connsiteY0" fmla="*/ 632554 h 5221487"/>
              <a:gd name="connsiteX1" fmla="*/ 159542 w 10251733"/>
              <a:gd name="connsiteY1" fmla="*/ 208797 h 5221487"/>
              <a:gd name="connsiteX2" fmla="*/ 538444 w 10251733"/>
              <a:gd name="connsiteY2" fmla="*/ 80816 h 5221487"/>
              <a:gd name="connsiteX3" fmla="*/ 1139558 w 10251733"/>
              <a:gd name="connsiteY3" fmla="*/ 236314 h 5221487"/>
              <a:gd name="connsiteX4" fmla="*/ 1536645 w 10251733"/>
              <a:gd name="connsiteY4" fmla="*/ 353154 h 5221487"/>
              <a:gd name="connsiteX5" fmla="*/ 2180112 w 10251733"/>
              <a:gd name="connsiteY5" fmla="*/ 285421 h 5221487"/>
              <a:gd name="connsiteX6" fmla="*/ 3174790 w 10251733"/>
              <a:gd name="connsiteY6" fmla="*/ 1787 h 5221487"/>
              <a:gd name="connsiteX7" fmla="*/ 4305245 w 10251733"/>
              <a:gd name="connsiteY7" fmla="*/ 200754 h 5221487"/>
              <a:gd name="connsiteX8" fmla="*/ 5374025 w 10251733"/>
              <a:gd name="connsiteY8" fmla="*/ 861649 h 5221487"/>
              <a:gd name="connsiteX9" fmla="*/ 6755334 w 10251733"/>
              <a:gd name="connsiteY9" fmla="*/ 1110860 h 5221487"/>
              <a:gd name="connsiteX10" fmla="*/ 7636676 w 10251733"/>
              <a:gd name="connsiteY10" fmla="*/ 928404 h 5221487"/>
              <a:gd name="connsiteX11" fmla="*/ 10138778 w 10251733"/>
              <a:gd name="connsiteY11" fmla="*/ 2842354 h 5221487"/>
              <a:gd name="connsiteX12" fmla="*/ 9723912 w 10251733"/>
              <a:gd name="connsiteY12" fmla="*/ 3265687 h 5221487"/>
              <a:gd name="connsiteX13" fmla="*/ 8843378 w 10251733"/>
              <a:gd name="connsiteY13" fmla="*/ 3790621 h 5221487"/>
              <a:gd name="connsiteX14" fmla="*/ 8146572 w 10251733"/>
              <a:gd name="connsiteY14" fmla="*/ 4016681 h 5221487"/>
              <a:gd name="connsiteX15" fmla="*/ 7742712 w 10251733"/>
              <a:gd name="connsiteY15" fmla="*/ 4163154 h 5221487"/>
              <a:gd name="connsiteX16" fmla="*/ 7150045 w 10251733"/>
              <a:gd name="connsiteY16" fmla="*/ 4586487 h 5221487"/>
              <a:gd name="connsiteX17" fmla="*/ 7150045 w 10251733"/>
              <a:gd name="connsiteY17" fmla="*/ 4586487 h 5221487"/>
              <a:gd name="connsiteX18" fmla="*/ 6997645 w 10251733"/>
              <a:gd name="connsiteY18" fmla="*/ 4705021 h 5221487"/>
              <a:gd name="connsiteX19" fmla="*/ 6802912 w 10251733"/>
              <a:gd name="connsiteY19" fmla="*/ 4832021 h 5221487"/>
              <a:gd name="connsiteX20" fmla="*/ 6421912 w 10251733"/>
              <a:gd name="connsiteY20" fmla="*/ 5035221 h 5221487"/>
              <a:gd name="connsiteX21" fmla="*/ 5973178 w 10251733"/>
              <a:gd name="connsiteY21" fmla="*/ 5196087 h 5221487"/>
              <a:gd name="connsiteX22" fmla="*/ 5693778 w 10251733"/>
              <a:gd name="connsiteY22" fmla="*/ 5221487 h 5221487"/>
              <a:gd name="connsiteX23" fmla="*/ 5524445 w 10251733"/>
              <a:gd name="connsiteY23" fmla="*/ 5213021 h 5221487"/>
              <a:gd name="connsiteX24" fmla="*/ 5058778 w 10251733"/>
              <a:gd name="connsiteY24" fmla="*/ 5102954 h 5221487"/>
              <a:gd name="connsiteX25" fmla="*/ 4735352 w 10251733"/>
              <a:gd name="connsiteY25" fmla="*/ 4917534 h 5221487"/>
              <a:gd name="connsiteX26" fmla="*/ 4462725 w 10251733"/>
              <a:gd name="connsiteY26" fmla="*/ 4717721 h 5221487"/>
              <a:gd name="connsiteX27" fmla="*/ 3753218 w 10251733"/>
              <a:gd name="connsiteY27" fmla="*/ 4400009 h 5221487"/>
              <a:gd name="connsiteX28" fmla="*/ 3517422 w 10251733"/>
              <a:gd name="connsiteY28" fmla="*/ 4083567 h 5221487"/>
              <a:gd name="connsiteX29" fmla="*/ 3337928 w 10251733"/>
              <a:gd name="connsiteY29" fmla="*/ 3336384 h 5221487"/>
              <a:gd name="connsiteX30" fmla="*/ 2848978 w 10251733"/>
              <a:gd name="connsiteY30" fmla="*/ 2939721 h 5221487"/>
              <a:gd name="connsiteX31" fmla="*/ 2747378 w 10251733"/>
              <a:gd name="connsiteY31" fmla="*/ 2673021 h 5221487"/>
              <a:gd name="connsiteX32" fmla="*/ 2772778 w 10251733"/>
              <a:gd name="connsiteY32" fmla="*/ 2461354 h 5221487"/>
              <a:gd name="connsiteX33" fmla="*/ 2789712 w 10251733"/>
              <a:gd name="connsiteY33" fmla="*/ 2359754 h 5221487"/>
              <a:gd name="connsiteX34" fmla="*/ 2764312 w 10251733"/>
              <a:gd name="connsiteY34" fmla="*/ 2190421 h 5221487"/>
              <a:gd name="connsiteX35" fmla="*/ 2578045 w 10251733"/>
              <a:gd name="connsiteY35" fmla="*/ 1936421 h 5221487"/>
              <a:gd name="connsiteX36" fmla="*/ 2417178 w 10251733"/>
              <a:gd name="connsiteY36" fmla="*/ 1792487 h 5221487"/>
              <a:gd name="connsiteX37" fmla="*/ 2222445 w 10251733"/>
              <a:gd name="connsiteY37" fmla="*/ 1741687 h 5221487"/>
              <a:gd name="connsiteX38" fmla="*/ 1943045 w 10251733"/>
              <a:gd name="connsiteY38" fmla="*/ 1809421 h 5221487"/>
              <a:gd name="connsiteX39" fmla="*/ 1435045 w 10251733"/>
              <a:gd name="connsiteY39" fmla="*/ 2004154 h 5221487"/>
              <a:gd name="connsiteX40" fmla="*/ 689978 w 10251733"/>
              <a:gd name="connsiteY40" fmla="*/ 1961821 h 5221487"/>
              <a:gd name="connsiteX41" fmla="*/ 393645 w 10251733"/>
              <a:gd name="connsiteY41" fmla="*/ 1851754 h 5221487"/>
              <a:gd name="connsiteX42" fmla="*/ 130332 w 10251733"/>
              <a:gd name="connsiteY42" fmla="*/ 1606221 h 5221487"/>
              <a:gd name="connsiteX43" fmla="*/ 21112 w 10251733"/>
              <a:gd name="connsiteY43" fmla="*/ 1149021 h 5221487"/>
              <a:gd name="connsiteX44" fmla="*/ 12645 w 10251733"/>
              <a:gd name="connsiteY44" fmla="*/ 632554 h 5221487"/>
              <a:gd name="connsiteX0" fmla="*/ 12645 w 10173275"/>
              <a:gd name="connsiteY0" fmla="*/ 632554 h 5221487"/>
              <a:gd name="connsiteX1" fmla="*/ 159542 w 10173275"/>
              <a:gd name="connsiteY1" fmla="*/ 208797 h 5221487"/>
              <a:gd name="connsiteX2" fmla="*/ 538444 w 10173275"/>
              <a:gd name="connsiteY2" fmla="*/ 80816 h 5221487"/>
              <a:gd name="connsiteX3" fmla="*/ 1139558 w 10173275"/>
              <a:gd name="connsiteY3" fmla="*/ 236314 h 5221487"/>
              <a:gd name="connsiteX4" fmla="*/ 1536645 w 10173275"/>
              <a:gd name="connsiteY4" fmla="*/ 353154 h 5221487"/>
              <a:gd name="connsiteX5" fmla="*/ 2180112 w 10173275"/>
              <a:gd name="connsiteY5" fmla="*/ 285421 h 5221487"/>
              <a:gd name="connsiteX6" fmla="*/ 3174790 w 10173275"/>
              <a:gd name="connsiteY6" fmla="*/ 1787 h 5221487"/>
              <a:gd name="connsiteX7" fmla="*/ 4305245 w 10173275"/>
              <a:gd name="connsiteY7" fmla="*/ 200754 h 5221487"/>
              <a:gd name="connsiteX8" fmla="*/ 5374025 w 10173275"/>
              <a:gd name="connsiteY8" fmla="*/ 861649 h 5221487"/>
              <a:gd name="connsiteX9" fmla="*/ 6755334 w 10173275"/>
              <a:gd name="connsiteY9" fmla="*/ 1110860 h 5221487"/>
              <a:gd name="connsiteX10" fmla="*/ 8855876 w 10173275"/>
              <a:gd name="connsiteY10" fmla="*/ 1483576 h 5221487"/>
              <a:gd name="connsiteX11" fmla="*/ 10138778 w 10173275"/>
              <a:gd name="connsiteY11" fmla="*/ 2842354 h 5221487"/>
              <a:gd name="connsiteX12" fmla="*/ 9723912 w 10173275"/>
              <a:gd name="connsiteY12" fmla="*/ 3265687 h 5221487"/>
              <a:gd name="connsiteX13" fmla="*/ 8843378 w 10173275"/>
              <a:gd name="connsiteY13" fmla="*/ 3790621 h 5221487"/>
              <a:gd name="connsiteX14" fmla="*/ 8146572 w 10173275"/>
              <a:gd name="connsiteY14" fmla="*/ 4016681 h 5221487"/>
              <a:gd name="connsiteX15" fmla="*/ 7742712 w 10173275"/>
              <a:gd name="connsiteY15" fmla="*/ 4163154 h 5221487"/>
              <a:gd name="connsiteX16" fmla="*/ 7150045 w 10173275"/>
              <a:gd name="connsiteY16" fmla="*/ 4586487 h 5221487"/>
              <a:gd name="connsiteX17" fmla="*/ 7150045 w 10173275"/>
              <a:gd name="connsiteY17" fmla="*/ 4586487 h 5221487"/>
              <a:gd name="connsiteX18" fmla="*/ 6997645 w 10173275"/>
              <a:gd name="connsiteY18" fmla="*/ 4705021 h 5221487"/>
              <a:gd name="connsiteX19" fmla="*/ 6802912 w 10173275"/>
              <a:gd name="connsiteY19" fmla="*/ 4832021 h 5221487"/>
              <a:gd name="connsiteX20" fmla="*/ 6421912 w 10173275"/>
              <a:gd name="connsiteY20" fmla="*/ 5035221 h 5221487"/>
              <a:gd name="connsiteX21" fmla="*/ 5973178 w 10173275"/>
              <a:gd name="connsiteY21" fmla="*/ 5196087 h 5221487"/>
              <a:gd name="connsiteX22" fmla="*/ 5693778 w 10173275"/>
              <a:gd name="connsiteY22" fmla="*/ 5221487 h 5221487"/>
              <a:gd name="connsiteX23" fmla="*/ 5524445 w 10173275"/>
              <a:gd name="connsiteY23" fmla="*/ 5213021 h 5221487"/>
              <a:gd name="connsiteX24" fmla="*/ 5058778 w 10173275"/>
              <a:gd name="connsiteY24" fmla="*/ 5102954 h 5221487"/>
              <a:gd name="connsiteX25" fmla="*/ 4735352 w 10173275"/>
              <a:gd name="connsiteY25" fmla="*/ 4917534 h 5221487"/>
              <a:gd name="connsiteX26" fmla="*/ 4462725 w 10173275"/>
              <a:gd name="connsiteY26" fmla="*/ 4717721 h 5221487"/>
              <a:gd name="connsiteX27" fmla="*/ 3753218 w 10173275"/>
              <a:gd name="connsiteY27" fmla="*/ 4400009 h 5221487"/>
              <a:gd name="connsiteX28" fmla="*/ 3517422 w 10173275"/>
              <a:gd name="connsiteY28" fmla="*/ 4083567 h 5221487"/>
              <a:gd name="connsiteX29" fmla="*/ 3337928 w 10173275"/>
              <a:gd name="connsiteY29" fmla="*/ 3336384 h 5221487"/>
              <a:gd name="connsiteX30" fmla="*/ 2848978 w 10173275"/>
              <a:gd name="connsiteY30" fmla="*/ 2939721 h 5221487"/>
              <a:gd name="connsiteX31" fmla="*/ 2747378 w 10173275"/>
              <a:gd name="connsiteY31" fmla="*/ 2673021 h 5221487"/>
              <a:gd name="connsiteX32" fmla="*/ 2772778 w 10173275"/>
              <a:gd name="connsiteY32" fmla="*/ 2461354 h 5221487"/>
              <a:gd name="connsiteX33" fmla="*/ 2789712 w 10173275"/>
              <a:gd name="connsiteY33" fmla="*/ 2359754 h 5221487"/>
              <a:gd name="connsiteX34" fmla="*/ 2764312 w 10173275"/>
              <a:gd name="connsiteY34" fmla="*/ 2190421 h 5221487"/>
              <a:gd name="connsiteX35" fmla="*/ 2578045 w 10173275"/>
              <a:gd name="connsiteY35" fmla="*/ 1936421 h 5221487"/>
              <a:gd name="connsiteX36" fmla="*/ 2417178 w 10173275"/>
              <a:gd name="connsiteY36" fmla="*/ 1792487 h 5221487"/>
              <a:gd name="connsiteX37" fmla="*/ 2222445 w 10173275"/>
              <a:gd name="connsiteY37" fmla="*/ 1741687 h 5221487"/>
              <a:gd name="connsiteX38" fmla="*/ 1943045 w 10173275"/>
              <a:gd name="connsiteY38" fmla="*/ 1809421 h 5221487"/>
              <a:gd name="connsiteX39" fmla="*/ 1435045 w 10173275"/>
              <a:gd name="connsiteY39" fmla="*/ 2004154 h 5221487"/>
              <a:gd name="connsiteX40" fmla="*/ 689978 w 10173275"/>
              <a:gd name="connsiteY40" fmla="*/ 1961821 h 5221487"/>
              <a:gd name="connsiteX41" fmla="*/ 393645 w 10173275"/>
              <a:gd name="connsiteY41" fmla="*/ 1851754 h 5221487"/>
              <a:gd name="connsiteX42" fmla="*/ 130332 w 10173275"/>
              <a:gd name="connsiteY42" fmla="*/ 1606221 h 5221487"/>
              <a:gd name="connsiteX43" fmla="*/ 21112 w 10173275"/>
              <a:gd name="connsiteY43" fmla="*/ 1149021 h 5221487"/>
              <a:gd name="connsiteX44" fmla="*/ 12645 w 10173275"/>
              <a:gd name="connsiteY44" fmla="*/ 632554 h 5221487"/>
              <a:gd name="connsiteX0" fmla="*/ 12645 w 10173275"/>
              <a:gd name="connsiteY0" fmla="*/ 632554 h 5221487"/>
              <a:gd name="connsiteX1" fmla="*/ 159542 w 10173275"/>
              <a:gd name="connsiteY1" fmla="*/ 208797 h 5221487"/>
              <a:gd name="connsiteX2" fmla="*/ 538444 w 10173275"/>
              <a:gd name="connsiteY2" fmla="*/ 80816 h 5221487"/>
              <a:gd name="connsiteX3" fmla="*/ 1139558 w 10173275"/>
              <a:gd name="connsiteY3" fmla="*/ 236314 h 5221487"/>
              <a:gd name="connsiteX4" fmla="*/ 1536645 w 10173275"/>
              <a:gd name="connsiteY4" fmla="*/ 353154 h 5221487"/>
              <a:gd name="connsiteX5" fmla="*/ 2180112 w 10173275"/>
              <a:gd name="connsiteY5" fmla="*/ 285421 h 5221487"/>
              <a:gd name="connsiteX6" fmla="*/ 3174790 w 10173275"/>
              <a:gd name="connsiteY6" fmla="*/ 1787 h 5221487"/>
              <a:gd name="connsiteX7" fmla="*/ 4305245 w 10173275"/>
              <a:gd name="connsiteY7" fmla="*/ 200754 h 5221487"/>
              <a:gd name="connsiteX8" fmla="*/ 5374025 w 10173275"/>
              <a:gd name="connsiteY8" fmla="*/ 861649 h 5221487"/>
              <a:gd name="connsiteX9" fmla="*/ 7321391 w 10173275"/>
              <a:gd name="connsiteY9" fmla="*/ 1012888 h 5221487"/>
              <a:gd name="connsiteX10" fmla="*/ 8855876 w 10173275"/>
              <a:gd name="connsiteY10" fmla="*/ 1483576 h 5221487"/>
              <a:gd name="connsiteX11" fmla="*/ 10138778 w 10173275"/>
              <a:gd name="connsiteY11" fmla="*/ 2842354 h 5221487"/>
              <a:gd name="connsiteX12" fmla="*/ 9723912 w 10173275"/>
              <a:gd name="connsiteY12" fmla="*/ 3265687 h 5221487"/>
              <a:gd name="connsiteX13" fmla="*/ 8843378 w 10173275"/>
              <a:gd name="connsiteY13" fmla="*/ 3790621 h 5221487"/>
              <a:gd name="connsiteX14" fmla="*/ 8146572 w 10173275"/>
              <a:gd name="connsiteY14" fmla="*/ 4016681 h 5221487"/>
              <a:gd name="connsiteX15" fmla="*/ 7742712 w 10173275"/>
              <a:gd name="connsiteY15" fmla="*/ 4163154 h 5221487"/>
              <a:gd name="connsiteX16" fmla="*/ 7150045 w 10173275"/>
              <a:gd name="connsiteY16" fmla="*/ 4586487 h 5221487"/>
              <a:gd name="connsiteX17" fmla="*/ 7150045 w 10173275"/>
              <a:gd name="connsiteY17" fmla="*/ 4586487 h 5221487"/>
              <a:gd name="connsiteX18" fmla="*/ 6997645 w 10173275"/>
              <a:gd name="connsiteY18" fmla="*/ 4705021 h 5221487"/>
              <a:gd name="connsiteX19" fmla="*/ 6802912 w 10173275"/>
              <a:gd name="connsiteY19" fmla="*/ 4832021 h 5221487"/>
              <a:gd name="connsiteX20" fmla="*/ 6421912 w 10173275"/>
              <a:gd name="connsiteY20" fmla="*/ 5035221 h 5221487"/>
              <a:gd name="connsiteX21" fmla="*/ 5973178 w 10173275"/>
              <a:gd name="connsiteY21" fmla="*/ 5196087 h 5221487"/>
              <a:gd name="connsiteX22" fmla="*/ 5693778 w 10173275"/>
              <a:gd name="connsiteY22" fmla="*/ 5221487 h 5221487"/>
              <a:gd name="connsiteX23" fmla="*/ 5524445 w 10173275"/>
              <a:gd name="connsiteY23" fmla="*/ 5213021 h 5221487"/>
              <a:gd name="connsiteX24" fmla="*/ 5058778 w 10173275"/>
              <a:gd name="connsiteY24" fmla="*/ 5102954 h 5221487"/>
              <a:gd name="connsiteX25" fmla="*/ 4735352 w 10173275"/>
              <a:gd name="connsiteY25" fmla="*/ 4917534 h 5221487"/>
              <a:gd name="connsiteX26" fmla="*/ 4462725 w 10173275"/>
              <a:gd name="connsiteY26" fmla="*/ 4717721 h 5221487"/>
              <a:gd name="connsiteX27" fmla="*/ 3753218 w 10173275"/>
              <a:gd name="connsiteY27" fmla="*/ 4400009 h 5221487"/>
              <a:gd name="connsiteX28" fmla="*/ 3517422 w 10173275"/>
              <a:gd name="connsiteY28" fmla="*/ 4083567 h 5221487"/>
              <a:gd name="connsiteX29" fmla="*/ 3337928 w 10173275"/>
              <a:gd name="connsiteY29" fmla="*/ 3336384 h 5221487"/>
              <a:gd name="connsiteX30" fmla="*/ 2848978 w 10173275"/>
              <a:gd name="connsiteY30" fmla="*/ 2939721 h 5221487"/>
              <a:gd name="connsiteX31" fmla="*/ 2747378 w 10173275"/>
              <a:gd name="connsiteY31" fmla="*/ 2673021 h 5221487"/>
              <a:gd name="connsiteX32" fmla="*/ 2772778 w 10173275"/>
              <a:gd name="connsiteY32" fmla="*/ 2461354 h 5221487"/>
              <a:gd name="connsiteX33" fmla="*/ 2789712 w 10173275"/>
              <a:gd name="connsiteY33" fmla="*/ 2359754 h 5221487"/>
              <a:gd name="connsiteX34" fmla="*/ 2764312 w 10173275"/>
              <a:gd name="connsiteY34" fmla="*/ 2190421 h 5221487"/>
              <a:gd name="connsiteX35" fmla="*/ 2578045 w 10173275"/>
              <a:gd name="connsiteY35" fmla="*/ 1936421 h 5221487"/>
              <a:gd name="connsiteX36" fmla="*/ 2417178 w 10173275"/>
              <a:gd name="connsiteY36" fmla="*/ 1792487 h 5221487"/>
              <a:gd name="connsiteX37" fmla="*/ 2222445 w 10173275"/>
              <a:gd name="connsiteY37" fmla="*/ 1741687 h 5221487"/>
              <a:gd name="connsiteX38" fmla="*/ 1943045 w 10173275"/>
              <a:gd name="connsiteY38" fmla="*/ 1809421 h 5221487"/>
              <a:gd name="connsiteX39" fmla="*/ 1435045 w 10173275"/>
              <a:gd name="connsiteY39" fmla="*/ 2004154 h 5221487"/>
              <a:gd name="connsiteX40" fmla="*/ 689978 w 10173275"/>
              <a:gd name="connsiteY40" fmla="*/ 1961821 h 5221487"/>
              <a:gd name="connsiteX41" fmla="*/ 393645 w 10173275"/>
              <a:gd name="connsiteY41" fmla="*/ 1851754 h 5221487"/>
              <a:gd name="connsiteX42" fmla="*/ 130332 w 10173275"/>
              <a:gd name="connsiteY42" fmla="*/ 1606221 h 5221487"/>
              <a:gd name="connsiteX43" fmla="*/ 21112 w 10173275"/>
              <a:gd name="connsiteY43" fmla="*/ 1149021 h 5221487"/>
              <a:gd name="connsiteX44" fmla="*/ 12645 w 10173275"/>
              <a:gd name="connsiteY44" fmla="*/ 632554 h 5221487"/>
              <a:gd name="connsiteX0" fmla="*/ 12645 w 10163657"/>
              <a:gd name="connsiteY0" fmla="*/ 632554 h 5221487"/>
              <a:gd name="connsiteX1" fmla="*/ 159542 w 10163657"/>
              <a:gd name="connsiteY1" fmla="*/ 208797 h 5221487"/>
              <a:gd name="connsiteX2" fmla="*/ 538444 w 10163657"/>
              <a:gd name="connsiteY2" fmla="*/ 80816 h 5221487"/>
              <a:gd name="connsiteX3" fmla="*/ 1139558 w 10163657"/>
              <a:gd name="connsiteY3" fmla="*/ 236314 h 5221487"/>
              <a:gd name="connsiteX4" fmla="*/ 1536645 w 10163657"/>
              <a:gd name="connsiteY4" fmla="*/ 353154 h 5221487"/>
              <a:gd name="connsiteX5" fmla="*/ 2180112 w 10163657"/>
              <a:gd name="connsiteY5" fmla="*/ 285421 h 5221487"/>
              <a:gd name="connsiteX6" fmla="*/ 3174790 w 10163657"/>
              <a:gd name="connsiteY6" fmla="*/ 1787 h 5221487"/>
              <a:gd name="connsiteX7" fmla="*/ 4305245 w 10163657"/>
              <a:gd name="connsiteY7" fmla="*/ 200754 h 5221487"/>
              <a:gd name="connsiteX8" fmla="*/ 5374025 w 10163657"/>
              <a:gd name="connsiteY8" fmla="*/ 861649 h 5221487"/>
              <a:gd name="connsiteX9" fmla="*/ 7321391 w 10163657"/>
              <a:gd name="connsiteY9" fmla="*/ 1012888 h 5221487"/>
              <a:gd name="connsiteX10" fmla="*/ 8855876 w 10163657"/>
              <a:gd name="connsiteY10" fmla="*/ 1483576 h 5221487"/>
              <a:gd name="connsiteX11" fmla="*/ 10138778 w 10163657"/>
              <a:gd name="connsiteY11" fmla="*/ 2842354 h 5221487"/>
              <a:gd name="connsiteX12" fmla="*/ 9723912 w 10163657"/>
              <a:gd name="connsiteY12" fmla="*/ 3265687 h 5221487"/>
              <a:gd name="connsiteX13" fmla="*/ 9975492 w 10163657"/>
              <a:gd name="connsiteY13" fmla="*/ 4944507 h 5221487"/>
              <a:gd name="connsiteX14" fmla="*/ 8146572 w 10163657"/>
              <a:gd name="connsiteY14" fmla="*/ 4016681 h 5221487"/>
              <a:gd name="connsiteX15" fmla="*/ 7742712 w 10163657"/>
              <a:gd name="connsiteY15" fmla="*/ 4163154 h 5221487"/>
              <a:gd name="connsiteX16" fmla="*/ 7150045 w 10163657"/>
              <a:gd name="connsiteY16" fmla="*/ 4586487 h 5221487"/>
              <a:gd name="connsiteX17" fmla="*/ 7150045 w 10163657"/>
              <a:gd name="connsiteY17" fmla="*/ 4586487 h 5221487"/>
              <a:gd name="connsiteX18" fmla="*/ 6997645 w 10163657"/>
              <a:gd name="connsiteY18" fmla="*/ 4705021 h 5221487"/>
              <a:gd name="connsiteX19" fmla="*/ 6802912 w 10163657"/>
              <a:gd name="connsiteY19" fmla="*/ 4832021 h 5221487"/>
              <a:gd name="connsiteX20" fmla="*/ 6421912 w 10163657"/>
              <a:gd name="connsiteY20" fmla="*/ 5035221 h 5221487"/>
              <a:gd name="connsiteX21" fmla="*/ 5973178 w 10163657"/>
              <a:gd name="connsiteY21" fmla="*/ 5196087 h 5221487"/>
              <a:gd name="connsiteX22" fmla="*/ 5693778 w 10163657"/>
              <a:gd name="connsiteY22" fmla="*/ 5221487 h 5221487"/>
              <a:gd name="connsiteX23" fmla="*/ 5524445 w 10163657"/>
              <a:gd name="connsiteY23" fmla="*/ 5213021 h 5221487"/>
              <a:gd name="connsiteX24" fmla="*/ 5058778 w 10163657"/>
              <a:gd name="connsiteY24" fmla="*/ 5102954 h 5221487"/>
              <a:gd name="connsiteX25" fmla="*/ 4735352 w 10163657"/>
              <a:gd name="connsiteY25" fmla="*/ 4917534 h 5221487"/>
              <a:gd name="connsiteX26" fmla="*/ 4462725 w 10163657"/>
              <a:gd name="connsiteY26" fmla="*/ 4717721 h 5221487"/>
              <a:gd name="connsiteX27" fmla="*/ 3753218 w 10163657"/>
              <a:gd name="connsiteY27" fmla="*/ 4400009 h 5221487"/>
              <a:gd name="connsiteX28" fmla="*/ 3517422 w 10163657"/>
              <a:gd name="connsiteY28" fmla="*/ 4083567 h 5221487"/>
              <a:gd name="connsiteX29" fmla="*/ 3337928 w 10163657"/>
              <a:gd name="connsiteY29" fmla="*/ 3336384 h 5221487"/>
              <a:gd name="connsiteX30" fmla="*/ 2848978 w 10163657"/>
              <a:gd name="connsiteY30" fmla="*/ 2939721 h 5221487"/>
              <a:gd name="connsiteX31" fmla="*/ 2747378 w 10163657"/>
              <a:gd name="connsiteY31" fmla="*/ 2673021 h 5221487"/>
              <a:gd name="connsiteX32" fmla="*/ 2772778 w 10163657"/>
              <a:gd name="connsiteY32" fmla="*/ 2461354 h 5221487"/>
              <a:gd name="connsiteX33" fmla="*/ 2789712 w 10163657"/>
              <a:gd name="connsiteY33" fmla="*/ 2359754 h 5221487"/>
              <a:gd name="connsiteX34" fmla="*/ 2764312 w 10163657"/>
              <a:gd name="connsiteY34" fmla="*/ 2190421 h 5221487"/>
              <a:gd name="connsiteX35" fmla="*/ 2578045 w 10163657"/>
              <a:gd name="connsiteY35" fmla="*/ 1936421 h 5221487"/>
              <a:gd name="connsiteX36" fmla="*/ 2417178 w 10163657"/>
              <a:gd name="connsiteY36" fmla="*/ 1792487 h 5221487"/>
              <a:gd name="connsiteX37" fmla="*/ 2222445 w 10163657"/>
              <a:gd name="connsiteY37" fmla="*/ 1741687 h 5221487"/>
              <a:gd name="connsiteX38" fmla="*/ 1943045 w 10163657"/>
              <a:gd name="connsiteY38" fmla="*/ 1809421 h 5221487"/>
              <a:gd name="connsiteX39" fmla="*/ 1435045 w 10163657"/>
              <a:gd name="connsiteY39" fmla="*/ 2004154 h 5221487"/>
              <a:gd name="connsiteX40" fmla="*/ 689978 w 10163657"/>
              <a:gd name="connsiteY40" fmla="*/ 1961821 h 5221487"/>
              <a:gd name="connsiteX41" fmla="*/ 393645 w 10163657"/>
              <a:gd name="connsiteY41" fmla="*/ 1851754 h 5221487"/>
              <a:gd name="connsiteX42" fmla="*/ 130332 w 10163657"/>
              <a:gd name="connsiteY42" fmla="*/ 1606221 h 5221487"/>
              <a:gd name="connsiteX43" fmla="*/ 21112 w 10163657"/>
              <a:gd name="connsiteY43" fmla="*/ 1149021 h 5221487"/>
              <a:gd name="connsiteX44" fmla="*/ 12645 w 10163657"/>
              <a:gd name="connsiteY44" fmla="*/ 632554 h 5221487"/>
              <a:gd name="connsiteX0" fmla="*/ 12645 w 11205138"/>
              <a:gd name="connsiteY0" fmla="*/ 632554 h 5221487"/>
              <a:gd name="connsiteX1" fmla="*/ 159542 w 11205138"/>
              <a:gd name="connsiteY1" fmla="*/ 208797 h 5221487"/>
              <a:gd name="connsiteX2" fmla="*/ 538444 w 11205138"/>
              <a:gd name="connsiteY2" fmla="*/ 80816 h 5221487"/>
              <a:gd name="connsiteX3" fmla="*/ 1139558 w 11205138"/>
              <a:gd name="connsiteY3" fmla="*/ 236314 h 5221487"/>
              <a:gd name="connsiteX4" fmla="*/ 1536645 w 11205138"/>
              <a:gd name="connsiteY4" fmla="*/ 353154 h 5221487"/>
              <a:gd name="connsiteX5" fmla="*/ 2180112 w 11205138"/>
              <a:gd name="connsiteY5" fmla="*/ 285421 h 5221487"/>
              <a:gd name="connsiteX6" fmla="*/ 3174790 w 11205138"/>
              <a:gd name="connsiteY6" fmla="*/ 1787 h 5221487"/>
              <a:gd name="connsiteX7" fmla="*/ 4305245 w 11205138"/>
              <a:gd name="connsiteY7" fmla="*/ 200754 h 5221487"/>
              <a:gd name="connsiteX8" fmla="*/ 5374025 w 11205138"/>
              <a:gd name="connsiteY8" fmla="*/ 861649 h 5221487"/>
              <a:gd name="connsiteX9" fmla="*/ 7321391 w 11205138"/>
              <a:gd name="connsiteY9" fmla="*/ 1012888 h 5221487"/>
              <a:gd name="connsiteX10" fmla="*/ 8855876 w 11205138"/>
              <a:gd name="connsiteY10" fmla="*/ 1483576 h 5221487"/>
              <a:gd name="connsiteX11" fmla="*/ 10138778 w 11205138"/>
              <a:gd name="connsiteY11" fmla="*/ 2842354 h 5221487"/>
              <a:gd name="connsiteX12" fmla="*/ 11204369 w 11205138"/>
              <a:gd name="connsiteY12" fmla="*/ 3788201 h 5221487"/>
              <a:gd name="connsiteX13" fmla="*/ 9975492 w 11205138"/>
              <a:gd name="connsiteY13" fmla="*/ 4944507 h 5221487"/>
              <a:gd name="connsiteX14" fmla="*/ 8146572 w 11205138"/>
              <a:gd name="connsiteY14" fmla="*/ 4016681 h 5221487"/>
              <a:gd name="connsiteX15" fmla="*/ 7742712 w 11205138"/>
              <a:gd name="connsiteY15" fmla="*/ 4163154 h 5221487"/>
              <a:gd name="connsiteX16" fmla="*/ 7150045 w 11205138"/>
              <a:gd name="connsiteY16" fmla="*/ 4586487 h 5221487"/>
              <a:gd name="connsiteX17" fmla="*/ 7150045 w 11205138"/>
              <a:gd name="connsiteY17" fmla="*/ 4586487 h 5221487"/>
              <a:gd name="connsiteX18" fmla="*/ 6997645 w 11205138"/>
              <a:gd name="connsiteY18" fmla="*/ 4705021 h 5221487"/>
              <a:gd name="connsiteX19" fmla="*/ 6802912 w 11205138"/>
              <a:gd name="connsiteY19" fmla="*/ 4832021 h 5221487"/>
              <a:gd name="connsiteX20" fmla="*/ 6421912 w 11205138"/>
              <a:gd name="connsiteY20" fmla="*/ 5035221 h 5221487"/>
              <a:gd name="connsiteX21" fmla="*/ 5973178 w 11205138"/>
              <a:gd name="connsiteY21" fmla="*/ 5196087 h 5221487"/>
              <a:gd name="connsiteX22" fmla="*/ 5693778 w 11205138"/>
              <a:gd name="connsiteY22" fmla="*/ 5221487 h 5221487"/>
              <a:gd name="connsiteX23" fmla="*/ 5524445 w 11205138"/>
              <a:gd name="connsiteY23" fmla="*/ 5213021 h 5221487"/>
              <a:gd name="connsiteX24" fmla="*/ 5058778 w 11205138"/>
              <a:gd name="connsiteY24" fmla="*/ 5102954 h 5221487"/>
              <a:gd name="connsiteX25" fmla="*/ 4735352 w 11205138"/>
              <a:gd name="connsiteY25" fmla="*/ 4917534 h 5221487"/>
              <a:gd name="connsiteX26" fmla="*/ 4462725 w 11205138"/>
              <a:gd name="connsiteY26" fmla="*/ 4717721 h 5221487"/>
              <a:gd name="connsiteX27" fmla="*/ 3753218 w 11205138"/>
              <a:gd name="connsiteY27" fmla="*/ 4400009 h 5221487"/>
              <a:gd name="connsiteX28" fmla="*/ 3517422 w 11205138"/>
              <a:gd name="connsiteY28" fmla="*/ 4083567 h 5221487"/>
              <a:gd name="connsiteX29" fmla="*/ 3337928 w 11205138"/>
              <a:gd name="connsiteY29" fmla="*/ 3336384 h 5221487"/>
              <a:gd name="connsiteX30" fmla="*/ 2848978 w 11205138"/>
              <a:gd name="connsiteY30" fmla="*/ 2939721 h 5221487"/>
              <a:gd name="connsiteX31" fmla="*/ 2747378 w 11205138"/>
              <a:gd name="connsiteY31" fmla="*/ 2673021 h 5221487"/>
              <a:gd name="connsiteX32" fmla="*/ 2772778 w 11205138"/>
              <a:gd name="connsiteY32" fmla="*/ 2461354 h 5221487"/>
              <a:gd name="connsiteX33" fmla="*/ 2789712 w 11205138"/>
              <a:gd name="connsiteY33" fmla="*/ 2359754 h 5221487"/>
              <a:gd name="connsiteX34" fmla="*/ 2764312 w 11205138"/>
              <a:gd name="connsiteY34" fmla="*/ 2190421 h 5221487"/>
              <a:gd name="connsiteX35" fmla="*/ 2578045 w 11205138"/>
              <a:gd name="connsiteY35" fmla="*/ 1936421 h 5221487"/>
              <a:gd name="connsiteX36" fmla="*/ 2417178 w 11205138"/>
              <a:gd name="connsiteY36" fmla="*/ 1792487 h 5221487"/>
              <a:gd name="connsiteX37" fmla="*/ 2222445 w 11205138"/>
              <a:gd name="connsiteY37" fmla="*/ 1741687 h 5221487"/>
              <a:gd name="connsiteX38" fmla="*/ 1943045 w 11205138"/>
              <a:gd name="connsiteY38" fmla="*/ 1809421 h 5221487"/>
              <a:gd name="connsiteX39" fmla="*/ 1435045 w 11205138"/>
              <a:gd name="connsiteY39" fmla="*/ 2004154 h 5221487"/>
              <a:gd name="connsiteX40" fmla="*/ 689978 w 11205138"/>
              <a:gd name="connsiteY40" fmla="*/ 1961821 h 5221487"/>
              <a:gd name="connsiteX41" fmla="*/ 393645 w 11205138"/>
              <a:gd name="connsiteY41" fmla="*/ 1851754 h 5221487"/>
              <a:gd name="connsiteX42" fmla="*/ 130332 w 11205138"/>
              <a:gd name="connsiteY42" fmla="*/ 1606221 h 5221487"/>
              <a:gd name="connsiteX43" fmla="*/ 21112 w 11205138"/>
              <a:gd name="connsiteY43" fmla="*/ 1149021 h 5221487"/>
              <a:gd name="connsiteX44" fmla="*/ 12645 w 11205138"/>
              <a:gd name="connsiteY44" fmla="*/ 632554 h 5221487"/>
              <a:gd name="connsiteX0" fmla="*/ 12645 w 11244046"/>
              <a:gd name="connsiteY0" fmla="*/ 632554 h 5221487"/>
              <a:gd name="connsiteX1" fmla="*/ 159542 w 11244046"/>
              <a:gd name="connsiteY1" fmla="*/ 208797 h 5221487"/>
              <a:gd name="connsiteX2" fmla="*/ 538444 w 11244046"/>
              <a:gd name="connsiteY2" fmla="*/ 80816 h 5221487"/>
              <a:gd name="connsiteX3" fmla="*/ 1139558 w 11244046"/>
              <a:gd name="connsiteY3" fmla="*/ 236314 h 5221487"/>
              <a:gd name="connsiteX4" fmla="*/ 1536645 w 11244046"/>
              <a:gd name="connsiteY4" fmla="*/ 353154 h 5221487"/>
              <a:gd name="connsiteX5" fmla="*/ 2180112 w 11244046"/>
              <a:gd name="connsiteY5" fmla="*/ 285421 h 5221487"/>
              <a:gd name="connsiteX6" fmla="*/ 3174790 w 11244046"/>
              <a:gd name="connsiteY6" fmla="*/ 1787 h 5221487"/>
              <a:gd name="connsiteX7" fmla="*/ 4305245 w 11244046"/>
              <a:gd name="connsiteY7" fmla="*/ 200754 h 5221487"/>
              <a:gd name="connsiteX8" fmla="*/ 5374025 w 11244046"/>
              <a:gd name="connsiteY8" fmla="*/ 861649 h 5221487"/>
              <a:gd name="connsiteX9" fmla="*/ 7321391 w 11244046"/>
              <a:gd name="connsiteY9" fmla="*/ 1012888 h 5221487"/>
              <a:gd name="connsiteX10" fmla="*/ 8855876 w 11244046"/>
              <a:gd name="connsiteY10" fmla="*/ 1483576 h 5221487"/>
              <a:gd name="connsiteX11" fmla="*/ 10748378 w 11244046"/>
              <a:gd name="connsiteY11" fmla="*/ 2374268 h 5221487"/>
              <a:gd name="connsiteX12" fmla="*/ 11204369 w 11244046"/>
              <a:gd name="connsiteY12" fmla="*/ 3788201 h 5221487"/>
              <a:gd name="connsiteX13" fmla="*/ 9975492 w 11244046"/>
              <a:gd name="connsiteY13" fmla="*/ 4944507 h 5221487"/>
              <a:gd name="connsiteX14" fmla="*/ 8146572 w 11244046"/>
              <a:gd name="connsiteY14" fmla="*/ 4016681 h 5221487"/>
              <a:gd name="connsiteX15" fmla="*/ 7742712 w 11244046"/>
              <a:gd name="connsiteY15" fmla="*/ 4163154 h 5221487"/>
              <a:gd name="connsiteX16" fmla="*/ 7150045 w 11244046"/>
              <a:gd name="connsiteY16" fmla="*/ 4586487 h 5221487"/>
              <a:gd name="connsiteX17" fmla="*/ 7150045 w 11244046"/>
              <a:gd name="connsiteY17" fmla="*/ 4586487 h 5221487"/>
              <a:gd name="connsiteX18" fmla="*/ 6997645 w 11244046"/>
              <a:gd name="connsiteY18" fmla="*/ 4705021 h 5221487"/>
              <a:gd name="connsiteX19" fmla="*/ 6802912 w 11244046"/>
              <a:gd name="connsiteY19" fmla="*/ 4832021 h 5221487"/>
              <a:gd name="connsiteX20" fmla="*/ 6421912 w 11244046"/>
              <a:gd name="connsiteY20" fmla="*/ 5035221 h 5221487"/>
              <a:gd name="connsiteX21" fmla="*/ 5973178 w 11244046"/>
              <a:gd name="connsiteY21" fmla="*/ 5196087 h 5221487"/>
              <a:gd name="connsiteX22" fmla="*/ 5693778 w 11244046"/>
              <a:gd name="connsiteY22" fmla="*/ 5221487 h 5221487"/>
              <a:gd name="connsiteX23" fmla="*/ 5524445 w 11244046"/>
              <a:gd name="connsiteY23" fmla="*/ 5213021 h 5221487"/>
              <a:gd name="connsiteX24" fmla="*/ 5058778 w 11244046"/>
              <a:gd name="connsiteY24" fmla="*/ 5102954 h 5221487"/>
              <a:gd name="connsiteX25" fmla="*/ 4735352 w 11244046"/>
              <a:gd name="connsiteY25" fmla="*/ 4917534 h 5221487"/>
              <a:gd name="connsiteX26" fmla="*/ 4462725 w 11244046"/>
              <a:gd name="connsiteY26" fmla="*/ 4717721 h 5221487"/>
              <a:gd name="connsiteX27" fmla="*/ 3753218 w 11244046"/>
              <a:gd name="connsiteY27" fmla="*/ 4400009 h 5221487"/>
              <a:gd name="connsiteX28" fmla="*/ 3517422 w 11244046"/>
              <a:gd name="connsiteY28" fmla="*/ 4083567 h 5221487"/>
              <a:gd name="connsiteX29" fmla="*/ 3337928 w 11244046"/>
              <a:gd name="connsiteY29" fmla="*/ 3336384 h 5221487"/>
              <a:gd name="connsiteX30" fmla="*/ 2848978 w 11244046"/>
              <a:gd name="connsiteY30" fmla="*/ 2939721 h 5221487"/>
              <a:gd name="connsiteX31" fmla="*/ 2747378 w 11244046"/>
              <a:gd name="connsiteY31" fmla="*/ 2673021 h 5221487"/>
              <a:gd name="connsiteX32" fmla="*/ 2772778 w 11244046"/>
              <a:gd name="connsiteY32" fmla="*/ 2461354 h 5221487"/>
              <a:gd name="connsiteX33" fmla="*/ 2789712 w 11244046"/>
              <a:gd name="connsiteY33" fmla="*/ 2359754 h 5221487"/>
              <a:gd name="connsiteX34" fmla="*/ 2764312 w 11244046"/>
              <a:gd name="connsiteY34" fmla="*/ 2190421 h 5221487"/>
              <a:gd name="connsiteX35" fmla="*/ 2578045 w 11244046"/>
              <a:gd name="connsiteY35" fmla="*/ 1936421 h 5221487"/>
              <a:gd name="connsiteX36" fmla="*/ 2417178 w 11244046"/>
              <a:gd name="connsiteY36" fmla="*/ 1792487 h 5221487"/>
              <a:gd name="connsiteX37" fmla="*/ 2222445 w 11244046"/>
              <a:gd name="connsiteY37" fmla="*/ 1741687 h 5221487"/>
              <a:gd name="connsiteX38" fmla="*/ 1943045 w 11244046"/>
              <a:gd name="connsiteY38" fmla="*/ 1809421 h 5221487"/>
              <a:gd name="connsiteX39" fmla="*/ 1435045 w 11244046"/>
              <a:gd name="connsiteY39" fmla="*/ 2004154 h 5221487"/>
              <a:gd name="connsiteX40" fmla="*/ 689978 w 11244046"/>
              <a:gd name="connsiteY40" fmla="*/ 1961821 h 5221487"/>
              <a:gd name="connsiteX41" fmla="*/ 393645 w 11244046"/>
              <a:gd name="connsiteY41" fmla="*/ 1851754 h 5221487"/>
              <a:gd name="connsiteX42" fmla="*/ 130332 w 11244046"/>
              <a:gd name="connsiteY42" fmla="*/ 1606221 h 5221487"/>
              <a:gd name="connsiteX43" fmla="*/ 21112 w 11244046"/>
              <a:gd name="connsiteY43" fmla="*/ 1149021 h 5221487"/>
              <a:gd name="connsiteX44" fmla="*/ 12645 w 11244046"/>
              <a:gd name="connsiteY44" fmla="*/ 632554 h 5221487"/>
              <a:gd name="connsiteX0" fmla="*/ 12645 w 11244046"/>
              <a:gd name="connsiteY0" fmla="*/ 632554 h 5221487"/>
              <a:gd name="connsiteX1" fmla="*/ 159542 w 11244046"/>
              <a:gd name="connsiteY1" fmla="*/ 208797 h 5221487"/>
              <a:gd name="connsiteX2" fmla="*/ 538444 w 11244046"/>
              <a:gd name="connsiteY2" fmla="*/ 80816 h 5221487"/>
              <a:gd name="connsiteX3" fmla="*/ 1139558 w 11244046"/>
              <a:gd name="connsiteY3" fmla="*/ 236314 h 5221487"/>
              <a:gd name="connsiteX4" fmla="*/ 1536645 w 11244046"/>
              <a:gd name="connsiteY4" fmla="*/ 353154 h 5221487"/>
              <a:gd name="connsiteX5" fmla="*/ 2180112 w 11244046"/>
              <a:gd name="connsiteY5" fmla="*/ 285421 h 5221487"/>
              <a:gd name="connsiteX6" fmla="*/ 3174790 w 11244046"/>
              <a:gd name="connsiteY6" fmla="*/ 1787 h 5221487"/>
              <a:gd name="connsiteX7" fmla="*/ 4305245 w 11244046"/>
              <a:gd name="connsiteY7" fmla="*/ 200754 h 5221487"/>
              <a:gd name="connsiteX8" fmla="*/ 5374025 w 11244046"/>
              <a:gd name="connsiteY8" fmla="*/ 861649 h 5221487"/>
              <a:gd name="connsiteX9" fmla="*/ 7321391 w 11244046"/>
              <a:gd name="connsiteY9" fmla="*/ 1012888 h 5221487"/>
              <a:gd name="connsiteX10" fmla="*/ 8855876 w 11244046"/>
              <a:gd name="connsiteY10" fmla="*/ 1483576 h 5221487"/>
              <a:gd name="connsiteX11" fmla="*/ 10748378 w 11244046"/>
              <a:gd name="connsiteY11" fmla="*/ 2374268 h 5221487"/>
              <a:gd name="connsiteX12" fmla="*/ 11204369 w 11244046"/>
              <a:gd name="connsiteY12" fmla="*/ 3788201 h 5221487"/>
              <a:gd name="connsiteX13" fmla="*/ 9975492 w 11244046"/>
              <a:gd name="connsiteY13" fmla="*/ 4944507 h 5221487"/>
              <a:gd name="connsiteX14" fmla="*/ 8201001 w 11244046"/>
              <a:gd name="connsiteY14" fmla="*/ 4550081 h 5221487"/>
              <a:gd name="connsiteX15" fmla="*/ 7742712 w 11244046"/>
              <a:gd name="connsiteY15" fmla="*/ 4163154 h 5221487"/>
              <a:gd name="connsiteX16" fmla="*/ 7150045 w 11244046"/>
              <a:gd name="connsiteY16" fmla="*/ 4586487 h 5221487"/>
              <a:gd name="connsiteX17" fmla="*/ 7150045 w 11244046"/>
              <a:gd name="connsiteY17" fmla="*/ 4586487 h 5221487"/>
              <a:gd name="connsiteX18" fmla="*/ 6997645 w 11244046"/>
              <a:gd name="connsiteY18" fmla="*/ 4705021 h 5221487"/>
              <a:gd name="connsiteX19" fmla="*/ 6802912 w 11244046"/>
              <a:gd name="connsiteY19" fmla="*/ 4832021 h 5221487"/>
              <a:gd name="connsiteX20" fmla="*/ 6421912 w 11244046"/>
              <a:gd name="connsiteY20" fmla="*/ 5035221 h 5221487"/>
              <a:gd name="connsiteX21" fmla="*/ 5973178 w 11244046"/>
              <a:gd name="connsiteY21" fmla="*/ 5196087 h 5221487"/>
              <a:gd name="connsiteX22" fmla="*/ 5693778 w 11244046"/>
              <a:gd name="connsiteY22" fmla="*/ 5221487 h 5221487"/>
              <a:gd name="connsiteX23" fmla="*/ 5524445 w 11244046"/>
              <a:gd name="connsiteY23" fmla="*/ 5213021 h 5221487"/>
              <a:gd name="connsiteX24" fmla="*/ 5058778 w 11244046"/>
              <a:gd name="connsiteY24" fmla="*/ 5102954 h 5221487"/>
              <a:gd name="connsiteX25" fmla="*/ 4735352 w 11244046"/>
              <a:gd name="connsiteY25" fmla="*/ 4917534 h 5221487"/>
              <a:gd name="connsiteX26" fmla="*/ 4462725 w 11244046"/>
              <a:gd name="connsiteY26" fmla="*/ 4717721 h 5221487"/>
              <a:gd name="connsiteX27" fmla="*/ 3753218 w 11244046"/>
              <a:gd name="connsiteY27" fmla="*/ 4400009 h 5221487"/>
              <a:gd name="connsiteX28" fmla="*/ 3517422 w 11244046"/>
              <a:gd name="connsiteY28" fmla="*/ 4083567 h 5221487"/>
              <a:gd name="connsiteX29" fmla="*/ 3337928 w 11244046"/>
              <a:gd name="connsiteY29" fmla="*/ 3336384 h 5221487"/>
              <a:gd name="connsiteX30" fmla="*/ 2848978 w 11244046"/>
              <a:gd name="connsiteY30" fmla="*/ 2939721 h 5221487"/>
              <a:gd name="connsiteX31" fmla="*/ 2747378 w 11244046"/>
              <a:gd name="connsiteY31" fmla="*/ 2673021 h 5221487"/>
              <a:gd name="connsiteX32" fmla="*/ 2772778 w 11244046"/>
              <a:gd name="connsiteY32" fmla="*/ 2461354 h 5221487"/>
              <a:gd name="connsiteX33" fmla="*/ 2789712 w 11244046"/>
              <a:gd name="connsiteY33" fmla="*/ 2359754 h 5221487"/>
              <a:gd name="connsiteX34" fmla="*/ 2764312 w 11244046"/>
              <a:gd name="connsiteY34" fmla="*/ 2190421 h 5221487"/>
              <a:gd name="connsiteX35" fmla="*/ 2578045 w 11244046"/>
              <a:gd name="connsiteY35" fmla="*/ 1936421 h 5221487"/>
              <a:gd name="connsiteX36" fmla="*/ 2417178 w 11244046"/>
              <a:gd name="connsiteY36" fmla="*/ 1792487 h 5221487"/>
              <a:gd name="connsiteX37" fmla="*/ 2222445 w 11244046"/>
              <a:gd name="connsiteY37" fmla="*/ 1741687 h 5221487"/>
              <a:gd name="connsiteX38" fmla="*/ 1943045 w 11244046"/>
              <a:gd name="connsiteY38" fmla="*/ 1809421 h 5221487"/>
              <a:gd name="connsiteX39" fmla="*/ 1435045 w 11244046"/>
              <a:gd name="connsiteY39" fmla="*/ 2004154 h 5221487"/>
              <a:gd name="connsiteX40" fmla="*/ 689978 w 11244046"/>
              <a:gd name="connsiteY40" fmla="*/ 1961821 h 5221487"/>
              <a:gd name="connsiteX41" fmla="*/ 393645 w 11244046"/>
              <a:gd name="connsiteY41" fmla="*/ 1851754 h 5221487"/>
              <a:gd name="connsiteX42" fmla="*/ 130332 w 11244046"/>
              <a:gd name="connsiteY42" fmla="*/ 1606221 h 5221487"/>
              <a:gd name="connsiteX43" fmla="*/ 21112 w 11244046"/>
              <a:gd name="connsiteY43" fmla="*/ 1149021 h 5221487"/>
              <a:gd name="connsiteX44" fmla="*/ 12645 w 11244046"/>
              <a:gd name="connsiteY44" fmla="*/ 632554 h 5221487"/>
              <a:gd name="connsiteX0" fmla="*/ 12645 w 11244046"/>
              <a:gd name="connsiteY0" fmla="*/ 632554 h 5221487"/>
              <a:gd name="connsiteX1" fmla="*/ 159542 w 11244046"/>
              <a:gd name="connsiteY1" fmla="*/ 208797 h 5221487"/>
              <a:gd name="connsiteX2" fmla="*/ 538444 w 11244046"/>
              <a:gd name="connsiteY2" fmla="*/ 80816 h 5221487"/>
              <a:gd name="connsiteX3" fmla="*/ 1139558 w 11244046"/>
              <a:gd name="connsiteY3" fmla="*/ 236314 h 5221487"/>
              <a:gd name="connsiteX4" fmla="*/ 1536645 w 11244046"/>
              <a:gd name="connsiteY4" fmla="*/ 353154 h 5221487"/>
              <a:gd name="connsiteX5" fmla="*/ 2180112 w 11244046"/>
              <a:gd name="connsiteY5" fmla="*/ 285421 h 5221487"/>
              <a:gd name="connsiteX6" fmla="*/ 3174790 w 11244046"/>
              <a:gd name="connsiteY6" fmla="*/ 1787 h 5221487"/>
              <a:gd name="connsiteX7" fmla="*/ 4305245 w 11244046"/>
              <a:gd name="connsiteY7" fmla="*/ 200754 h 5221487"/>
              <a:gd name="connsiteX8" fmla="*/ 5374025 w 11244046"/>
              <a:gd name="connsiteY8" fmla="*/ 861649 h 5221487"/>
              <a:gd name="connsiteX9" fmla="*/ 7321391 w 11244046"/>
              <a:gd name="connsiteY9" fmla="*/ 1012888 h 5221487"/>
              <a:gd name="connsiteX10" fmla="*/ 8855876 w 11244046"/>
              <a:gd name="connsiteY10" fmla="*/ 1483576 h 5221487"/>
              <a:gd name="connsiteX11" fmla="*/ 10748378 w 11244046"/>
              <a:gd name="connsiteY11" fmla="*/ 2374268 h 5221487"/>
              <a:gd name="connsiteX12" fmla="*/ 11204369 w 11244046"/>
              <a:gd name="connsiteY12" fmla="*/ 3788201 h 5221487"/>
              <a:gd name="connsiteX13" fmla="*/ 9975492 w 11244046"/>
              <a:gd name="connsiteY13" fmla="*/ 4944507 h 5221487"/>
              <a:gd name="connsiteX14" fmla="*/ 8201001 w 11244046"/>
              <a:gd name="connsiteY14" fmla="*/ 4550081 h 5221487"/>
              <a:gd name="connsiteX15" fmla="*/ 7720940 w 11244046"/>
              <a:gd name="connsiteY15" fmla="*/ 4576811 h 5221487"/>
              <a:gd name="connsiteX16" fmla="*/ 7150045 w 11244046"/>
              <a:gd name="connsiteY16" fmla="*/ 4586487 h 5221487"/>
              <a:gd name="connsiteX17" fmla="*/ 7150045 w 11244046"/>
              <a:gd name="connsiteY17" fmla="*/ 4586487 h 5221487"/>
              <a:gd name="connsiteX18" fmla="*/ 6997645 w 11244046"/>
              <a:gd name="connsiteY18" fmla="*/ 4705021 h 5221487"/>
              <a:gd name="connsiteX19" fmla="*/ 6802912 w 11244046"/>
              <a:gd name="connsiteY19" fmla="*/ 4832021 h 5221487"/>
              <a:gd name="connsiteX20" fmla="*/ 6421912 w 11244046"/>
              <a:gd name="connsiteY20" fmla="*/ 5035221 h 5221487"/>
              <a:gd name="connsiteX21" fmla="*/ 5973178 w 11244046"/>
              <a:gd name="connsiteY21" fmla="*/ 5196087 h 5221487"/>
              <a:gd name="connsiteX22" fmla="*/ 5693778 w 11244046"/>
              <a:gd name="connsiteY22" fmla="*/ 5221487 h 5221487"/>
              <a:gd name="connsiteX23" fmla="*/ 5524445 w 11244046"/>
              <a:gd name="connsiteY23" fmla="*/ 5213021 h 5221487"/>
              <a:gd name="connsiteX24" fmla="*/ 5058778 w 11244046"/>
              <a:gd name="connsiteY24" fmla="*/ 5102954 h 5221487"/>
              <a:gd name="connsiteX25" fmla="*/ 4735352 w 11244046"/>
              <a:gd name="connsiteY25" fmla="*/ 4917534 h 5221487"/>
              <a:gd name="connsiteX26" fmla="*/ 4462725 w 11244046"/>
              <a:gd name="connsiteY26" fmla="*/ 4717721 h 5221487"/>
              <a:gd name="connsiteX27" fmla="*/ 3753218 w 11244046"/>
              <a:gd name="connsiteY27" fmla="*/ 4400009 h 5221487"/>
              <a:gd name="connsiteX28" fmla="*/ 3517422 w 11244046"/>
              <a:gd name="connsiteY28" fmla="*/ 4083567 h 5221487"/>
              <a:gd name="connsiteX29" fmla="*/ 3337928 w 11244046"/>
              <a:gd name="connsiteY29" fmla="*/ 3336384 h 5221487"/>
              <a:gd name="connsiteX30" fmla="*/ 2848978 w 11244046"/>
              <a:gd name="connsiteY30" fmla="*/ 2939721 h 5221487"/>
              <a:gd name="connsiteX31" fmla="*/ 2747378 w 11244046"/>
              <a:gd name="connsiteY31" fmla="*/ 2673021 h 5221487"/>
              <a:gd name="connsiteX32" fmla="*/ 2772778 w 11244046"/>
              <a:gd name="connsiteY32" fmla="*/ 2461354 h 5221487"/>
              <a:gd name="connsiteX33" fmla="*/ 2789712 w 11244046"/>
              <a:gd name="connsiteY33" fmla="*/ 2359754 h 5221487"/>
              <a:gd name="connsiteX34" fmla="*/ 2764312 w 11244046"/>
              <a:gd name="connsiteY34" fmla="*/ 2190421 h 5221487"/>
              <a:gd name="connsiteX35" fmla="*/ 2578045 w 11244046"/>
              <a:gd name="connsiteY35" fmla="*/ 1936421 h 5221487"/>
              <a:gd name="connsiteX36" fmla="*/ 2417178 w 11244046"/>
              <a:gd name="connsiteY36" fmla="*/ 1792487 h 5221487"/>
              <a:gd name="connsiteX37" fmla="*/ 2222445 w 11244046"/>
              <a:gd name="connsiteY37" fmla="*/ 1741687 h 5221487"/>
              <a:gd name="connsiteX38" fmla="*/ 1943045 w 11244046"/>
              <a:gd name="connsiteY38" fmla="*/ 1809421 h 5221487"/>
              <a:gd name="connsiteX39" fmla="*/ 1435045 w 11244046"/>
              <a:gd name="connsiteY39" fmla="*/ 2004154 h 5221487"/>
              <a:gd name="connsiteX40" fmla="*/ 689978 w 11244046"/>
              <a:gd name="connsiteY40" fmla="*/ 1961821 h 5221487"/>
              <a:gd name="connsiteX41" fmla="*/ 393645 w 11244046"/>
              <a:gd name="connsiteY41" fmla="*/ 1851754 h 5221487"/>
              <a:gd name="connsiteX42" fmla="*/ 130332 w 11244046"/>
              <a:gd name="connsiteY42" fmla="*/ 1606221 h 5221487"/>
              <a:gd name="connsiteX43" fmla="*/ 21112 w 11244046"/>
              <a:gd name="connsiteY43" fmla="*/ 1149021 h 5221487"/>
              <a:gd name="connsiteX44" fmla="*/ 12645 w 11244046"/>
              <a:gd name="connsiteY44" fmla="*/ 632554 h 5221487"/>
              <a:gd name="connsiteX0" fmla="*/ 12645 w 11244046"/>
              <a:gd name="connsiteY0" fmla="*/ 632554 h 5221487"/>
              <a:gd name="connsiteX1" fmla="*/ 159542 w 11244046"/>
              <a:gd name="connsiteY1" fmla="*/ 208797 h 5221487"/>
              <a:gd name="connsiteX2" fmla="*/ 538444 w 11244046"/>
              <a:gd name="connsiteY2" fmla="*/ 80816 h 5221487"/>
              <a:gd name="connsiteX3" fmla="*/ 1139558 w 11244046"/>
              <a:gd name="connsiteY3" fmla="*/ 236314 h 5221487"/>
              <a:gd name="connsiteX4" fmla="*/ 1536645 w 11244046"/>
              <a:gd name="connsiteY4" fmla="*/ 353154 h 5221487"/>
              <a:gd name="connsiteX5" fmla="*/ 2180112 w 11244046"/>
              <a:gd name="connsiteY5" fmla="*/ 285421 h 5221487"/>
              <a:gd name="connsiteX6" fmla="*/ 3174790 w 11244046"/>
              <a:gd name="connsiteY6" fmla="*/ 1787 h 5221487"/>
              <a:gd name="connsiteX7" fmla="*/ 4305245 w 11244046"/>
              <a:gd name="connsiteY7" fmla="*/ 200754 h 5221487"/>
              <a:gd name="connsiteX8" fmla="*/ 5374025 w 11244046"/>
              <a:gd name="connsiteY8" fmla="*/ 861649 h 5221487"/>
              <a:gd name="connsiteX9" fmla="*/ 7321391 w 11244046"/>
              <a:gd name="connsiteY9" fmla="*/ 1012888 h 5221487"/>
              <a:gd name="connsiteX10" fmla="*/ 8855876 w 11244046"/>
              <a:gd name="connsiteY10" fmla="*/ 1483576 h 5221487"/>
              <a:gd name="connsiteX11" fmla="*/ 10748378 w 11244046"/>
              <a:gd name="connsiteY11" fmla="*/ 2374268 h 5221487"/>
              <a:gd name="connsiteX12" fmla="*/ 11204369 w 11244046"/>
              <a:gd name="connsiteY12" fmla="*/ 3788201 h 5221487"/>
              <a:gd name="connsiteX13" fmla="*/ 9975492 w 11244046"/>
              <a:gd name="connsiteY13" fmla="*/ 4944507 h 5221487"/>
              <a:gd name="connsiteX14" fmla="*/ 8201001 w 11244046"/>
              <a:gd name="connsiteY14" fmla="*/ 4550081 h 5221487"/>
              <a:gd name="connsiteX15" fmla="*/ 7720940 w 11244046"/>
              <a:gd name="connsiteY15" fmla="*/ 4576811 h 5221487"/>
              <a:gd name="connsiteX16" fmla="*/ 7150045 w 11244046"/>
              <a:gd name="connsiteY16" fmla="*/ 4586487 h 5221487"/>
              <a:gd name="connsiteX17" fmla="*/ 7150045 w 11244046"/>
              <a:gd name="connsiteY17" fmla="*/ 4586487 h 5221487"/>
              <a:gd name="connsiteX18" fmla="*/ 6802912 w 11244046"/>
              <a:gd name="connsiteY18" fmla="*/ 4832021 h 5221487"/>
              <a:gd name="connsiteX19" fmla="*/ 6421912 w 11244046"/>
              <a:gd name="connsiteY19" fmla="*/ 5035221 h 5221487"/>
              <a:gd name="connsiteX20" fmla="*/ 5973178 w 11244046"/>
              <a:gd name="connsiteY20" fmla="*/ 5196087 h 5221487"/>
              <a:gd name="connsiteX21" fmla="*/ 5693778 w 11244046"/>
              <a:gd name="connsiteY21" fmla="*/ 5221487 h 5221487"/>
              <a:gd name="connsiteX22" fmla="*/ 5524445 w 11244046"/>
              <a:gd name="connsiteY22" fmla="*/ 5213021 h 5221487"/>
              <a:gd name="connsiteX23" fmla="*/ 5058778 w 11244046"/>
              <a:gd name="connsiteY23" fmla="*/ 5102954 h 5221487"/>
              <a:gd name="connsiteX24" fmla="*/ 4735352 w 11244046"/>
              <a:gd name="connsiteY24" fmla="*/ 4917534 h 5221487"/>
              <a:gd name="connsiteX25" fmla="*/ 4462725 w 11244046"/>
              <a:gd name="connsiteY25" fmla="*/ 4717721 h 5221487"/>
              <a:gd name="connsiteX26" fmla="*/ 3753218 w 11244046"/>
              <a:gd name="connsiteY26" fmla="*/ 4400009 h 5221487"/>
              <a:gd name="connsiteX27" fmla="*/ 3517422 w 11244046"/>
              <a:gd name="connsiteY27" fmla="*/ 4083567 h 5221487"/>
              <a:gd name="connsiteX28" fmla="*/ 3337928 w 11244046"/>
              <a:gd name="connsiteY28" fmla="*/ 3336384 h 5221487"/>
              <a:gd name="connsiteX29" fmla="*/ 2848978 w 11244046"/>
              <a:gd name="connsiteY29" fmla="*/ 2939721 h 5221487"/>
              <a:gd name="connsiteX30" fmla="*/ 2747378 w 11244046"/>
              <a:gd name="connsiteY30" fmla="*/ 2673021 h 5221487"/>
              <a:gd name="connsiteX31" fmla="*/ 2772778 w 11244046"/>
              <a:gd name="connsiteY31" fmla="*/ 2461354 h 5221487"/>
              <a:gd name="connsiteX32" fmla="*/ 2789712 w 11244046"/>
              <a:gd name="connsiteY32" fmla="*/ 2359754 h 5221487"/>
              <a:gd name="connsiteX33" fmla="*/ 2764312 w 11244046"/>
              <a:gd name="connsiteY33" fmla="*/ 2190421 h 5221487"/>
              <a:gd name="connsiteX34" fmla="*/ 2578045 w 11244046"/>
              <a:gd name="connsiteY34" fmla="*/ 1936421 h 5221487"/>
              <a:gd name="connsiteX35" fmla="*/ 2417178 w 11244046"/>
              <a:gd name="connsiteY35" fmla="*/ 1792487 h 5221487"/>
              <a:gd name="connsiteX36" fmla="*/ 2222445 w 11244046"/>
              <a:gd name="connsiteY36" fmla="*/ 1741687 h 5221487"/>
              <a:gd name="connsiteX37" fmla="*/ 1943045 w 11244046"/>
              <a:gd name="connsiteY37" fmla="*/ 1809421 h 5221487"/>
              <a:gd name="connsiteX38" fmla="*/ 1435045 w 11244046"/>
              <a:gd name="connsiteY38" fmla="*/ 2004154 h 5221487"/>
              <a:gd name="connsiteX39" fmla="*/ 689978 w 11244046"/>
              <a:gd name="connsiteY39" fmla="*/ 1961821 h 5221487"/>
              <a:gd name="connsiteX40" fmla="*/ 393645 w 11244046"/>
              <a:gd name="connsiteY40" fmla="*/ 1851754 h 5221487"/>
              <a:gd name="connsiteX41" fmla="*/ 130332 w 11244046"/>
              <a:gd name="connsiteY41" fmla="*/ 1606221 h 5221487"/>
              <a:gd name="connsiteX42" fmla="*/ 21112 w 11244046"/>
              <a:gd name="connsiteY42" fmla="*/ 1149021 h 5221487"/>
              <a:gd name="connsiteX43" fmla="*/ 12645 w 11244046"/>
              <a:gd name="connsiteY43" fmla="*/ 632554 h 5221487"/>
              <a:gd name="connsiteX0" fmla="*/ 12645 w 11244046"/>
              <a:gd name="connsiteY0" fmla="*/ 632554 h 5221487"/>
              <a:gd name="connsiteX1" fmla="*/ 159542 w 11244046"/>
              <a:gd name="connsiteY1" fmla="*/ 208797 h 5221487"/>
              <a:gd name="connsiteX2" fmla="*/ 538444 w 11244046"/>
              <a:gd name="connsiteY2" fmla="*/ 80816 h 5221487"/>
              <a:gd name="connsiteX3" fmla="*/ 1139558 w 11244046"/>
              <a:gd name="connsiteY3" fmla="*/ 236314 h 5221487"/>
              <a:gd name="connsiteX4" fmla="*/ 1536645 w 11244046"/>
              <a:gd name="connsiteY4" fmla="*/ 353154 h 5221487"/>
              <a:gd name="connsiteX5" fmla="*/ 2180112 w 11244046"/>
              <a:gd name="connsiteY5" fmla="*/ 285421 h 5221487"/>
              <a:gd name="connsiteX6" fmla="*/ 3174790 w 11244046"/>
              <a:gd name="connsiteY6" fmla="*/ 1787 h 5221487"/>
              <a:gd name="connsiteX7" fmla="*/ 4305245 w 11244046"/>
              <a:gd name="connsiteY7" fmla="*/ 200754 h 5221487"/>
              <a:gd name="connsiteX8" fmla="*/ 5374025 w 11244046"/>
              <a:gd name="connsiteY8" fmla="*/ 861649 h 5221487"/>
              <a:gd name="connsiteX9" fmla="*/ 7321391 w 11244046"/>
              <a:gd name="connsiteY9" fmla="*/ 1012888 h 5221487"/>
              <a:gd name="connsiteX10" fmla="*/ 8855876 w 11244046"/>
              <a:gd name="connsiteY10" fmla="*/ 1483576 h 5221487"/>
              <a:gd name="connsiteX11" fmla="*/ 10748378 w 11244046"/>
              <a:gd name="connsiteY11" fmla="*/ 2374268 h 5221487"/>
              <a:gd name="connsiteX12" fmla="*/ 11204369 w 11244046"/>
              <a:gd name="connsiteY12" fmla="*/ 3788201 h 5221487"/>
              <a:gd name="connsiteX13" fmla="*/ 9975492 w 11244046"/>
              <a:gd name="connsiteY13" fmla="*/ 4944507 h 5221487"/>
              <a:gd name="connsiteX14" fmla="*/ 8201001 w 11244046"/>
              <a:gd name="connsiteY14" fmla="*/ 4550081 h 5221487"/>
              <a:gd name="connsiteX15" fmla="*/ 7720940 w 11244046"/>
              <a:gd name="connsiteY15" fmla="*/ 4576811 h 5221487"/>
              <a:gd name="connsiteX16" fmla="*/ 7150045 w 11244046"/>
              <a:gd name="connsiteY16" fmla="*/ 4586487 h 5221487"/>
              <a:gd name="connsiteX17" fmla="*/ 7150045 w 11244046"/>
              <a:gd name="connsiteY17" fmla="*/ 4586487 h 5221487"/>
              <a:gd name="connsiteX18" fmla="*/ 6421912 w 11244046"/>
              <a:gd name="connsiteY18" fmla="*/ 5035221 h 5221487"/>
              <a:gd name="connsiteX19" fmla="*/ 5973178 w 11244046"/>
              <a:gd name="connsiteY19" fmla="*/ 5196087 h 5221487"/>
              <a:gd name="connsiteX20" fmla="*/ 5693778 w 11244046"/>
              <a:gd name="connsiteY20" fmla="*/ 5221487 h 5221487"/>
              <a:gd name="connsiteX21" fmla="*/ 5524445 w 11244046"/>
              <a:gd name="connsiteY21" fmla="*/ 5213021 h 5221487"/>
              <a:gd name="connsiteX22" fmla="*/ 5058778 w 11244046"/>
              <a:gd name="connsiteY22" fmla="*/ 5102954 h 5221487"/>
              <a:gd name="connsiteX23" fmla="*/ 4735352 w 11244046"/>
              <a:gd name="connsiteY23" fmla="*/ 4917534 h 5221487"/>
              <a:gd name="connsiteX24" fmla="*/ 4462725 w 11244046"/>
              <a:gd name="connsiteY24" fmla="*/ 4717721 h 5221487"/>
              <a:gd name="connsiteX25" fmla="*/ 3753218 w 11244046"/>
              <a:gd name="connsiteY25" fmla="*/ 4400009 h 5221487"/>
              <a:gd name="connsiteX26" fmla="*/ 3517422 w 11244046"/>
              <a:gd name="connsiteY26" fmla="*/ 4083567 h 5221487"/>
              <a:gd name="connsiteX27" fmla="*/ 3337928 w 11244046"/>
              <a:gd name="connsiteY27" fmla="*/ 3336384 h 5221487"/>
              <a:gd name="connsiteX28" fmla="*/ 2848978 w 11244046"/>
              <a:gd name="connsiteY28" fmla="*/ 2939721 h 5221487"/>
              <a:gd name="connsiteX29" fmla="*/ 2747378 w 11244046"/>
              <a:gd name="connsiteY29" fmla="*/ 2673021 h 5221487"/>
              <a:gd name="connsiteX30" fmla="*/ 2772778 w 11244046"/>
              <a:gd name="connsiteY30" fmla="*/ 2461354 h 5221487"/>
              <a:gd name="connsiteX31" fmla="*/ 2789712 w 11244046"/>
              <a:gd name="connsiteY31" fmla="*/ 2359754 h 5221487"/>
              <a:gd name="connsiteX32" fmla="*/ 2764312 w 11244046"/>
              <a:gd name="connsiteY32" fmla="*/ 2190421 h 5221487"/>
              <a:gd name="connsiteX33" fmla="*/ 2578045 w 11244046"/>
              <a:gd name="connsiteY33" fmla="*/ 1936421 h 5221487"/>
              <a:gd name="connsiteX34" fmla="*/ 2417178 w 11244046"/>
              <a:gd name="connsiteY34" fmla="*/ 1792487 h 5221487"/>
              <a:gd name="connsiteX35" fmla="*/ 2222445 w 11244046"/>
              <a:gd name="connsiteY35" fmla="*/ 1741687 h 5221487"/>
              <a:gd name="connsiteX36" fmla="*/ 1943045 w 11244046"/>
              <a:gd name="connsiteY36" fmla="*/ 1809421 h 5221487"/>
              <a:gd name="connsiteX37" fmla="*/ 1435045 w 11244046"/>
              <a:gd name="connsiteY37" fmla="*/ 2004154 h 5221487"/>
              <a:gd name="connsiteX38" fmla="*/ 689978 w 11244046"/>
              <a:gd name="connsiteY38" fmla="*/ 1961821 h 5221487"/>
              <a:gd name="connsiteX39" fmla="*/ 393645 w 11244046"/>
              <a:gd name="connsiteY39" fmla="*/ 1851754 h 5221487"/>
              <a:gd name="connsiteX40" fmla="*/ 130332 w 11244046"/>
              <a:gd name="connsiteY40" fmla="*/ 1606221 h 5221487"/>
              <a:gd name="connsiteX41" fmla="*/ 21112 w 11244046"/>
              <a:gd name="connsiteY41" fmla="*/ 1149021 h 5221487"/>
              <a:gd name="connsiteX42" fmla="*/ 12645 w 11244046"/>
              <a:gd name="connsiteY42" fmla="*/ 632554 h 5221487"/>
              <a:gd name="connsiteX0" fmla="*/ 12645 w 11244046"/>
              <a:gd name="connsiteY0" fmla="*/ 632554 h 5221487"/>
              <a:gd name="connsiteX1" fmla="*/ 159542 w 11244046"/>
              <a:gd name="connsiteY1" fmla="*/ 208797 h 5221487"/>
              <a:gd name="connsiteX2" fmla="*/ 538444 w 11244046"/>
              <a:gd name="connsiteY2" fmla="*/ 80816 h 5221487"/>
              <a:gd name="connsiteX3" fmla="*/ 1139558 w 11244046"/>
              <a:gd name="connsiteY3" fmla="*/ 236314 h 5221487"/>
              <a:gd name="connsiteX4" fmla="*/ 1536645 w 11244046"/>
              <a:gd name="connsiteY4" fmla="*/ 353154 h 5221487"/>
              <a:gd name="connsiteX5" fmla="*/ 2180112 w 11244046"/>
              <a:gd name="connsiteY5" fmla="*/ 285421 h 5221487"/>
              <a:gd name="connsiteX6" fmla="*/ 3174790 w 11244046"/>
              <a:gd name="connsiteY6" fmla="*/ 1787 h 5221487"/>
              <a:gd name="connsiteX7" fmla="*/ 4305245 w 11244046"/>
              <a:gd name="connsiteY7" fmla="*/ 200754 h 5221487"/>
              <a:gd name="connsiteX8" fmla="*/ 5374025 w 11244046"/>
              <a:gd name="connsiteY8" fmla="*/ 861649 h 5221487"/>
              <a:gd name="connsiteX9" fmla="*/ 7321391 w 11244046"/>
              <a:gd name="connsiteY9" fmla="*/ 1012888 h 5221487"/>
              <a:gd name="connsiteX10" fmla="*/ 8855876 w 11244046"/>
              <a:gd name="connsiteY10" fmla="*/ 1483576 h 5221487"/>
              <a:gd name="connsiteX11" fmla="*/ 10748378 w 11244046"/>
              <a:gd name="connsiteY11" fmla="*/ 2374268 h 5221487"/>
              <a:gd name="connsiteX12" fmla="*/ 11204369 w 11244046"/>
              <a:gd name="connsiteY12" fmla="*/ 3788201 h 5221487"/>
              <a:gd name="connsiteX13" fmla="*/ 9975492 w 11244046"/>
              <a:gd name="connsiteY13" fmla="*/ 4944507 h 5221487"/>
              <a:gd name="connsiteX14" fmla="*/ 8201001 w 11244046"/>
              <a:gd name="connsiteY14" fmla="*/ 4550081 h 5221487"/>
              <a:gd name="connsiteX15" fmla="*/ 7720940 w 11244046"/>
              <a:gd name="connsiteY15" fmla="*/ 4576811 h 5221487"/>
              <a:gd name="connsiteX16" fmla="*/ 7150045 w 11244046"/>
              <a:gd name="connsiteY16" fmla="*/ 4586487 h 5221487"/>
              <a:gd name="connsiteX17" fmla="*/ 7150045 w 11244046"/>
              <a:gd name="connsiteY17" fmla="*/ 4586487 h 5221487"/>
              <a:gd name="connsiteX18" fmla="*/ 5973178 w 11244046"/>
              <a:gd name="connsiteY18" fmla="*/ 5196087 h 5221487"/>
              <a:gd name="connsiteX19" fmla="*/ 5693778 w 11244046"/>
              <a:gd name="connsiteY19" fmla="*/ 5221487 h 5221487"/>
              <a:gd name="connsiteX20" fmla="*/ 5524445 w 11244046"/>
              <a:gd name="connsiteY20" fmla="*/ 5213021 h 5221487"/>
              <a:gd name="connsiteX21" fmla="*/ 5058778 w 11244046"/>
              <a:gd name="connsiteY21" fmla="*/ 5102954 h 5221487"/>
              <a:gd name="connsiteX22" fmla="*/ 4735352 w 11244046"/>
              <a:gd name="connsiteY22" fmla="*/ 4917534 h 5221487"/>
              <a:gd name="connsiteX23" fmla="*/ 4462725 w 11244046"/>
              <a:gd name="connsiteY23" fmla="*/ 4717721 h 5221487"/>
              <a:gd name="connsiteX24" fmla="*/ 3753218 w 11244046"/>
              <a:gd name="connsiteY24" fmla="*/ 4400009 h 5221487"/>
              <a:gd name="connsiteX25" fmla="*/ 3517422 w 11244046"/>
              <a:gd name="connsiteY25" fmla="*/ 4083567 h 5221487"/>
              <a:gd name="connsiteX26" fmla="*/ 3337928 w 11244046"/>
              <a:gd name="connsiteY26" fmla="*/ 3336384 h 5221487"/>
              <a:gd name="connsiteX27" fmla="*/ 2848978 w 11244046"/>
              <a:gd name="connsiteY27" fmla="*/ 2939721 h 5221487"/>
              <a:gd name="connsiteX28" fmla="*/ 2747378 w 11244046"/>
              <a:gd name="connsiteY28" fmla="*/ 2673021 h 5221487"/>
              <a:gd name="connsiteX29" fmla="*/ 2772778 w 11244046"/>
              <a:gd name="connsiteY29" fmla="*/ 2461354 h 5221487"/>
              <a:gd name="connsiteX30" fmla="*/ 2789712 w 11244046"/>
              <a:gd name="connsiteY30" fmla="*/ 2359754 h 5221487"/>
              <a:gd name="connsiteX31" fmla="*/ 2764312 w 11244046"/>
              <a:gd name="connsiteY31" fmla="*/ 2190421 h 5221487"/>
              <a:gd name="connsiteX32" fmla="*/ 2578045 w 11244046"/>
              <a:gd name="connsiteY32" fmla="*/ 1936421 h 5221487"/>
              <a:gd name="connsiteX33" fmla="*/ 2417178 w 11244046"/>
              <a:gd name="connsiteY33" fmla="*/ 1792487 h 5221487"/>
              <a:gd name="connsiteX34" fmla="*/ 2222445 w 11244046"/>
              <a:gd name="connsiteY34" fmla="*/ 1741687 h 5221487"/>
              <a:gd name="connsiteX35" fmla="*/ 1943045 w 11244046"/>
              <a:gd name="connsiteY35" fmla="*/ 1809421 h 5221487"/>
              <a:gd name="connsiteX36" fmla="*/ 1435045 w 11244046"/>
              <a:gd name="connsiteY36" fmla="*/ 2004154 h 5221487"/>
              <a:gd name="connsiteX37" fmla="*/ 689978 w 11244046"/>
              <a:gd name="connsiteY37" fmla="*/ 1961821 h 5221487"/>
              <a:gd name="connsiteX38" fmla="*/ 393645 w 11244046"/>
              <a:gd name="connsiteY38" fmla="*/ 1851754 h 5221487"/>
              <a:gd name="connsiteX39" fmla="*/ 130332 w 11244046"/>
              <a:gd name="connsiteY39" fmla="*/ 1606221 h 5221487"/>
              <a:gd name="connsiteX40" fmla="*/ 21112 w 11244046"/>
              <a:gd name="connsiteY40" fmla="*/ 1149021 h 5221487"/>
              <a:gd name="connsiteX41" fmla="*/ 12645 w 11244046"/>
              <a:gd name="connsiteY41" fmla="*/ 632554 h 5221487"/>
              <a:gd name="connsiteX0" fmla="*/ 12645 w 11244046"/>
              <a:gd name="connsiteY0" fmla="*/ 632554 h 5221487"/>
              <a:gd name="connsiteX1" fmla="*/ 159542 w 11244046"/>
              <a:gd name="connsiteY1" fmla="*/ 208797 h 5221487"/>
              <a:gd name="connsiteX2" fmla="*/ 538444 w 11244046"/>
              <a:gd name="connsiteY2" fmla="*/ 80816 h 5221487"/>
              <a:gd name="connsiteX3" fmla="*/ 1139558 w 11244046"/>
              <a:gd name="connsiteY3" fmla="*/ 236314 h 5221487"/>
              <a:gd name="connsiteX4" fmla="*/ 1536645 w 11244046"/>
              <a:gd name="connsiteY4" fmla="*/ 353154 h 5221487"/>
              <a:gd name="connsiteX5" fmla="*/ 2180112 w 11244046"/>
              <a:gd name="connsiteY5" fmla="*/ 285421 h 5221487"/>
              <a:gd name="connsiteX6" fmla="*/ 3174790 w 11244046"/>
              <a:gd name="connsiteY6" fmla="*/ 1787 h 5221487"/>
              <a:gd name="connsiteX7" fmla="*/ 4305245 w 11244046"/>
              <a:gd name="connsiteY7" fmla="*/ 200754 h 5221487"/>
              <a:gd name="connsiteX8" fmla="*/ 5374025 w 11244046"/>
              <a:gd name="connsiteY8" fmla="*/ 861649 h 5221487"/>
              <a:gd name="connsiteX9" fmla="*/ 7321391 w 11244046"/>
              <a:gd name="connsiteY9" fmla="*/ 1012888 h 5221487"/>
              <a:gd name="connsiteX10" fmla="*/ 8855876 w 11244046"/>
              <a:gd name="connsiteY10" fmla="*/ 1483576 h 5221487"/>
              <a:gd name="connsiteX11" fmla="*/ 10748378 w 11244046"/>
              <a:gd name="connsiteY11" fmla="*/ 2374268 h 5221487"/>
              <a:gd name="connsiteX12" fmla="*/ 11204369 w 11244046"/>
              <a:gd name="connsiteY12" fmla="*/ 3788201 h 5221487"/>
              <a:gd name="connsiteX13" fmla="*/ 9975492 w 11244046"/>
              <a:gd name="connsiteY13" fmla="*/ 4944507 h 5221487"/>
              <a:gd name="connsiteX14" fmla="*/ 8201001 w 11244046"/>
              <a:gd name="connsiteY14" fmla="*/ 4550081 h 5221487"/>
              <a:gd name="connsiteX15" fmla="*/ 7720940 w 11244046"/>
              <a:gd name="connsiteY15" fmla="*/ 4576811 h 5221487"/>
              <a:gd name="connsiteX16" fmla="*/ 7150045 w 11244046"/>
              <a:gd name="connsiteY16" fmla="*/ 4586487 h 5221487"/>
              <a:gd name="connsiteX17" fmla="*/ 7150045 w 11244046"/>
              <a:gd name="connsiteY17" fmla="*/ 4586487 h 5221487"/>
              <a:gd name="connsiteX18" fmla="*/ 5693778 w 11244046"/>
              <a:gd name="connsiteY18" fmla="*/ 5221487 h 5221487"/>
              <a:gd name="connsiteX19" fmla="*/ 5524445 w 11244046"/>
              <a:gd name="connsiteY19" fmla="*/ 5213021 h 5221487"/>
              <a:gd name="connsiteX20" fmla="*/ 5058778 w 11244046"/>
              <a:gd name="connsiteY20" fmla="*/ 5102954 h 5221487"/>
              <a:gd name="connsiteX21" fmla="*/ 4735352 w 11244046"/>
              <a:gd name="connsiteY21" fmla="*/ 4917534 h 5221487"/>
              <a:gd name="connsiteX22" fmla="*/ 4462725 w 11244046"/>
              <a:gd name="connsiteY22" fmla="*/ 4717721 h 5221487"/>
              <a:gd name="connsiteX23" fmla="*/ 3753218 w 11244046"/>
              <a:gd name="connsiteY23" fmla="*/ 4400009 h 5221487"/>
              <a:gd name="connsiteX24" fmla="*/ 3517422 w 11244046"/>
              <a:gd name="connsiteY24" fmla="*/ 4083567 h 5221487"/>
              <a:gd name="connsiteX25" fmla="*/ 3337928 w 11244046"/>
              <a:gd name="connsiteY25" fmla="*/ 3336384 h 5221487"/>
              <a:gd name="connsiteX26" fmla="*/ 2848978 w 11244046"/>
              <a:gd name="connsiteY26" fmla="*/ 2939721 h 5221487"/>
              <a:gd name="connsiteX27" fmla="*/ 2747378 w 11244046"/>
              <a:gd name="connsiteY27" fmla="*/ 2673021 h 5221487"/>
              <a:gd name="connsiteX28" fmla="*/ 2772778 w 11244046"/>
              <a:gd name="connsiteY28" fmla="*/ 2461354 h 5221487"/>
              <a:gd name="connsiteX29" fmla="*/ 2789712 w 11244046"/>
              <a:gd name="connsiteY29" fmla="*/ 2359754 h 5221487"/>
              <a:gd name="connsiteX30" fmla="*/ 2764312 w 11244046"/>
              <a:gd name="connsiteY30" fmla="*/ 2190421 h 5221487"/>
              <a:gd name="connsiteX31" fmla="*/ 2578045 w 11244046"/>
              <a:gd name="connsiteY31" fmla="*/ 1936421 h 5221487"/>
              <a:gd name="connsiteX32" fmla="*/ 2417178 w 11244046"/>
              <a:gd name="connsiteY32" fmla="*/ 1792487 h 5221487"/>
              <a:gd name="connsiteX33" fmla="*/ 2222445 w 11244046"/>
              <a:gd name="connsiteY33" fmla="*/ 1741687 h 5221487"/>
              <a:gd name="connsiteX34" fmla="*/ 1943045 w 11244046"/>
              <a:gd name="connsiteY34" fmla="*/ 1809421 h 5221487"/>
              <a:gd name="connsiteX35" fmla="*/ 1435045 w 11244046"/>
              <a:gd name="connsiteY35" fmla="*/ 2004154 h 5221487"/>
              <a:gd name="connsiteX36" fmla="*/ 689978 w 11244046"/>
              <a:gd name="connsiteY36" fmla="*/ 1961821 h 5221487"/>
              <a:gd name="connsiteX37" fmla="*/ 393645 w 11244046"/>
              <a:gd name="connsiteY37" fmla="*/ 1851754 h 5221487"/>
              <a:gd name="connsiteX38" fmla="*/ 130332 w 11244046"/>
              <a:gd name="connsiteY38" fmla="*/ 1606221 h 5221487"/>
              <a:gd name="connsiteX39" fmla="*/ 21112 w 11244046"/>
              <a:gd name="connsiteY39" fmla="*/ 1149021 h 5221487"/>
              <a:gd name="connsiteX40" fmla="*/ 12645 w 11244046"/>
              <a:gd name="connsiteY40" fmla="*/ 632554 h 5221487"/>
              <a:gd name="connsiteX0" fmla="*/ 12645 w 11244046"/>
              <a:gd name="connsiteY0" fmla="*/ 632554 h 5239486"/>
              <a:gd name="connsiteX1" fmla="*/ 159542 w 11244046"/>
              <a:gd name="connsiteY1" fmla="*/ 208797 h 5239486"/>
              <a:gd name="connsiteX2" fmla="*/ 538444 w 11244046"/>
              <a:gd name="connsiteY2" fmla="*/ 80816 h 5239486"/>
              <a:gd name="connsiteX3" fmla="*/ 1139558 w 11244046"/>
              <a:gd name="connsiteY3" fmla="*/ 236314 h 5239486"/>
              <a:gd name="connsiteX4" fmla="*/ 1536645 w 11244046"/>
              <a:gd name="connsiteY4" fmla="*/ 353154 h 5239486"/>
              <a:gd name="connsiteX5" fmla="*/ 2180112 w 11244046"/>
              <a:gd name="connsiteY5" fmla="*/ 285421 h 5239486"/>
              <a:gd name="connsiteX6" fmla="*/ 3174790 w 11244046"/>
              <a:gd name="connsiteY6" fmla="*/ 1787 h 5239486"/>
              <a:gd name="connsiteX7" fmla="*/ 4305245 w 11244046"/>
              <a:gd name="connsiteY7" fmla="*/ 200754 h 5239486"/>
              <a:gd name="connsiteX8" fmla="*/ 5374025 w 11244046"/>
              <a:gd name="connsiteY8" fmla="*/ 861649 h 5239486"/>
              <a:gd name="connsiteX9" fmla="*/ 7321391 w 11244046"/>
              <a:gd name="connsiteY9" fmla="*/ 1012888 h 5239486"/>
              <a:gd name="connsiteX10" fmla="*/ 8855876 w 11244046"/>
              <a:gd name="connsiteY10" fmla="*/ 1483576 h 5239486"/>
              <a:gd name="connsiteX11" fmla="*/ 10748378 w 11244046"/>
              <a:gd name="connsiteY11" fmla="*/ 2374268 h 5239486"/>
              <a:gd name="connsiteX12" fmla="*/ 11204369 w 11244046"/>
              <a:gd name="connsiteY12" fmla="*/ 3788201 h 5239486"/>
              <a:gd name="connsiteX13" fmla="*/ 9975492 w 11244046"/>
              <a:gd name="connsiteY13" fmla="*/ 4944507 h 5239486"/>
              <a:gd name="connsiteX14" fmla="*/ 8201001 w 11244046"/>
              <a:gd name="connsiteY14" fmla="*/ 4550081 h 5239486"/>
              <a:gd name="connsiteX15" fmla="*/ 7720940 w 11244046"/>
              <a:gd name="connsiteY15" fmla="*/ 4576811 h 5239486"/>
              <a:gd name="connsiteX16" fmla="*/ 7150045 w 11244046"/>
              <a:gd name="connsiteY16" fmla="*/ 4586487 h 5239486"/>
              <a:gd name="connsiteX17" fmla="*/ 7150045 w 11244046"/>
              <a:gd name="connsiteY17" fmla="*/ 4586487 h 5239486"/>
              <a:gd name="connsiteX18" fmla="*/ 5524445 w 11244046"/>
              <a:gd name="connsiteY18" fmla="*/ 5213021 h 5239486"/>
              <a:gd name="connsiteX19" fmla="*/ 5058778 w 11244046"/>
              <a:gd name="connsiteY19" fmla="*/ 5102954 h 5239486"/>
              <a:gd name="connsiteX20" fmla="*/ 4735352 w 11244046"/>
              <a:gd name="connsiteY20" fmla="*/ 4917534 h 5239486"/>
              <a:gd name="connsiteX21" fmla="*/ 4462725 w 11244046"/>
              <a:gd name="connsiteY21" fmla="*/ 4717721 h 5239486"/>
              <a:gd name="connsiteX22" fmla="*/ 3753218 w 11244046"/>
              <a:gd name="connsiteY22" fmla="*/ 4400009 h 5239486"/>
              <a:gd name="connsiteX23" fmla="*/ 3517422 w 11244046"/>
              <a:gd name="connsiteY23" fmla="*/ 4083567 h 5239486"/>
              <a:gd name="connsiteX24" fmla="*/ 3337928 w 11244046"/>
              <a:gd name="connsiteY24" fmla="*/ 3336384 h 5239486"/>
              <a:gd name="connsiteX25" fmla="*/ 2848978 w 11244046"/>
              <a:gd name="connsiteY25" fmla="*/ 2939721 h 5239486"/>
              <a:gd name="connsiteX26" fmla="*/ 2747378 w 11244046"/>
              <a:gd name="connsiteY26" fmla="*/ 2673021 h 5239486"/>
              <a:gd name="connsiteX27" fmla="*/ 2772778 w 11244046"/>
              <a:gd name="connsiteY27" fmla="*/ 2461354 h 5239486"/>
              <a:gd name="connsiteX28" fmla="*/ 2789712 w 11244046"/>
              <a:gd name="connsiteY28" fmla="*/ 2359754 h 5239486"/>
              <a:gd name="connsiteX29" fmla="*/ 2764312 w 11244046"/>
              <a:gd name="connsiteY29" fmla="*/ 2190421 h 5239486"/>
              <a:gd name="connsiteX30" fmla="*/ 2578045 w 11244046"/>
              <a:gd name="connsiteY30" fmla="*/ 1936421 h 5239486"/>
              <a:gd name="connsiteX31" fmla="*/ 2417178 w 11244046"/>
              <a:gd name="connsiteY31" fmla="*/ 1792487 h 5239486"/>
              <a:gd name="connsiteX32" fmla="*/ 2222445 w 11244046"/>
              <a:gd name="connsiteY32" fmla="*/ 1741687 h 5239486"/>
              <a:gd name="connsiteX33" fmla="*/ 1943045 w 11244046"/>
              <a:gd name="connsiteY33" fmla="*/ 1809421 h 5239486"/>
              <a:gd name="connsiteX34" fmla="*/ 1435045 w 11244046"/>
              <a:gd name="connsiteY34" fmla="*/ 2004154 h 5239486"/>
              <a:gd name="connsiteX35" fmla="*/ 689978 w 11244046"/>
              <a:gd name="connsiteY35" fmla="*/ 1961821 h 5239486"/>
              <a:gd name="connsiteX36" fmla="*/ 393645 w 11244046"/>
              <a:gd name="connsiteY36" fmla="*/ 1851754 h 5239486"/>
              <a:gd name="connsiteX37" fmla="*/ 130332 w 11244046"/>
              <a:gd name="connsiteY37" fmla="*/ 1606221 h 5239486"/>
              <a:gd name="connsiteX38" fmla="*/ 21112 w 11244046"/>
              <a:gd name="connsiteY38" fmla="*/ 1149021 h 5239486"/>
              <a:gd name="connsiteX39" fmla="*/ 12645 w 11244046"/>
              <a:gd name="connsiteY39" fmla="*/ 632554 h 5239486"/>
              <a:gd name="connsiteX0" fmla="*/ 12645 w 11244046"/>
              <a:gd name="connsiteY0" fmla="*/ 632554 h 5239486"/>
              <a:gd name="connsiteX1" fmla="*/ 159542 w 11244046"/>
              <a:gd name="connsiteY1" fmla="*/ 208797 h 5239486"/>
              <a:gd name="connsiteX2" fmla="*/ 538444 w 11244046"/>
              <a:gd name="connsiteY2" fmla="*/ 80816 h 5239486"/>
              <a:gd name="connsiteX3" fmla="*/ 1139558 w 11244046"/>
              <a:gd name="connsiteY3" fmla="*/ 236314 h 5239486"/>
              <a:gd name="connsiteX4" fmla="*/ 1536645 w 11244046"/>
              <a:gd name="connsiteY4" fmla="*/ 353154 h 5239486"/>
              <a:gd name="connsiteX5" fmla="*/ 2180112 w 11244046"/>
              <a:gd name="connsiteY5" fmla="*/ 285421 h 5239486"/>
              <a:gd name="connsiteX6" fmla="*/ 3174790 w 11244046"/>
              <a:gd name="connsiteY6" fmla="*/ 1787 h 5239486"/>
              <a:gd name="connsiteX7" fmla="*/ 4305245 w 11244046"/>
              <a:gd name="connsiteY7" fmla="*/ 200754 h 5239486"/>
              <a:gd name="connsiteX8" fmla="*/ 5374025 w 11244046"/>
              <a:gd name="connsiteY8" fmla="*/ 861649 h 5239486"/>
              <a:gd name="connsiteX9" fmla="*/ 7321391 w 11244046"/>
              <a:gd name="connsiteY9" fmla="*/ 1012888 h 5239486"/>
              <a:gd name="connsiteX10" fmla="*/ 8855876 w 11244046"/>
              <a:gd name="connsiteY10" fmla="*/ 1483576 h 5239486"/>
              <a:gd name="connsiteX11" fmla="*/ 10748378 w 11244046"/>
              <a:gd name="connsiteY11" fmla="*/ 2374268 h 5239486"/>
              <a:gd name="connsiteX12" fmla="*/ 11204369 w 11244046"/>
              <a:gd name="connsiteY12" fmla="*/ 3788201 h 5239486"/>
              <a:gd name="connsiteX13" fmla="*/ 9975492 w 11244046"/>
              <a:gd name="connsiteY13" fmla="*/ 4944507 h 5239486"/>
              <a:gd name="connsiteX14" fmla="*/ 8201001 w 11244046"/>
              <a:gd name="connsiteY14" fmla="*/ 4550081 h 5239486"/>
              <a:gd name="connsiteX15" fmla="*/ 7150045 w 11244046"/>
              <a:gd name="connsiteY15" fmla="*/ 4586487 h 5239486"/>
              <a:gd name="connsiteX16" fmla="*/ 7150045 w 11244046"/>
              <a:gd name="connsiteY16" fmla="*/ 4586487 h 5239486"/>
              <a:gd name="connsiteX17" fmla="*/ 5524445 w 11244046"/>
              <a:gd name="connsiteY17" fmla="*/ 5213021 h 5239486"/>
              <a:gd name="connsiteX18" fmla="*/ 5058778 w 11244046"/>
              <a:gd name="connsiteY18" fmla="*/ 5102954 h 5239486"/>
              <a:gd name="connsiteX19" fmla="*/ 4735352 w 11244046"/>
              <a:gd name="connsiteY19" fmla="*/ 4917534 h 5239486"/>
              <a:gd name="connsiteX20" fmla="*/ 4462725 w 11244046"/>
              <a:gd name="connsiteY20" fmla="*/ 4717721 h 5239486"/>
              <a:gd name="connsiteX21" fmla="*/ 3753218 w 11244046"/>
              <a:gd name="connsiteY21" fmla="*/ 4400009 h 5239486"/>
              <a:gd name="connsiteX22" fmla="*/ 3517422 w 11244046"/>
              <a:gd name="connsiteY22" fmla="*/ 4083567 h 5239486"/>
              <a:gd name="connsiteX23" fmla="*/ 3337928 w 11244046"/>
              <a:gd name="connsiteY23" fmla="*/ 3336384 h 5239486"/>
              <a:gd name="connsiteX24" fmla="*/ 2848978 w 11244046"/>
              <a:gd name="connsiteY24" fmla="*/ 2939721 h 5239486"/>
              <a:gd name="connsiteX25" fmla="*/ 2747378 w 11244046"/>
              <a:gd name="connsiteY25" fmla="*/ 2673021 h 5239486"/>
              <a:gd name="connsiteX26" fmla="*/ 2772778 w 11244046"/>
              <a:gd name="connsiteY26" fmla="*/ 2461354 h 5239486"/>
              <a:gd name="connsiteX27" fmla="*/ 2789712 w 11244046"/>
              <a:gd name="connsiteY27" fmla="*/ 2359754 h 5239486"/>
              <a:gd name="connsiteX28" fmla="*/ 2764312 w 11244046"/>
              <a:gd name="connsiteY28" fmla="*/ 2190421 h 5239486"/>
              <a:gd name="connsiteX29" fmla="*/ 2578045 w 11244046"/>
              <a:gd name="connsiteY29" fmla="*/ 1936421 h 5239486"/>
              <a:gd name="connsiteX30" fmla="*/ 2417178 w 11244046"/>
              <a:gd name="connsiteY30" fmla="*/ 1792487 h 5239486"/>
              <a:gd name="connsiteX31" fmla="*/ 2222445 w 11244046"/>
              <a:gd name="connsiteY31" fmla="*/ 1741687 h 5239486"/>
              <a:gd name="connsiteX32" fmla="*/ 1943045 w 11244046"/>
              <a:gd name="connsiteY32" fmla="*/ 1809421 h 5239486"/>
              <a:gd name="connsiteX33" fmla="*/ 1435045 w 11244046"/>
              <a:gd name="connsiteY33" fmla="*/ 2004154 h 5239486"/>
              <a:gd name="connsiteX34" fmla="*/ 689978 w 11244046"/>
              <a:gd name="connsiteY34" fmla="*/ 1961821 h 5239486"/>
              <a:gd name="connsiteX35" fmla="*/ 393645 w 11244046"/>
              <a:gd name="connsiteY35" fmla="*/ 1851754 h 5239486"/>
              <a:gd name="connsiteX36" fmla="*/ 130332 w 11244046"/>
              <a:gd name="connsiteY36" fmla="*/ 1606221 h 5239486"/>
              <a:gd name="connsiteX37" fmla="*/ 21112 w 11244046"/>
              <a:gd name="connsiteY37" fmla="*/ 1149021 h 5239486"/>
              <a:gd name="connsiteX38" fmla="*/ 12645 w 11244046"/>
              <a:gd name="connsiteY38" fmla="*/ 632554 h 5239486"/>
              <a:gd name="connsiteX0" fmla="*/ 12645 w 11244046"/>
              <a:gd name="connsiteY0" fmla="*/ 632554 h 5113489"/>
              <a:gd name="connsiteX1" fmla="*/ 159542 w 11244046"/>
              <a:gd name="connsiteY1" fmla="*/ 208797 h 5113489"/>
              <a:gd name="connsiteX2" fmla="*/ 538444 w 11244046"/>
              <a:gd name="connsiteY2" fmla="*/ 80816 h 5113489"/>
              <a:gd name="connsiteX3" fmla="*/ 1139558 w 11244046"/>
              <a:gd name="connsiteY3" fmla="*/ 236314 h 5113489"/>
              <a:gd name="connsiteX4" fmla="*/ 1536645 w 11244046"/>
              <a:gd name="connsiteY4" fmla="*/ 353154 h 5113489"/>
              <a:gd name="connsiteX5" fmla="*/ 2180112 w 11244046"/>
              <a:gd name="connsiteY5" fmla="*/ 285421 h 5113489"/>
              <a:gd name="connsiteX6" fmla="*/ 3174790 w 11244046"/>
              <a:gd name="connsiteY6" fmla="*/ 1787 h 5113489"/>
              <a:gd name="connsiteX7" fmla="*/ 4305245 w 11244046"/>
              <a:gd name="connsiteY7" fmla="*/ 200754 h 5113489"/>
              <a:gd name="connsiteX8" fmla="*/ 5374025 w 11244046"/>
              <a:gd name="connsiteY8" fmla="*/ 861649 h 5113489"/>
              <a:gd name="connsiteX9" fmla="*/ 7321391 w 11244046"/>
              <a:gd name="connsiteY9" fmla="*/ 1012888 h 5113489"/>
              <a:gd name="connsiteX10" fmla="*/ 8855876 w 11244046"/>
              <a:gd name="connsiteY10" fmla="*/ 1483576 h 5113489"/>
              <a:gd name="connsiteX11" fmla="*/ 10748378 w 11244046"/>
              <a:gd name="connsiteY11" fmla="*/ 2374268 h 5113489"/>
              <a:gd name="connsiteX12" fmla="*/ 11204369 w 11244046"/>
              <a:gd name="connsiteY12" fmla="*/ 3788201 h 5113489"/>
              <a:gd name="connsiteX13" fmla="*/ 9975492 w 11244046"/>
              <a:gd name="connsiteY13" fmla="*/ 4944507 h 5113489"/>
              <a:gd name="connsiteX14" fmla="*/ 8201001 w 11244046"/>
              <a:gd name="connsiteY14" fmla="*/ 4550081 h 5113489"/>
              <a:gd name="connsiteX15" fmla="*/ 7150045 w 11244046"/>
              <a:gd name="connsiteY15" fmla="*/ 4586487 h 5113489"/>
              <a:gd name="connsiteX16" fmla="*/ 7150045 w 11244046"/>
              <a:gd name="connsiteY16" fmla="*/ 4586487 h 5113489"/>
              <a:gd name="connsiteX17" fmla="*/ 5058778 w 11244046"/>
              <a:gd name="connsiteY17" fmla="*/ 5102954 h 5113489"/>
              <a:gd name="connsiteX18" fmla="*/ 4735352 w 11244046"/>
              <a:gd name="connsiteY18" fmla="*/ 4917534 h 5113489"/>
              <a:gd name="connsiteX19" fmla="*/ 4462725 w 11244046"/>
              <a:gd name="connsiteY19" fmla="*/ 4717721 h 5113489"/>
              <a:gd name="connsiteX20" fmla="*/ 3753218 w 11244046"/>
              <a:gd name="connsiteY20" fmla="*/ 4400009 h 5113489"/>
              <a:gd name="connsiteX21" fmla="*/ 3517422 w 11244046"/>
              <a:gd name="connsiteY21" fmla="*/ 4083567 h 5113489"/>
              <a:gd name="connsiteX22" fmla="*/ 3337928 w 11244046"/>
              <a:gd name="connsiteY22" fmla="*/ 3336384 h 5113489"/>
              <a:gd name="connsiteX23" fmla="*/ 2848978 w 11244046"/>
              <a:gd name="connsiteY23" fmla="*/ 2939721 h 5113489"/>
              <a:gd name="connsiteX24" fmla="*/ 2747378 w 11244046"/>
              <a:gd name="connsiteY24" fmla="*/ 2673021 h 5113489"/>
              <a:gd name="connsiteX25" fmla="*/ 2772778 w 11244046"/>
              <a:gd name="connsiteY25" fmla="*/ 2461354 h 5113489"/>
              <a:gd name="connsiteX26" fmla="*/ 2789712 w 11244046"/>
              <a:gd name="connsiteY26" fmla="*/ 2359754 h 5113489"/>
              <a:gd name="connsiteX27" fmla="*/ 2764312 w 11244046"/>
              <a:gd name="connsiteY27" fmla="*/ 2190421 h 5113489"/>
              <a:gd name="connsiteX28" fmla="*/ 2578045 w 11244046"/>
              <a:gd name="connsiteY28" fmla="*/ 1936421 h 5113489"/>
              <a:gd name="connsiteX29" fmla="*/ 2417178 w 11244046"/>
              <a:gd name="connsiteY29" fmla="*/ 1792487 h 5113489"/>
              <a:gd name="connsiteX30" fmla="*/ 2222445 w 11244046"/>
              <a:gd name="connsiteY30" fmla="*/ 1741687 h 5113489"/>
              <a:gd name="connsiteX31" fmla="*/ 1943045 w 11244046"/>
              <a:gd name="connsiteY31" fmla="*/ 1809421 h 5113489"/>
              <a:gd name="connsiteX32" fmla="*/ 1435045 w 11244046"/>
              <a:gd name="connsiteY32" fmla="*/ 2004154 h 5113489"/>
              <a:gd name="connsiteX33" fmla="*/ 689978 w 11244046"/>
              <a:gd name="connsiteY33" fmla="*/ 1961821 h 5113489"/>
              <a:gd name="connsiteX34" fmla="*/ 393645 w 11244046"/>
              <a:gd name="connsiteY34" fmla="*/ 1851754 h 5113489"/>
              <a:gd name="connsiteX35" fmla="*/ 130332 w 11244046"/>
              <a:gd name="connsiteY35" fmla="*/ 1606221 h 5113489"/>
              <a:gd name="connsiteX36" fmla="*/ 21112 w 11244046"/>
              <a:gd name="connsiteY36" fmla="*/ 1149021 h 5113489"/>
              <a:gd name="connsiteX37" fmla="*/ 12645 w 11244046"/>
              <a:gd name="connsiteY37" fmla="*/ 632554 h 5113489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4735352 w 11244046"/>
              <a:gd name="connsiteY17" fmla="*/ 4917534 h 4962986"/>
              <a:gd name="connsiteX18" fmla="*/ 4462725 w 11244046"/>
              <a:gd name="connsiteY18" fmla="*/ 4717721 h 4962986"/>
              <a:gd name="connsiteX19" fmla="*/ 3753218 w 11244046"/>
              <a:gd name="connsiteY19" fmla="*/ 4400009 h 4962986"/>
              <a:gd name="connsiteX20" fmla="*/ 3517422 w 11244046"/>
              <a:gd name="connsiteY20" fmla="*/ 4083567 h 4962986"/>
              <a:gd name="connsiteX21" fmla="*/ 3337928 w 11244046"/>
              <a:gd name="connsiteY21" fmla="*/ 3336384 h 4962986"/>
              <a:gd name="connsiteX22" fmla="*/ 2848978 w 11244046"/>
              <a:gd name="connsiteY22" fmla="*/ 2939721 h 4962986"/>
              <a:gd name="connsiteX23" fmla="*/ 2747378 w 11244046"/>
              <a:gd name="connsiteY23" fmla="*/ 2673021 h 4962986"/>
              <a:gd name="connsiteX24" fmla="*/ 2772778 w 11244046"/>
              <a:gd name="connsiteY24" fmla="*/ 2461354 h 4962986"/>
              <a:gd name="connsiteX25" fmla="*/ 2789712 w 11244046"/>
              <a:gd name="connsiteY25" fmla="*/ 2359754 h 4962986"/>
              <a:gd name="connsiteX26" fmla="*/ 2764312 w 11244046"/>
              <a:gd name="connsiteY26" fmla="*/ 2190421 h 4962986"/>
              <a:gd name="connsiteX27" fmla="*/ 2578045 w 11244046"/>
              <a:gd name="connsiteY27" fmla="*/ 1936421 h 4962986"/>
              <a:gd name="connsiteX28" fmla="*/ 2417178 w 11244046"/>
              <a:gd name="connsiteY28" fmla="*/ 1792487 h 4962986"/>
              <a:gd name="connsiteX29" fmla="*/ 2222445 w 11244046"/>
              <a:gd name="connsiteY29" fmla="*/ 1741687 h 4962986"/>
              <a:gd name="connsiteX30" fmla="*/ 1943045 w 11244046"/>
              <a:gd name="connsiteY30" fmla="*/ 1809421 h 4962986"/>
              <a:gd name="connsiteX31" fmla="*/ 1435045 w 11244046"/>
              <a:gd name="connsiteY31" fmla="*/ 2004154 h 4962986"/>
              <a:gd name="connsiteX32" fmla="*/ 689978 w 11244046"/>
              <a:gd name="connsiteY32" fmla="*/ 1961821 h 4962986"/>
              <a:gd name="connsiteX33" fmla="*/ 393645 w 11244046"/>
              <a:gd name="connsiteY33" fmla="*/ 1851754 h 4962986"/>
              <a:gd name="connsiteX34" fmla="*/ 130332 w 11244046"/>
              <a:gd name="connsiteY34" fmla="*/ 1606221 h 4962986"/>
              <a:gd name="connsiteX35" fmla="*/ 21112 w 11244046"/>
              <a:gd name="connsiteY35" fmla="*/ 1149021 h 4962986"/>
              <a:gd name="connsiteX36" fmla="*/ 12645 w 11244046"/>
              <a:gd name="connsiteY36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4462725 w 11244046"/>
              <a:gd name="connsiteY17" fmla="*/ 4717721 h 4962986"/>
              <a:gd name="connsiteX18" fmla="*/ 3753218 w 11244046"/>
              <a:gd name="connsiteY18" fmla="*/ 4400009 h 4962986"/>
              <a:gd name="connsiteX19" fmla="*/ 3517422 w 11244046"/>
              <a:gd name="connsiteY19" fmla="*/ 4083567 h 4962986"/>
              <a:gd name="connsiteX20" fmla="*/ 3337928 w 11244046"/>
              <a:gd name="connsiteY20" fmla="*/ 3336384 h 4962986"/>
              <a:gd name="connsiteX21" fmla="*/ 2848978 w 11244046"/>
              <a:gd name="connsiteY21" fmla="*/ 2939721 h 4962986"/>
              <a:gd name="connsiteX22" fmla="*/ 2747378 w 11244046"/>
              <a:gd name="connsiteY22" fmla="*/ 2673021 h 4962986"/>
              <a:gd name="connsiteX23" fmla="*/ 2772778 w 11244046"/>
              <a:gd name="connsiteY23" fmla="*/ 2461354 h 4962986"/>
              <a:gd name="connsiteX24" fmla="*/ 2789712 w 11244046"/>
              <a:gd name="connsiteY24" fmla="*/ 2359754 h 4962986"/>
              <a:gd name="connsiteX25" fmla="*/ 2764312 w 11244046"/>
              <a:gd name="connsiteY25" fmla="*/ 2190421 h 4962986"/>
              <a:gd name="connsiteX26" fmla="*/ 2578045 w 11244046"/>
              <a:gd name="connsiteY26" fmla="*/ 1936421 h 4962986"/>
              <a:gd name="connsiteX27" fmla="*/ 2417178 w 11244046"/>
              <a:gd name="connsiteY27" fmla="*/ 1792487 h 4962986"/>
              <a:gd name="connsiteX28" fmla="*/ 2222445 w 11244046"/>
              <a:gd name="connsiteY28" fmla="*/ 1741687 h 4962986"/>
              <a:gd name="connsiteX29" fmla="*/ 1943045 w 11244046"/>
              <a:gd name="connsiteY29" fmla="*/ 1809421 h 4962986"/>
              <a:gd name="connsiteX30" fmla="*/ 1435045 w 11244046"/>
              <a:gd name="connsiteY30" fmla="*/ 2004154 h 4962986"/>
              <a:gd name="connsiteX31" fmla="*/ 689978 w 11244046"/>
              <a:gd name="connsiteY31" fmla="*/ 1961821 h 4962986"/>
              <a:gd name="connsiteX32" fmla="*/ 393645 w 11244046"/>
              <a:gd name="connsiteY32" fmla="*/ 1851754 h 4962986"/>
              <a:gd name="connsiteX33" fmla="*/ 130332 w 11244046"/>
              <a:gd name="connsiteY33" fmla="*/ 1606221 h 4962986"/>
              <a:gd name="connsiteX34" fmla="*/ 21112 w 11244046"/>
              <a:gd name="connsiteY34" fmla="*/ 1149021 h 4962986"/>
              <a:gd name="connsiteX35" fmla="*/ 12645 w 11244046"/>
              <a:gd name="connsiteY35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3753218 w 11244046"/>
              <a:gd name="connsiteY17" fmla="*/ 4400009 h 4962986"/>
              <a:gd name="connsiteX18" fmla="*/ 3517422 w 11244046"/>
              <a:gd name="connsiteY18" fmla="*/ 4083567 h 4962986"/>
              <a:gd name="connsiteX19" fmla="*/ 3337928 w 11244046"/>
              <a:gd name="connsiteY19" fmla="*/ 3336384 h 4962986"/>
              <a:gd name="connsiteX20" fmla="*/ 2848978 w 11244046"/>
              <a:gd name="connsiteY20" fmla="*/ 2939721 h 4962986"/>
              <a:gd name="connsiteX21" fmla="*/ 2747378 w 11244046"/>
              <a:gd name="connsiteY21" fmla="*/ 2673021 h 4962986"/>
              <a:gd name="connsiteX22" fmla="*/ 2772778 w 11244046"/>
              <a:gd name="connsiteY22" fmla="*/ 2461354 h 4962986"/>
              <a:gd name="connsiteX23" fmla="*/ 2789712 w 11244046"/>
              <a:gd name="connsiteY23" fmla="*/ 2359754 h 4962986"/>
              <a:gd name="connsiteX24" fmla="*/ 2764312 w 11244046"/>
              <a:gd name="connsiteY24" fmla="*/ 2190421 h 4962986"/>
              <a:gd name="connsiteX25" fmla="*/ 2578045 w 11244046"/>
              <a:gd name="connsiteY25" fmla="*/ 1936421 h 4962986"/>
              <a:gd name="connsiteX26" fmla="*/ 2417178 w 11244046"/>
              <a:gd name="connsiteY26" fmla="*/ 1792487 h 4962986"/>
              <a:gd name="connsiteX27" fmla="*/ 2222445 w 11244046"/>
              <a:gd name="connsiteY27" fmla="*/ 1741687 h 4962986"/>
              <a:gd name="connsiteX28" fmla="*/ 1943045 w 11244046"/>
              <a:gd name="connsiteY28" fmla="*/ 1809421 h 4962986"/>
              <a:gd name="connsiteX29" fmla="*/ 1435045 w 11244046"/>
              <a:gd name="connsiteY29" fmla="*/ 2004154 h 4962986"/>
              <a:gd name="connsiteX30" fmla="*/ 689978 w 11244046"/>
              <a:gd name="connsiteY30" fmla="*/ 1961821 h 4962986"/>
              <a:gd name="connsiteX31" fmla="*/ 393645 w 11244046"/>
              <a:gd name="connsiteY31" fmla="*/ 1851754 h 4962986"/>
              <a:gd name="connsiteX32" fmla="*/ 130332 w 11244046"/>
              <a:gd name="connsiteY32" fmla="*/ 1606221 h 4962986"/>
              <a:gd name="connsiteX33" fmla="*/ 21112 w 11244046"/>
              <a:gd name="connsiteY33" fmla="*/ 1149021 h 4962986"/>
              <a:gd name="connsiteX34" fmla="*/ 12645 w 11244046"/>
              <a:gd name="connsiteY34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3517422 w 11244046"/>
              <a:gd name="connsiteY17" fmla="*/ 4083567 h 4962986"/>
              <a:gd name="connsiteX18" fmla="*/ 3337928 w 11244046"/>
              <a:gd name="connsiteY18" fmla="*/ 3336384 h 4962986"/>
              <a:gd name="connsiteX19" fmla="*/ 2848978 w 11244046"/>
              <a:gd name="connsiteY19" fmla="*/ 2939721 h 4962986"/>
              <a:gd name="connsiteX20" fmla="*/ 2747378 w 11244046"/>
              <a:gd name="connsiteY20" fmla="*/ 2673021 h 4962986"/>
              <a:gd name="connsiteX21" fmla="*/ 2772778 w 11244046"/>
              <a:gd name="connsiteY21" fmla="*/ 2461354 h 4962986"/>
              <a:gd name="connsiteX22" fmla="*/ 2789712 w 11244046"/>
              <a:gd name="connsiteY22" fmla="*/ 2359754 h 4962986"/>
              <a:gd name="connsiteX23" fmla="*/ 2764312 w 11244046"/>
              <a:gd name="connsiteY23" fmla="*/ 2190421 h 4962986"/>
              <a:gd name="connsiteX24" fmla="*/ 2578045 w 11244046"/>
              <a:gd name="connsiteY24" fmla="*/ 1936421 h 4962986"/>
              <a:gd name="connsiteX25" fmla="*/ 2417178 w 11244046"/>
              <a:gd name="connsiteY25" fmla="*/ 1792487 h 4962986"/>
              <a:gd name="connsiteX26" fmla="*/ 2222445 w 11244046"/>
              <a:gd name="connsiteY26" fmla="*/ 1741687 h 4962986"/>
              <a:gd name="connsiteX27" fmla="*/ 1943045 w 11244046"/>
              <a:gd name="connsiteY27" fmla="*/ 1809421 h 4962986"/>
              <a:gd name="connsiteX28" fmla="*/ 1435045 w 11244046"/>
              <a:gd name="connsiteY28" fmla="*/ 2004154 h 4962986"/>
              <a:gd name="connsiteX29" fmla="*/ 689978 w 11244046"/>
              <a:gd name="connsiteY29" fmla="*/ 1961821 h 4962986"/>
              <a:gd name="connsiteX30" fmla="*/ 393645 w 11244046"/>
              <a:gd name="connsiteY30" fmla="*/ 1851754 h 4962986"/>
              <a:gd name="connsiteX31" fmla="*/ 130332 w 11244046"/>
              <a:gd name="connsiteY31" fmla="*/ 1606221 h 4962986"/>
              <a:gd name="connsiteX32" fmla="*/ 21112 w 11244046"/>
              <a:gd name="connsiteY32" fmla="*/ 1149021 h 4962986"/>
              <a:gd name="connsiteX33" fmla="*/ 12645 w 11244046"/>
              <a:gd name="connsiteY33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3337928 w 11244046"/>
              <a:gd name="connsiteY17" fmla="*/ 3336384 h 4962986"/>
              <a:gd name="connsiteX18" fmla="*/ 2848978 w 11244046"/>
              <a:gd name="connsiteY18" fmla="*/ 2939721 h 4962986"/>
              <a:gd name="connsiteX19" fmla="*/ 2747378 w 11244046"/>
              <a:gd name="connsiteY19" fmla="*/ 2673021 h 4962986"/>
              <a:gd name="connsiteX20" fmla="*/ 2772778 w 11244046"/>
              <a:gd name="connsiteY20" fmla="*/ 2461354 h 4962986"/>
              <a:gd name="connsiteX21" fmla="*/ 2789712 w 11244046"/>
              <a:gd name="connsiteY21" fmla="*/ 2359754 h 4962986"/>
              <a:gd name="connsiteX22" fmla="*/ 2764312 w 11244046"/>
              <a:gd name="connsiteY22" fmla="*/ 2190421 h 4962986"/>
              <a:gd name="connsiteX23" fmla="*/ 2578045 w 11244046"/>
              <a:gd name="connsiteY23" fmla="*/ 1936421 h 4962986"/>
              <a:gd name="connsiteX24" fmla="*/ 2417178 w 11244046"/>
              <a:gd name="connsiteY24" fmla="*/ 1792487 h 4962986"/>
              <a:gd name="connsiteX25" fmla="*/ 2222445 w 11244046"/>
              <a:gd name="connsiteY25" fmla="*/ 1741687 h 4962986"/>
              <a:gd name="connsiteX26" fmla="*/ 1943045 w 11244046"/>
              <a:gd name="connsiteY26" fmla="*/ 1809421 h 4962986"/>
              <a:gd name="connsiteX27" fmla="*/ 1435045 w 11244046"/>
              <a:gd name="connsiteY27" fmla="*/ 2004154 h 4962986"/>
              <a:gd name="connsiteX28" fmla="*/ 689978 w 11244046"/>
              <a:gd name="connsiteY28" fmla="*/ 1961821 h 4962986"/>
              <a:gd name="connsiteX29" fmla="*/ 393645 w 11244046"/>
              <a:gd name="connsiteY29" fmla="*/ 1851754 h 4962986"/>
              <a:gd name="connsiteX30" fmla="*/ 130332 w 11244046"/>
              <a:gd name="connsiteY30" fmla="*/ 1606221 h 4962986"/>
              <a:gd name="connsiteX31" fmla="*/ 21112 w 11244046"/>
              <a:gd name="connsiteY31" fmla="*/ 1149021 h 4962986"/>
              <a:gd name="connsiteX32" fmla="*/ 12645 w 11244046"/>
              <a:gd name="connsiteY32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3337928 w 11244046"/>
              <a:gd name="connsiteY17" fmla="*/ 3336384 h 4962986"/>
              <a:gd name="connsiteX18" fmla="*/ 2747378 w 11244046"/>
              <a:gd name="connsiteY18" fmla="*/ 2673021 h 4962986"/>
              <a:gd name="connsiteX19" fmla="*/ 2772778 w 11244046"/>
              <a:gd name="connsiteY19" fmla="*/ 2461354 h 4962986"/>
              <a:gd name="connsiteX20" fmla="*/ 2789712 w 11244046"/>
              <a:gd name="connsiteY20" fmla="*/ 2359754 h 4962986"/>
              <a:gd name="connsiteX21" fmla="*/ 2764312 w 11244046"/>
              <a:gd name="connsiteY21" fmla="*/ 2190421 h 4962986"/>
              <a:gd name="connsiteX22" fmla="*/ 2578045 w 11244046"/>
              <a:gd name="connsiteY22" fmla="*/ 1936421 h 4962986"/>
              <a:gd name="connsiteX23" fmla="*/ 2417178 w 11244046"/>
              <a:gd name="connsiteY23" fmla="*/ 1792487 h 4962986"/>
              <a:gd name="connsiteX24" fmla="*/ 2222445 w 11244046"/>
              <a:gd name="connsiteY24" fmla="*/ 1741687 h 4962986"/>
              <a:gd name="connsiteX25" fmla="*/ 1943045 w 11244046"/>
              <a:gd name="connsiteY25" fmla="*/ 1809421 h 4962986"/>
              <a:gd name="connsiteX26" fmla="*/ 1435045 w 11244046"/>
              <a:gd name="connsiteY26" fmla="*/ 2004154 h 4962986"/>
              <a:gd name="connsiteX27" fmla="*/ 689978 w 11244046"/>
              <a:gd name="connsiteY27" fmla="*/ 1961821 h 4962986"/>
              <a:gd name="connsiteX28" fmla="*/ 393645 w 11244046"/>
              <a:gd name="connsiteY28" fmla="*/ 1851754 h 4962986"/>
              <a:gd name="connsiteX29" fmla="*/ 130332 w 11244046"/>
              <a:gd name="connsiteY29" fmla="*/ 1606221 h 4962986"/>
              <a:gd name="connsiteX30" fmla="*/ 21112 w 11244046"/>
              <a:gd name="connsiteY30" fmla="*/ 1149021 h 4962986"/>
              <a:gd name="connsiteX31" fmla="*/ 12645 w 11244046"/>
              <a:gd name="connsiteY31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4208785 w 11244046"/>
              <a:gd name="connsiteY17" fmla="*/ 3956869 h 4962986"/>
              <a:gd name="connsiteX18" fmla="*/ 2747378 w 11244046"/>
              <a:gd name="connsiteY18" fmla="*/ 2673021 h 4962986"/>
              <a:gd name="connsiteX19" fmla="*/ 2772778 w 11244046"/>
              <a:gd name="connsiteY19" fmla="*/ 2461354 h 4962986"/>
              <a:gd name="connsiteX20" fmla="*/ 2789712 w 11244046"/>
              <a:gd name="connsiteY20" fmla="*/ 2359754 h 4962986"/>
              <a:gd name="connsiteX21" fmla="*/ 2764312 w 11244046"/>
              <a:gd name="connsiteY21" fmla="*/ 2190421 h 4962986"/>
              <a:gd name="connsiteX22" fmla="*/ 2578045 w 11244046"/>
              <a:gd name="connsiteY22" fmla="*/ 1936421 h 4962986"/>
              <a:gd name="connsiteX23" fmla="*/ 2417178 w 11244046"/>
              <a:gd name="connsiteY23" fmla="*/ 1792487 h 4962986"/>
              <a:gd name="connsiteX24" fmla="*/ 2222445 w 11244046"/>
              <a:gd name="connsiteY24" fmla="*/ 1741687 h 4962986"/>
              <a:gd name="connsiteX25" fmla="*/ 1943045 w 11244046"/>
              <a:gd name="connsiteY25" fmla="*/ 1809421 h 4962986"/>
              <a:gd name="connsiteX26" fmla="*/ 1435045 w 11244046"/>
              <a:gd name="connsiteY26" fmla="*/ 2004154 h 4962986"/>
              <a:gd name="connsiteX27" fmla="*/ 689978 w 11244046"/>
              <a:gd name="connsiteY27" fmla="*/ 1961821 h 4962986"/>
              <a:gd name="connsiteX28" fmla="*/ 393645 w 11244046"/>
              <a:gd name="connsiteY28" fmla="*/ 1851754 h 4962986"/>
              <a:gd name="connsiteX29" fmla="*/ 130332 w 11244046"/>
              <a:gd name="connsiteY29" fmla="*/ 1606221 h 4962986"/>
              <a:gd name="connsiteX30" fmla="*/ 21112 w 11244046"/>
              <a:gd name="connsiteY30" fmla="*/ 1149021 h 4962986"/>
              <a:gd name="connsiteX31" fmla="*/ 12645 w 11244046"/>
              <a:gd name="connsiteY31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5357736 w 11244046"/>
              <a:gd name="connsiteY17" fmla="*/ 4449828 h 4962986"/>
              <a:gd name="connsiteX18" fmla="*/ 4208785 w 11244046"/>
              <a:gd name="connsiteY18" fmla="*/ 3956869 h 4962986"/>
              <a:gd name="connsiteX19" fmla="*/ 2747378 w 11244046"/>
              <a:gd name="connsiteY19" fmla="*/ 2673021 h 4962986"/>
              <a:gd name="connsiteX20" fmla="*/ 2772778 w 11244046"/>
              <a:gd name="connsiteY20" fmla="*/ 2461354 h 4962986"/>
              <a:gd name="connsiteX21" fmla="*/ 2789712 w 11244046"/>
              <a:gd name="connsiteY21" fmla="*/ 2359754 h 4962986"/>
              <a:gd name="connsiteX22" fmla="*/ 2764312 w 11244046"/>
              <a:gd name="connsiteY22" fmla="*/ 2190421 h 4962986"/>
              <a:gd name="connsiteX23" fmla="*/ 2578045 w 11244046"/>
              <a:gd name="connsiteY23" fmla="*/ 1936421 h 4962986"/>
              <a:gd name="connsiteX24" fmla="*/ 2417178 w 11244046"/>
              <a:gd name="connsiteY24" fmla="*/ 1792487 h 4962986"/>
              <a:gd name="connsiteX25" fmla="*/ 2222445 w 11244046"/>
              <a:gd name="connsiteY25" fmla="*/ 1741687 h 4962986"/>
              <a:gd name="connsiteX26" fmla="*/ 1943045 w 11244046"/>
              <a:gd name="connsiteY26" fmla="*/ 1809421 h 4962986"/>
              <a:gd name="connsiteX27" fmla="*/ 1435045 w 11244046"/>
              <a:gd name="connsiteY27" fmla="*/ 2004154 h 4962986"/>
              <a:gd name="connsiteX28" fmla="*/ 689978 w 11244046"/>
              <a:gd name="connsiteY28" fmla="*/ 1961821 h 4962986"/>
              <a:gd name="connsiteX29" fmla="*/ 393645 w 11244046"/>
              <a:gd name="connsiteY29" fmla="*/ 1851754 h 4962986"/>
              <a:gd name="connsiteX30" fmla="*/ 130332 w 11244046"/>
              <a:gd name="connsiteY30" fmla="*/ 1606221 h 4962986"/>
              <a:gd name="connsiteX31" fmla="*/ 21112 w 11244046"/>
              <a:gd name="connsiteY31" fmla="*/ 1149021 h 4962986"/>
              <a:gd name="connsiteX32" fmla="*/ 12645 w 11244046"/>
              <a:gd name="connsiteY32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50045 w 11244046"/>
              <a:gd name="connsiteY16" fmla="*/ 4586487 h 4962986"/>
              <a:gd name="connsiteX17" fmla="*/ 5314193 w 11244046"/>
              <a:gd name="connsiteY17" fmla="*/ 4526028 h 4962986"/>
              <a:gd name="connsiteX18" fmla="*/ 4208785 w 11244046"/>
              <a:gd name="connsiteY18" fmla="*/ 3956869 h 4962986"/>
              <a:gd name="connsiteX19" fmla="*/ 2747378 w 11244046"/>
              <a:gd name="connsiteY19" fmla="*/ 2673021 h 4962986"/>
              <a:gd name="connsiteX20" fmla="*/ 2772778 w 11244046"/>
              <a:gd name="connsiteY20" fmla="*/ 2461354 h 4962986"/>
              <a:gd name="connsiteX21" fmla="*/ 2789712 w 11244046"/>
              <a:gd name="connsiteY21" fmla="*/ 2359754 h 4962986"/>
              <a:gd name="connsiteX22" fmla="*/ 2764312 w 11244046"/>
              <a:gd name="connsiteY22" fmla="*/ 2190421 h 4962986"/>
              <a:gd name="connsiteX23" fmla="*/ 2578045 w 11244046"/>
              <a:gd name="connsiteY23" fmla="*/ 1936421 h 4962986"/>
              <a:gd name="connsiteX24" fmla="*/ 2417178 w 11244046"/>
              <a:gd name="connsiteY24" fmla="*/ 1792487 h 4962986"/>
              <a:gd name="connsiteX25" fmla="*/ 2222445 w 11244046"/>
              <a:gd name="connsiteY25" fmla="*/ 1741687 h 4962986"/>
              <a:gd name="connsiteX26" fmla="*/ 1943045 w 11244046"/>
              <a:gd name="connsiteY26" fmla="*/ 1809421 h 4962986"/>
              <a:gd name="connsiteX27" fmla="*/ 1435045 w 11244046"/>
              <a:gd name="connsiteY27" fmla="*/ 2004154 h 4962986"/>
              <a:gd name="connsiteX28" fmla="*/ 689978 w 11244046"/>
              <a:gd name="connsiteY28" fmla="*/ 1961821 h 4962986"/>
              <a:gd name="connsiteX29" fmla="*/ 393645 w 11244046"/>
              <a:gd name="connsiteY29" fmla="*/ 1851754 h 4962986"/>
              <a:gd name="connsiteX30" fmla="*/ 130332 w 11244046"/>
              <a:gd name="connsiteY30" fmla="*/ 1606221 h 4962986"/>
              <a:gd name="connsiteX31" fmla="*/ 21112 w 11244046"/>
              <a:gd name="connsiteY31" fmla="*/ 1149021 h 4962986"/>
              <a:gd name="connsiteX32" fmla="*/ 12645 w 11244046"/>
              <a:gd name="connsiteY32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7128274 w 11244046"/>
              <a:gd name="connsiteY16" fmla="*/ 4553830 h 4962986"/>
              <a:gd name="connsiteX17" fmla="*/ 5314193 w 11244046"/>
              <a:gd name="connsiteY17" fmla="*/ 4526028 h 4962986"/>
              <a:gd name="connsiteX18" fmla="*/ 4208785 w 11244046"/>
              <a:gd name="connsiteY18" fmla="*/ 3956869 h 4962986"/>
              <a:gd name="connsiteX19" fmla="*/ 2747378 w 11244046"/>
              <a:gd name="connsiteY19" fmla="*/ 2673021 h 4962986"/>
              <a:gd name="connsiteX20" fmla="*/ 2772778 w 11244046"/>
              <a:gd name="connsiteY20" fmla="*/ 2461354 h 4962986"/>
              <a:gd name="connsiteX21" fmla="*/ 2789712 w 11244046"/>
              <a:gd name="connsiteY21" fmla="*/ 2359754 h 4962986"/>
              <a:gd name="connsiteX22" fmla="*/ 2764312 w 11244046"/>
              <a:gd name="connsiteY22" fmla="*/ 2190421 h 4962986"/>
              <a:gd name="connsiteX23" fmla="*/ 2578045 w 11244046"/>
              <a:gd name="connsiteY23" fmla="*/ 1936421 h 4962986"/>
              <a:gd name="connsiteX24" fmla="*/ 2417178 w 11244046"/>
              <a:gd name="connsiteY24" fmla="*/ 1792487 h 4962986"/>
              <a:gd name="connsiteX25" fmla="*/ 2222445 w 11244046"/>
              <a:gd name="connsiteY25" fmla="*/ 1741687 h 4962986"/>
              <a:gd name="connsiteX26" fmla="*/ 1943045 w 11244046"/>
              <a:gd name="connsiteY26" fmla="*/ 1809421 h 4962986"/>
              <a:gd name="connsiteX27" fmla="*/ 1435045 w 11244046"/>
              <a:gd name="connsiteY27" fmla="*/ 2004154 h 4962986"/>
              <a:gd name="connsiteX28" fmla="*/ 689978 w 11244046"/>
              <a:gd name="connsiteY28" fmla="*/ 1961821 h 4962986"/>
              <a:gd name="connsiteX29" fmla="*/ 393645 w 11244046"/>
              <a:gd name="connsiteY29" fmla="*/ 1851754 h 4962986"/>
              <a:gd name="connsiteX30" fmla="*/ 130332 w 11244046"/>
              <a:gd name="connsiteY30" fmla="*/ 1606221 h 4962986"/>
              <a:gd name="connsiteX31" fmla="*/ 21112 w 11244046"/>
              <a:gd name="connsiteY31" fmla="*/ 1149021 h 4962986"/>
              <a:gd name="connsiteX32" fmla="*/ 12645 w 11244046"/>
              <a:gd name="connsiteY32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47378 w 11244046"/>
              <a:gd name="connsiteY18" fmla="*/ 2673021 h 4962986"/>
              <a:gd name="connsiteX19" fmla="*/ 2772778 w 11244046"/>
              <a:gd name="connsiteY19" fmla="*/ 2461354 h 4962986"/>
              <a:gd name="connsiteX20" fmla="*/ 2789712 w 11244046"/>
              <a:gd name="connsiteY20" fmla="*/ 2359754 h 4962986"/>
              <a:gd name="connsiteX21" fmla="*/ 2764312 w 11244046"/>
              <a:gd name="connsiteY21" fmla="*/ 2190421 h 4962986"/>
              <a:gd name="connsiteX22" fmla="*/ 2578045 w 11244046"/>
              <a:gd name="connsiteY22" fmla="*/ 1936421 h 4962986"/>
              <a:gd name="connsiteX23" fmla="*/ 2417178 w 11244046"/>
              <a:gd name="connsiteY23" fmla="*/ 1792487 h 4962986"/>
              <a:gd name="connsiteX24" fmla="*/ 2222445 w 11244046"/>
              <a:gd name="connsiteY24" fmla="*/ 1741687 h 4962986"/>
              <a:gd name="connsiteX25" fmla="*/ 1943045 w 11244046"/>
              <a:gd name="connsiteY25" fmla="*/ 1809421 h 4962986"/>
              <a:gd name="connsiteX26" fmla="*/ 1435045 w 11244046"/>
              <a:gd name="connsiteY26" fmla="*/ 2004154 h 4962986"/>
              <a:gd name="connsiteX27" fmla="*/ 689978 w 11244046"/>
              <a:gd name="connsiteY27" fmla="*/ 1961821 h 4962986"/>
              <a:gd name="connsiteX28" fmla="*/ 393645 w 11244046"/>
              <a:gd name="connsiteY28" fmla="*/ 1851754 h 4962986"/>
              <a:gd name="connsiteX29" fmla="*/ 130332 w 11244046"/>
              <a:gd name="connsiteY29" fmla="*/ 1606221 h 4962986"/>
              <a:gd name="connsiteX30" fmla="*/ 21112 w 11244046"/>
              <a:gd name="connsiteY30" fmla="*/ 1149021 h 4962986"/>
              <a:gd name="connsiteX31" fmla="*/ 12645 w 11244046"/>
              <a:gd name="connsiteY31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72778 w 11244046"/>
              <a:gd name="connsiteY18" fmla="*/ 2461354 h 4962986"/>
              <a:gd name="connsiteX19" fmla="*/ 2789712 w 11244046"/>
              <a:gd name="connsiteY19" fmla="*/ 2359754 h 4962986"/>
              <a:gd name="connsiteX20" fmla="*/ 2764312 w 11244046"/>
              <a:gd name="connsiteY20" fmla="*/ 2190421 h 4962986"/>
              <a:gd name="connsiteX21" fmla="*/ 2578045 w 11244046"/>
              <a:gd name="connsiteY21" fmla="*/ 1936421 h 4962986"/>
              <a:gd name="connsiteX22" fmla="*/ 2417178 w 11244046"/>
              <a:gd name="connsiteY22" fmla="*/ 1792487 h 4962986"/>
              <a:gd name="connsiteX23" fmla="*/ 2222445 w 11244046"/>
              <a:gd name="connsiteY23" fmla="*/ 1741687 h 4962986"/>
              <a:gd name="connsiteX24" fmla="*/ 1943045 w 11244046"/>
              <a:gd name="connsiteY24" fmla="*/ 1809421 h 4962986"/>
              <a:gd name="connsiteX25" fmla="*/ 1435045 w 11244046"/>
              <a:gd name="connsiteY25" fmla="*/ 2004154 h 4962986"/>
              <a:gd name="connsiteX26" fmla="*/ 689978 w 11244046"/>
              <a:gd name="connsiteY26" fmla="*/ 1961821 h 4962986"/>
              <a:gd name="connsiteX27" fmla="*/ 393645 w 11244046"/>
              <a:gd name="connsiteY27" fmla="*/ 1851754 h 4962986"/>
              <a:gd name="connsiteX28" fmla="*/ 130332 w 11244046"/>
              <a:gd name="connsiteY28" fmla="*/ 1606221 h 4962986"/>
              <a:gd name="connsiteX29" fmla="*/ 21112 w 11244046"/>
              <a:gd name="connsiteY29" fmla="*/ 1149021 h 4962986"/>
              <a:gd name="connsiteX30" fmla="*/ 12645 w 11244046"/>
              <a:gd name="connsiteY30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72778 w 11244046"/>
              <a:gd name="connsiteY18" fmla="*/ 2461354 h 4962986"/>
              <a:gd name="connsiteX19" fmla="*/ 2764312 w 11244046"/>
              <a:gd name="connsiteY19" fmla="*/ 2190421 h 4962986"/>
              <a:gd name="connsiteX20" fmla="*/ 2578045 w 11244046"/>
              <a:gd name="connsiteY20" fmla="*/ 1936421 h 4962986"/>
              <a:gd name="connsiteX21" fmla="*/ 2417178 w 11244046"/>
              <a:gd name="connsiteY21" fmla="*/ 1792487 h 4962986"/>
              <a:gd name="connsiteX22" fmla="*/ 2222445 w 11244046"/>
              <a:gd name="connsiteY22" fmla="*/ 1741687 h 4962986"/>
              <a:gd name="connsiteX23" fmla="*/ 1943045 w 11244046"/>
              <a:gd name="connsiteY23" fmla="*/ 1809421 h 4962986"/>
              <a:gd name="connsiteX24" fmla="*/ 1435045 w 11244046"/>
              <a:gd name="connsiteY24" fmla="*/ 2004154 h 4962986"/>
              <a:gd name="connsiteX25" fmla="*/ 689978 w 11244046"/>
              <a:gd name="connsiteY25" fmla="*/ 1961821 h 4962986"/>
              <a:gd name="connsiteX26" fmla="*/ 393645 w 11244046"/>
              <a:gd name="connsiteY26" fmla="*/ 1851754 h 4962986"/>
              <a:gd name="connsiteX27" fmla="*/ 130332 w 11244046"/>
              <a:gd name="connsiteY27" fmla="*/ 1606221 h 4962986"/>
              <a:gd name="connsiteX28" fmla="*/ 21112 w 11244046"/>
              <a:gd name="connsiteY28" fmla="*/ 1149021 h 4962986"/>
              <a:gd name="connsiteX29" fmla="*/ 12645 w 11244046"/>
              <a:gd name="connsiteY29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64312 w 11244046"/>
              <a:gd name="connsiteY18" fmla="*/ 2190421 h 4962986"/>
              <a:gd name="connsiteX19" fmla="*/ 2578045 w 11244046"/>
              <a:gd name="connsiteY19" fmla="*/ 1936421 h 4962986"/>
              <a:gd name="connsiteX20" fmla="*/ 2417178 w 11244046"/>
              <a:gd name="connsiteY20" fmla="*/ 1792487 h 4962986"/>
              <a:gd name="connsiteX21" fmla="*/ 2222445 w 11244046"/>
              <a:gd name="connsiteY21" fmla="*/ 1741687 h 4962986"/>
              <a:gd name="connsiteX22" fmla="*/ 1943045 w 11244046"/>
              <a:gd name="connsiteY22" fmla="*/ 1809421 h 4962986"/>
              <a:gd name="connsiteX23" fmla="*/ 1435045 w 11244046"/>
              <a:gd name="connsiteY23" fmla="*/ 2004154 h 4962986"/>
              <a:gd name="connsiteX24" fmla="*/ 689978 w 11244046"/>
              <a:gd name="connsiteY24" fmla="*/ 1961821 h 4962986"/>
              <a:gd name="connsiteX25" fmla="*/ 393645 w 11244046"/>
              <a:gd name="connsiteY25" fmla="*/ 1851754 h 4962986"/>
              <a:gd name="connsiteX26" fmla="*/ 130332 w 11244046"/>
              <a:gd name="connsiteY26" fmla="*/ 1606221 h 4962986"/>
              <a:gd name="connsiteX27" fmla="*/ 21112 w 11244046"/>
              <a:gd name="connsiteY27" fmla="*/ 1149021 h 4962986"/>
              <a:gd name="connsiteX28" fmla="*/ 12645 w 11244046"/>
              <a:gd name="connsiteY28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64312 w 11244046"/>
              <a:gd name="connsiteY18" fmla="*/ 2190421 h 4962986"/>
              <a:gd name="connsiteX19" fmla="*/ 2578045 w 11244046"/>
              <a:gd name="connsiteY19" fmla="*/ 1936421 h 4962986"/>
              <a:gd name="connsiteX20" fmla="*/ 2417178 w 11244046"/>
              <a:gd name="connsiteY20" fmla="*/ 1792487 h 4962986"/>
              <a:gd name="connsiteX21" fmla="*/ 1943045 w 11244046"/>
              <a:gd name="connsiteY21" fmla="*/ 1809421 h 4962986"/>
              <a:gd name="connsiteX22" fmla="*/ 1435045 w 11244046"/>
              <a:gd name="connsiteY22" fmla="*/ 2004154 h 4962986"/>
              <a:gd name="connsiteX23" fmla="*/ 689978 w 11244046"/>
              <a:gd name="connsiteY23" fmla="*/ 1961821 h 4962986"/>
              <a:gd name="connsiteX24" fmla="*/ 393645 w 11244046"/>
              <a:gd name="connsiteY24" fmla="*/ 1851754 h 4962986"/>
              <a:gd name="connsiteX25" fmla="*/ 130332 w 11244046"/>
              <a:gd name="connsiteY25" fmla="*/ 1606221 h 4962986"/>
              <a:gd name="connsiteX26" fmla="*/ 21112 w 11244046"/>
              <a:gd name="connsiteY26" fmla="*/ 1149021 h 4962986"/>
              <a:gd name="connsiteX27" fmla="*/ 12645 w 11244046"/>
              <a:gd name="connsiteY27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64312 w 11244046"/>
              <a:gd name="connsiteY18" fmla="*/ 2190421 h 4962986"/>
              <a:gd name="connsiteX19" fmla="*/ 2578045 w 11244046"/>
              <a:gd name="connsiteY19" fmla="*/ 1936421 h 4962986"/>
              <a:gd name="connsiteX20" fmla="*/ 1943045 w 11244046"/>
              <a:gd name="connsiteY20" fmla="*/ 1809421 h 4962986"/>
              <a:gd name="connsiteX21" fmla="*/ 1435045 w 11244046"/>
              <a:gd name="connsiteY21" fmla="*/ 2004154 h 4962986"/>
              <a:gd name="connsiteX22" fmla="*/ 689978 w 11244046"/>
              <a:gd name="connsiteY22" fmla="*/ 1961821 h 4962986"/>
              <a:gd name="connsiteX23" fmla="*/ 393645 w 11244046"/>
              <a:gd name="connsiteY23" fmla="*/ 1851754 h 4962986"/>
              <a:gd name="connsiteX24" fmla="*/ 130332 w 11244046"/>
              <a:gd name="connsiteY24" fmla="*/ 1606221 h 4962986"/>
              <a:gd name="connsiteX25" fmla="*/ 21112 w 11244046"/>
              <a:gd name="connsiteY25" fmla="*/ 1149021 h 4962986"/>
              <a:gd name="connsiteX26" fmla="*/ 12645 w 11244046"/>
              <a:gd name="connsiteY26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64312 w 11244046"/>
              <a:gd name="connsiteY18" fmla="*/ 2190421 h 4962986"/>
              <a:gd name="connsiteX19" fmla="*/ 1943045 w 11244046"/>
              <a:gd name="connsiteY19" fmla="*/ 1809421 h 4962986"/>
              <a:gd name="connsiteX20" fmla="*/ 1435045 w 11244046"/>
              <a:gd name="connsiteY20" fmla="*/ 2004154 h 4962986"/>
              <a:gd name="connsiteX21" fmla="*/ 689978 w 11244046"/>
              <a:gd name="connsiteY21" fmla="*/ 1961821 h 4962986"/>
              <a:gd name="connsiteX22" fmla="*/ 393645 w 11244046"/>
              <a:gd name="connsiteY22" fmla="*/ 1851754 h 4962986"/>
              <a:gd name="connsiteX23" fmla="*/ 130332 w 11244046"/>
              <a:gd name="connsiteY23" fmla="*/ 1606221 h 4962986"/>
              <a:gd name="connsiteX24" fmla="*/ 21112 w 11244046"/>
              <a:gd name="connsiteY24" fmla="*/ 1149021 h 4962986"/>
              <a:gd name="connsiteX25" fmla="*/ 12645 w 11244046"/>
              <a:gd name="connsiteY25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764312 w 11244046"/>
              <a:gd name="connsiteY18" fmla="*/ 2190421 h 4962986"/>
              <a:gd name="connsiteX19" fmla="*/ 1435045 w 11244046"/>
              <a:gd name="connsiteY19" fmla="*/ 2004154 h 4962986"/>
              <a:gd name="connsiteX20" fmla="*/ 689978 w 11244046"/>
              <a:gd name="connsiteY20" fmla="*/ 1961821 h 4962986"/>
              <a:gd name="connsiteX21" fmla="*/ 393645 w 11244046"/>
              <a:gd name="connsiteY21" fmla="*/ 1851754 h 4962986"/>
              <a:gd name="connsiteX22" fmla="*/ 130332 w 11244046"/>
              <a:gd name="connsiteY22" fmla="*/ 1606221 h 4962986"/>
              <a:gd name="connsiteX23" fmla="*/ 21112 w 11244046"/>
              <a:gd name="connsiteY23" fmla="*/ 1149021 h 4962986"/>
              <a:gd name="connsiteX24" fmla="*/ 12645 w 11244046"/>
              <a:gd name="connsiteY24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535712 w 11244046"/>
              <a:gd name="connsiteY18" fmla="*/ 2429907 h 4962986"/>
              <a:gd name="connsiteX19" fmla="*/ 1435045 w 11244046"/>
              <a:gd name="connsiteY19" fmla="*/ 2004154 h 4962986"/>
              <a:gd name="connsiteX20" fmla="*/ 689978 w 11244046"/>
              <a:gd name="connsiteY20" fmla="*/ 1961821 h 4962986"/>
              <a:gd name="connsiteX21" fmla="*/ 393645 w 11244046"/>
              <a:gd name="connsiteY21" fmla="*/ 1851754 h 4962986"/>
              <a:gd name="connsiteX22" fmla="*/ 130332 w 11244046"/>
              <a:gd name="connsiteY22" fmla="*/ 1606221 h 4962986"/>
              <a:gd name="connsiteX23" fmla="*/ 21112 w 11244046"/>
              <a:gd name="connsiteY23" fmla="*/ 1149021 h 4962986"/>
              <a:gd name="connsiteX24" fmla="*/ 12645 w 11244046"/>
              <a:gd name="connsiteY24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3123540 w 11244046"/>
              <a:gd name="connsiteY18" fmla="*/ 2310164 h 4962986"/>
              <a:gd name="connsiteX19" fmla="*/ 1435045 w 11244046"/>
              <a:gd name="connsiteY19" fmla="*/ 2004154 h 4962986"/>
              <a:gd name="connsiteX20" fmla="*/ 689978 w 11244046"/>
              <a:gd name="connsiteY20" fmla="*/ 1961821 h 4962986"/>
              <a:gd name="connsiteX21" fmla="*/ 393645 w 11244046"/>
              <a:gd name="connsiteY21" fmla="*/ 1851754 h 4962986"/>
              <a:gd name="connsiteX22" fmla="*/ 130332 w 11244046"/>
              <a:gd name="connsiteY22" fmla="*/ 1606221 h 4962986"/>
              <a:gd name="connsiteX23" fmla="*/ 21112 w 11244046"/>
              <a:gd name="connsiteY23" fmla="*/ 1149021 h 4962986"/>
              <a:gd name="connsiteX24" fmla="*/ 12645 w 11244046"/>
              <a:gd name="connsiteY24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3123540 w 11244046"/>
              <a:gd name="connsiteY18" fmla="*/ 2310164 h 4962986"/>
              <a:gd name="connsiteX19" fmla="*/ 1435045 w 11244046"/>
              <a:gd name="connsiteY19" fmla="*/ 2004154 h 4962986"/>
              <a:gd name="connsiteX20" fmla="*/ 689978 w 11244046"/>
              <a:gd name="connsiteY20" fmla="*/ 1961821 h 4962986"/>
              <a:gd name="connsiteX21" fmla="*/ 393645 w 11244046"/>
              <a:gd name="connsiteY21" fmla="*/ 1851754 h 4962986"/>
              <a:gd name="connsiteX22" fmla="*/ 130332 w 11244046"/>
              <a:gd name="connsiteY22" fmla="*/ 1606221 h 4962986"/>
              <a:gd name="connsiteX23" fmla="*/ 21112 w 11244046"/>
              <a:gd name="connsiteY23" fmla="*/ 1149021 h 4962986"/>
              <a:gd name="connsiteX24" fmla="*/ 12645 w 11244046"/>
              <a:gd name="connsiteY24" fmla="*/ 632554 h 4962986"/>
              <a:gd name="connsiteX0" fmla="*/ 12645 w 11244046"/>
              <a:gd name="connsiteY0" fmla="*/ 632554 h 4962986"/>
              <a:gd name="connsiteX1" fmla="*/ 159542 w 11244046"/>
              <a:gd name="connsiteY1" fmla="*/ 208797 h 4962986"/>
              <a:gd name="connsiteX2" fmla="*/ 538444 w 11244046"/>
              <a:gd name="connsiteY2" fmla="*/ 80816 h 4962986"/>
              <a:gd name="connsiteX3" fmla="*/ 1139558 w 11244046"/>
              <a:gd name="connsiteY3" fmla="*/ 236314 h 4962986"/>
              <a:gd name="connsiteX4" fmla="*/ 1536645 w 11244046"/>
              <a:gd name="connsiteY4" fmla="*/ 353154 h 4962986"/>
              <a:gd name="connsiteX5" fmla="*/ 2180112 w 11244046"/>
              <a:gd name="connsiteY5" fmla="*/ 285421 h 4962986"/>
              <a:gd name="connsiteX6" fmla="*/ 3174790 w 11244046"/>
              <a:gd name="connsiteY6" fmla="*/ 1787 h 4962986"/>
              <a:gd name="connsiteX7" fmla="*/ 4305245 w 11244046"/>
              <a:gd name="connsiteY7" fmla="*/ 200754 h 4962986"/>
              <a:gd name="connsiteX8" fmla="*/ 5374025 w 11244046"/>
              <a:gd name="connsiteY8" fmla="*/ 861649 h 4962986"/>
              <a:gd name="connsiteX9" fmla="*/ 7321391 w 11244046"/>
              <a:gd name="connsiteY9" fmla="*/ 1012888 h 4962986"/>
              <a:gd name="connsiteX10" fmla="*/ 8855876 w 11244046"/>
              <a:gd name="connsiteY10" fmla="*/ 1483576 h 4962986"/>
              <a:gd name="connsiteX11" fmla="*/ 10748378 w 11244046"/>
              <a:gd name="connsiteY11" fmla="*/ 2374268 h 4962986"/>
              <a:gd name="connsiteX12" fmla="*/ 11204369 w 11244046"/>
              <a:gd name="connsiteY12" fmla="*/ 3788201 h 4962986"/>
              <a:gd name="connsiteX13" fmla="*/ 9975492 w 11244046"/>
              <a:gd name="connsiteY13" fmla="*/ 4944507 h 4962986"/>
              <a:gd name="connsiteX14" fmla="*/ 8201001 w 11244046"/>
              <a:gd name="connsiteY14" fmla="*/ 4550081 h 4962986"/>
              <a:gd name="connsiteX15" fmla="*/ 7150045 w 11244046"/>
              <a:gd name="connsiteY15" fmla="*/ 4586487 h 4962986"/>
              <a:gd name="connsiteX16" fmla="*/ 5314193 w 11244046"/>
              <a:gd name="connsiteY16" fmla="*/ 4526028 h 4962986"/>
              <a:gd name="connsiteX17" fmla="*/ 4208785 w 11244046"/>
              <a:gd name="connsiteY17" fmla="*/ 3956869 h 4962986"/>
              <a:gd name="connsiteX18" fmla="*/ 2894940 w 11244046"/>
              <a:gd name="connsiteY18" fmla="*/ 2473449 h 4962986"/>
              <a:gd name="connsiteX19" fmla="*/ 1435045 w 11244046"/>
              <a:gd name="connsiteY19" fmla="*/ 2004154 h 4962986"/>
              <a:gd name="connsiteX20" fmla="*/ 689978 w 11244046"/>
              <a:gd name="connsiteY20" fmla="*/ 1961821 h 4962986"/>
              <a:gd name="connsiteX21" fmla="*/ 393645 w 11244046"/>
              <a:gd name="connsiteY21" fmla="*/ 1851754 h 4962986"/>
              <a:gd name="connsiteX22" fmla="*/ 130332 w 11244046"/>
              <a:gd name="connsiteY22" fmla="*/ 1606221 h 4962986"/>
              <a:gd name="connsiteX23" fmla="*/ 21112 w 11244046"/>
              <a:gd name="connsiteY23" fmla="*/ 1149021 h 4962986"/>
              <a:gd name="connsiteX24" fmla="*/ 12645 w 11244046"/>
              <a:gd name="connsiteY24" fmla="*/ 632554 h 4962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244046" h="4962986">
                <a:moveTo>
                  <a:pt x="12645" y="632554"/>
                </a:moveTo>
                <a:cubicBezTo>
                  <a:pt x="35717" y="475850"/>
                  <a:pt x="71909" y="300753"/>
                  <a:pt x="159542" y="208797"/>
                </a:cubicBezTo>
                <a:cubicBezTo>
                  <a:pt x="247175" y="116841"/>
                  <a:pt x="375108" y="76230"/>
                  <a:pt x="538444" y="80816"/>
                </a:cubicBezTo>
                <a:cubicBezTo>
                  <a:pt x="701780" y="85402"/>
                  <a:pt x="973191" y="190924"/>
                  <a:pt x="1139558" y="236314"/>
                </a:cubicBezTo>
                <a:cubicBezTo>
                  <a:pt x="1305925" y="281704"/>
                  <a:pt x="1363219" y="344970"/>
                  <a:pt x="1536645" y="353154"/>
                </a:cubicBezTo>
                <a:cubicBezTo>
                  <a:pt x="1710071" y="361338"/>
                  <a:pt x="1907088" y="343982"/>
                  <a:pt x="2180112" y="285421"/>
                </a:cubicBezTo>
                <a:cubicBezTo>
                  <a:pt x="2453136" y="226860"/>
                  <a:pt x="2820601" y="15898"/>
                  <a:pt x="3174790" y="1787"/>
                </a:cubicBezTo>
                <a:cubicBezTo>
                  <a:pt x="3528979" y="-12324"/>
                  <a:pt x="3938706" y="57444"/>
                  <a:pt x="4305245" y="200754"/>
                </a:cubicBezTo>
                <a:cubicBezTo>
                  <a:pt x="4671784" y="344064"/>
                  <a:pt x="4871334" y="726293"/>
                  <a:pt x="5374025" y="861649"/>
                </a:cubicBezTo>
                <a:cubicBezTo>
                  <a:pt x="5876716" y="997005"/>
                  <a:pt x="6741083" y="909234"/>
                  <a:pt x="7321391" y="1012888"/>
                </a:cubicBezTo>
                <a:cubicBezTo>
                  <a:pt x="7901700" y="1116543"/>
                  <a:pt x="8284712" y="1256679"/>
                  <a:pt x="8855876" y="1483576"/>
                </a:cubicBezTo>
                <a:cubicBezTo>
                  <a:pt x="9427041" y="1710473"/>
                  <a:pt x="10356963" y="1990164"/>
                  <a:pt x="10748378" y="2374268"/>
                </a:cubicBezTo>
                <a:cubicBezTo>
                  <a:pt x="11139793" y="2758372"/>
                  <a:pt x="11333183" y="3359828"/>
                  <a:pt x="11204369" y="3788201"/>
                </a:cubicBezTo>
                <a:cubicBezTo>
                  <a:pt x="11075555" y="4216574"/>
                  <a:pt x="10476053" y="4817527"/>
                  <a:pt x="9975492" y="4944507"/>
                </a:cubicBezTo>
                <a:cubicBezTo>
                  <a:pt x="9474931" y="5071487"/>
                  <a:pt x="8397145" y="4500692"/>
                  <a:pt x="8201001" y="4550081"/>
                </a:cubicBezTo>
                <a:cubicBezTo>
                  <a:pt x="7730093" y="4490411"/>
                  <a:pt x="7325204" y="4580419"/>
                  <a:pt x="7150045" y="4586487"/>
                </a:cubicBezTo>
                <a:lnTo>
                  <a:pt x="5314193" y="4526028"/>
                </a:lnTo>
                <a:cubicBezTo>
                  <a:pt x="4823983" y="4421092"/>
                  <a:pt x="4611994" y="4298965"/>
                  <a:pt x="4208785" y="3956869"/>
                </a:cubicBezTo>
                <a:cubicBezTo>
                  <a:pt x="3805576" y="3614773"/>
                  <a:pt x="3689244" y="2755761"/>
                  <a:pt x="2894940" y="2473449"/>
                </a:cubicBezTo>
                <a:cubicBezTo>
                  <a:pt x="2100636" y="2191137"/>
                  <a:pt x="1802539" y="2089425"/>
                  <a:pt x="1435045" y="2004154"/>
                </a:cubicBezTo>
                <a:cubicBezTo>
                  <a:pt x="1067551" y="1918883"/>
                  <a:pt x="863545" y="1987221"/>
                  <a:pt x="689978" y="1961821"/>
                </a:cubicBezTo>
                <a:cubicBezTo>
                  <a:pt x="516411" y="1936421"/>
                  <a:pt x="486919" y="1911021"/>
                  <a:pt x="393645" y="1851754"/>
                </a:cubicBezTo>
                <a:cubicBezTo>
                  <a:pt x="300371" y="1792487"/>
                  <a:pt x="192421" y="1723343"/>
                  <a:pt x="130332" y="1606221"/>
                </a:cubicBezTo>
                <a:cubicBezTo>
                  <a:pt x="68243" y="1489099"/>
                  <a:pt x="40727" y="1311299"/>
                  <a:pt x="21112" y="1149021"/>
                </a:cubicBezTo>
                <a:cubicBezTo>
                  <a:pt x="1497" y="986743"/>
                  <a:pt x="-10427" y="789258"/>
                  <a:pt x="12645" y="632554"/>
                </a:cubicBezTo>
                <a:close/>
              </a:path>
            </a:pathLst>
          </a:custGeom>
          <a:gradFill>
            <a:gsLst>
              <a:gs pos="52000">
                <a:srgbClr val="FFE389">
                  <a:alpha val="81000"/>
                </a:srgbClr>
              </a:gs>
              <a:gs pos="2000">
                <a:srgbClr val="45D6A9"/>
              </a:gs>
              <a:gs pos="68000">
                <a:srgbClr val="FFC000">
                  <a:alpha val="77000"/>
                </a:srgbClr>
              </a:gs>
              <a:gs pos="89000">
                <a:srgbClr val="FF505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A7DF7CB-20BF-4687-81E6-B083F3A1F21A}"/>
              </a:ext>
            </a:extLst>
          </p:cNvPr>
          <p:cNvSpPr txBox="1"/>
          <p:nvPr/>
        </p:nvSpPr>
        <p:spPr>
          <a:xfrm>
            <a:off x="1484033" y="2365551"/>
            <a:ext cx="1588193" cy="2185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Планировки </a:t>
            </a:r>
            <a:endParaRPr lang="ru-RU" sz="10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412B90E-0D00-456C-B256-3D06A1E8988F}"/>
              </a:ext>
            </a:extLst>
          </p:cNvPr>
          <p:cNvSpPr txBox="1"/>
          <p:nvPr/>
        </p:nvSpPr>
        <p:spPr>
          <a:xfrm>
            <a:off x="579005" y="2020939"/>
            <a:ext cx="17795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Хорошие локации</a:t>
            </a:r>
          </a:p>
        </p:txBody>
      </p: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BBB8D43D-2B54-4B18-8062-DBA91F00C10C}"/>
              </a:ext>
            </a:extLst>
          </p:cNvPr>
          <p:cNvCxnSpPr>
            <a:cxnSpLocks/>
          </p:cNvCxnSpPr>
          <p:nvPr/>
        </p:nvCxnSpPr>
        <p:spPr>
          <a:xfrm>
            <a:off x="827415" y="3234306"/>
            <a:ext cx="11340000" cy="0"/>
          </a:xfrm>
          <a:prstGeom prst="straightConnector1">
            <a:avLst/>
          </a:prstGeom>
          <a:ln w="3175">
            <a:solidFill>
              <a:srgbClr val="26262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val 87">
            <a:extLst>
              <a:ext uri="{FF2B5EF4-FFF2-40B4-BE49-F238E27FC236}">
                <a16:creationId xmlns:a16="http://schemas.microsoft.com/office/drawing/2014/main" id="{074BCE6A-0B2D-4174-B453-704C47BC00ED}"/>
              </a:ext>
            </a:extLst>
          </p:cNvPr>
          <p:cNvSpPr/>
          <p:nvPr/>
        </p:nvSpPr>
        <p:spPr>
          <a:xfrm>
            <a:off x="2234602" y="2201537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grpSp>
        <p:nvGrpSpPr>
          <p:cNvPr id="145" name="Группа 144">
            <a:extLst>
              <a:ext uri="{FF2B5EF4-FFF2-40B4-BE49-F238E27FC236}">
                <a16:creationId xmlns:a16="http://schemas.microsoft.com/office/drawing/2014/main" id="{651C5FC7-EB20-4107-A36D-257FDC438FF8}"/>
              </a:ext>
            </a:extLst>
          </p:cNvPr>
          <p:cNvGrpSpPr/>
          <p:nvPr/>
        </p:nvGrpSpPr>
        <p:grpSpPr>
          <a:xfrm>
            <a:off x="900807" y="3148698"/>
            <a:ext cx="1735732" cy="515519"/>
            <a:chOff x="907683" y="3567261"/>
            <a:chExt cx="1735732" cy="515519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0467983-599E-4FAE-A5A1-EDBC31DAF203}"/>
                </a:ext>
              </a:extLst>
            </p:cNvPr>
            <p:cNvSpPr txBox="1"/>
            <p:nvPr/>
          </p:nvSpPr>
          <p:spPr>
            <a:xfrm>
              <a:off x="907683" y="3744226"/>
              <a:ext cx="173573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Страшно участвовать 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IN PT" panose="020B0504030203060204" pitchFamily="34" charset="0"/>
                  <a:ea typeface="+mn-ea"/>
                  <a:cs typeface="+mn-cs"/>
                </a:rPr>
                <a:t>в долевом строительстве</a:t>
              </a:r>
            </a:p>
          </p:txBody>
        </p:sp>
        <p:sp>
          <p:nvSpPr>
            <p:cNvPr id="83" name="Oval 87">
              <a:extLst>
                <a:ext uri="{FF2B5EF4-FFF2-40B4-BE49-F238E27FC236}">
                  <a16:creationId xmlns:a16="http://schemas.microsoft.com/office/drawing/2014/main" id="{5EEBE0F4-7042-42CD-96A1-6BCDCE3F0EFC}"/>
                </a:ext>
              </a:extLst>
            </p:cNvPr>
            <p:cNvSpPr/>
            <p:nvPr/>
          </p:nvSpPr>
          <p:spPr>
            <a:xfrm rot="196727">
              <a:off x="1704362" y="3567261"/>
              <a:ext cx="142375" cy="1440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84" name="Straight Connector 43">
            <a:extLst>
              <a:ext uri="{FF2B5EF4-FFF2-40B4-BE49-F238E27FC236}">
                <a16:creationId xmlns:a16="http://schemas.microsoft.com/office/drawing/2014/main" id="{0B20F4B1-26DF-4598-ACBD-C12DF1C0C381}"/>
              </a:ext>
            </a:extLst>
          </p:cNvPr>
          <p:cNvCxnSpPr>
            <a:cxnSpLocks/>
          </p:cNvCxnSpPr>
          <p:nvPr/>
        </p:nvCxnSpPr>
        <p:spPr>
          <a:xfrm>
            <a:off x="7809395" y="1288546"/>
            <a:ext cx="0" cy="4140000"/>
          </a:xfrm>
          <a:prstGeom prst="line">
            <a:avLst/>
          </a:prstGeom>
          <a:ln w="3175" cap="rnd">
            <a:solidFill>
              <a:srgbClr val="26262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39">
            <a:extLst>
              <a:ext uri="{FF2B5EF4-FFF2-40B4-BE49-F238E27FC236}">
                <a16:creationId xmlns:a16="http://schemas.microsoft.com/office/drawing/2014/main" id="{C4592DC2-6FAF-4909-A17E-C523CE79FE6A}"/>
              </a:ext>
            </a:extLst>
          </p:cNvPr>
          <p:cNvCxnSpPr>
            <a:cxnSpLocks/>
          </p:cNvCxnSpPr>
          <p:nvPr/>
        </p:nvCxnSpPr>
        <p:spPr>
          <a:xfrm>
            <a:off x="5439436" y="1113246"/>
            <a:ext cx="0" cy="4140000"/>
          </a:xfrm>
          <a:prstGeom prst="line">
            <a:avLst/>
          </a:prstGeom>
          <a:ln w="3175" cap="rnd">
            <a:solidFill>
              <a:srgbClr val="26262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38">
            <a:extLst>
              <a:ext uri="{FF2B5EF4-FFF2-40B4-BE49-F238E27FC236}">
                <a16:creationId xmlns:a16="http://schemas.microsoft.com/office/drawing/2014/main" id="{510EC9BF-6BD6-4308-85A6-0B514C058569}"/>
              </a:ext>
            </a:extLst>
          </p:cNvPr>
          <p:cNvCxnSpPr>
            <a:cxnSpLocks/>
          </p:cNvCxnSpPr>
          <p:nvPr/>
        </p:nvCxnSpPr>
        <p:spPr>
          <a:xfrm>
            <a:off x="2787002" y="1220502"/>
            <a:ext cx="0" cy="4140000"/>
          </a:xfrm>
          <a:prstGeom prst="line">
            <a:avLst/>
          </a:prstGeom>
          <a:ln w="3175" cap="rnd">
            <a:solidFill>
              <a:srgbClr val="26262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43">
            <a:extLst>
              <a:ext uri="{FF2B5EF4-FFF2-40B4-BE49-F238E27FC236}">
                <a16:creationId xmlns:a16="http://schemas.microsoft.com/office/drawing/2014/main" id="{721FC444-2A06-4332-8399-B40757820627}"/>
              </a:ext>
            </a:extLst>
          </p:cNvPr>
          <p:cNvCxnSpPr>
            <a:cxnSpLocks/>
          </p:cNvCxnSpPr>
          <p:nvPr/>
        </p:nvCxnSpPr>
        <p:spPr>
          <a:xfrm>
            <a:off x="9996695" y="1220502"/>
            <a:ext cx="0" cy="4140000"/>
          </a:xfrm>
          <a:prstGeom prst="line">
            <a:avLst/>
          </a:prstGeom>
          <a:ln w="3175" cap="rnd">
            <a:solidFill>
              <a:srgbClr val="26262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59">
            <a:extLst>
              <a:ext uri="{FF2B5EF4-FFF2-40B4-BE49-F238E27FC236}">
                <a16:creationId xmlns:a16="http://schemas.microsoft.com/office/drawing/2014/main" id="{D90FABAD-4307-4F37-A7C7-7D1A1E254BA7}"/>
              </a:ext>
            </a:extLst>
          </p:cNvPr>
          <p:cNvCxnSpPr>
            <a:cxnSpLocks/>
          </p:cNvCxnSpPr>
          <p:nvPr/>
        </p:nvCxnSpPr>
        <p:spPr>
          <a:xfrm>
            <a:off x="745908" y="1208850"/>
            <a:ext cx="0" cy="4140000"/>
          </a:xfrm>
          <a:prstGeom prst="line">
            <a:avLst/>
          </a:prstGeom>
          <a:ln w="19050" cap="rnd">
            <a:solidFill>
              <a:srgbClr val="26262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61">
            <a:extLst>
              <a:ext uri="{FF2B5EF4-FFF2-40B4-BE49-F238E27FC236}">
                <a16:creationId xmlns:a16="http://schemas.microsoft.com/office/drawing/2014/main" id="{EB1163DB-72E5-4A39-B897-640F6F243E70}"/>
              </a:ext>
            </a:extLst>
          </p:cNvPr>
          <p:cNvCxnSpPr>
            <a:cxnSpLocks/>
          </p:cNvCxnSpPr>
          <p:nvPr/>
        </p:nvCxnSpPr>
        <p:spPr>
          <a:xfrm>
            <a:off x="12172709" y="1191758"/>
            <a:ext cx="0" cy="4140000"/>
          </a:xfrm>
          <a:prstGeom prst="line">
            <a:avLst/>
          </a:prstGeom>
          <a:ln w="19050" cap="rnd">
            <a:solidFill>
              <a:srgbClr val="26262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11">
            <a:extLst>
              <a:ext uri="{FF2B5EF4-FFF2-40B4-BE49-F238E27FC236}">
                <a16:creationId xmlns:a16="http://schemas.microsoft.com/office/drawing/2014/main" id="{C3710F2C-B9F7-427B-8753-00C791F06403}"/>
              </a:ext>
            </a:extLst>
          </p:cNvPr>
          <p:cNvCxnSpPr>
            <a:cxnSpLocks/>
          </p:cNvCxnSpPr>
          <p:nvPr/>
        </p:nvCxnSpPr>
        <p:spPr>
          <a:xfrm>
            <a:off x="835565" y="5761867"/>
            <a:ext cx="11340000" cy="0"/>
          </a:xfrm>
          <a:prstGeom prst="line">
            <a:avLst/>
          </a:prstGeom>
          <a:ln w="63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13">
            <a:extLst>
              <a:ext uri="{FF2B5EF4-FFF2-40B4-BE49-F238E27FC236}">
                <a16:creationId xmlns:a16="http://schemas.microsoft.com/office/drawing/2014/main" id="{BB56E991-18D5-4378-8DC2-B00E3BA7D8C8}"/>
              </a:ext>
            </a:extLst>
          </p:cNvPr>
          <p:cNvCxnSpPr>
            <a:cxnSpLocks/>
          </p:cNvCxnSpPr>
          <p:nvPr/>
        </p:nvCxnSpPr>
        <p:spPr>
          <a:xfrm>
            <a:off x="740121" y="5524742"/>
            <a:ext cx="0" cy="457200"/>
          </a:xfrm>
          <a:prstGeom prst="line">
            <a:avLst/>
          </a:prstGeom>
          <a:ln w="63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16">
            <a:extLst>
              <a:ext uri="{FF2B5EF4-FFF2-40B4-BE49-F238E27FC236}">
                <a16:creationId xmlns:a16="http://schemas.microsoft.com/office/drawing/2014/main" id="{4F91C1AF-B7E4-4176-B070-934FBA34B55C}"/>
              </a:ext>
            </a:extLst>
          </p:cNvPr>
          <p:cNvCxnSpPr>
            <a:cxnSpLocks/>
          </p:cNvCxnSpPr>
          <p:nvPr/>
        </p:nvCxnSpPr>
        <p:spPr>
          <a:xfrm>
            <a:off x="9995728" y="5564177"/>
            <a:ext cx="0" cy="457200"/>
          </a:xfrm>
          <a:prstGeom prst="line">
            <a:avLst/>
          </a:prstGeom>
          <a:ln w="63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17">
            <a:extLst>
              <a:ext uri="{FF2B5EF4-FFF2-40B4-BE49-F238E27FC236}">
                <a16:creationId xmlns:a16="http://schemas.microsoft.com/office/drawing/2014/main" id="{AAC4050F-9800-4B29-A372-CE778DD372F7}"/>
              </a:ext>
            </a:extLst>
          </p:cNvPr>
          <p:cNvCxnSpPr>
            <a:cxnSpLocks/>
          </p:cNvCxnSpPr>
          <p:nvPr/>
        </p:nvCxnSpPr>
        <p:spPr>
          <a:xfrm>
            <a:off x="7809395" y="5505282"/>
            <a:ext cx="0" cy="457200"/>
          </a:xfrm>
          <a:prstGeom prst="line">
            <a:avLst/>
          </a:prstGeom>
          <a:ln w="63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9">
            <a:extLst>
              <a:ext uri="{FF2B5EF4-FFF2-40B4-BE49-F238E27FC236}">
                <a16:creationId xmlns:a16="http://schemas.microsoft.com/office/drawing/2014/main" id="{CB7C98E1-E86E-4A7F-8A49-AEB98D4ADED9}"/>
              </a:ext>
            </a:extLst>
          </p:cNvPr>
          <p:cNvCxnSpPr>
            <a:cxnSpLocks/>
          </p:cNvCxnSpPr>
          <p:nvPr/>
        </p:nvCxnSpPr>
        <p:spPr>
          <a:xfrm>
            <a:off x="2783143" y="5569425"/>
            <a:ext cx="0" cy="457200"/>
          </a:xfrm>
          <a:prstGeom prst="line">
            <a:avLst/>
          </a:prstGeom>
          <a:ln w="63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19">
            <a:extLst>
              <a:ext uri="{FF2B5EF4-FFF2-40B4-BE49-F238E27FC236}">
                <a16:creationId xmlns:a16="http://schemas.microsoft.com/office/drawing/2014/main" id="{C7BC1CE2-F336-4D9A-BA35-C194FA6446F1}"/>
              </a:ext>
            </a:extLst>
          </p:cNvPr>
          <p:cNvCxnSpPr>
            <a:cxnSpLocks/>
          </p:cNvCxnSpPr>
          <p:nvPr/>
        </p:nvCxnSpPr>
        <p:spPr>
          <a:xfrm>
            <a:off x="5439436" y="5505282"/>
            <a:ext cx="0" cy="457200"/>
          </a:xfrm>
          <a:prstGeom prst="line">
            <a:avLst/>
          </a:prstGeom>
          <a:ln w="63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15">
            <a:extLst>
              <a:ext uri="{FF2B5EF4-FFF2-40B4-BE49-F238E27FC236}">
                <a16:creationId xmlns:a16="http://schemas.microsoft.com/office/drawing/2014/main" id="{779F923C-44A7-4038-8934-49FC7C7F4408}"/>
              </a:ext>
            </a:extLst>
          </p:cNvPr>
          <p:cNvCxnSpPr>
            <a:cxnSpLocks/>
          </p:cNvCxnSpPr>
          <p:nvPr/>
        </p:nvCxnSpPr>
        <p:spPr>
          <a:xfrm>
            <a:off x="12172709" y="5553073"/>
            <a:ext cx="0" cy="457200"/>
          </a:xfrm>
          <a:prstGeom prst="line">
            <a:avLst/>
          </a:prstGeom>
          <a:ln w="19050" cap="rnd">
            <a:solidFill>
              <a:srgbClr val="26262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021F08C5-21B5-4285-84D8-322F669732F4}"/>
              </a:ext>
            </a:extLst>
          </p:cNvPr>
          <p:cNvSpPr txBox="1"/>
          <p:nvPr/>
        </p:nvSpPr>
        <p:spPr>
          <a:xfrm>
            <a:off x="5747664" y="5885499"/>
            <a:ext cx="172870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Ожидание ключей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60DC743-3A57-483F-9B0F-8D7B41B13117}"/>
              </a:ext>
            </a:extLst>
          </p:cNvPr>
          <p:cNvSpPr txBox="1"/>
          <p:nvPr/>
        </p:nvSpPr>
        <p:spPr>
          <a:xfrm>
            <a:off x="2966958" y="5916098"/>
            <a:ext cx="2216572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Выбор квартиры и подписание договора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B981E3ED-DF0C-43A2-AD41-A1EBF19507C4}"/>
              </a:ext>
            </a:extLst>
          </p:cNvPr>
          <p:cNvSpPr txBox="1"/>
          <p:nvPr/>
        </p:nvSpPr>
        <p:spPr>
          <a:xfrm>
            <a:off x="980029" y="5885499"/>
            <a:ext cx="154720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Стимул к покупке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4E6521C-E76E-4508-838B-181339958B67}"/>
              </a:ext>
            </a:extLst>
          </p:cNvPr>
          <p:cNvSpPr txBox="1"/>
          <p:nvPr/>
        </p:nvSpPr>
        <p:spPr>
          <a:xfrm>
            <a:off x="10041851" y="5932697"/>
            <a:ext cx="1970713" cy="195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Проживание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B26F090-453D-4549-9718-8AD3DF09066B}"/>
              </a:ext>
            </a:extLst>
          </p:cNvPr>
          <p:cNvSpPr txBox="1"/>
          <p:nvPr/>
        </p:nvSpPr>
        <p:spPr>
          <a:xfrm>
            <a:off x="7796994" y="5950012"/>
            <a:ext cx="2177886" cy="1892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Получение ключей, ремонт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2504B401-3638-469B-81B4-AE9BBB8BB18B}"/>
              </a:ext>
            </a:extLst>
          </p:cNvPr>
          <p:cNvSpPr txBox="1"/>
          <p:nvPr/>
        </p:nvSpPr>
        <p:spPr>
          <a:xfrm>
            <a:off x="3516639" y="1222140"/>
            <a:ext cx="1600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Сочетание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фин.фактора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и знакомого района</a:t>
            </a:r>
          </a:p>
        </p:txBody>
      </p:sp>
      <p:sp>
        <p:nvSpPr>
          <p:cNvPr id="103" name="Oval 87">
            <a:extLst>
              <a:ext uri="{FF2B5EF4-FFF2-40B4-BE49-F238E27FC236}">
                <a16:creationId xmlns:a16="http://schemas.microsoft.com/office/drawing/2014/main" id="{3924E1EC-CD7F-4C98-A807-F01B21932772}"/>
              </a:ext>
            </a:extLst>
          </p:cNvPr>
          <p:cNvSpPr/>
          <p:nvPr/>
        </p:nvSpPr>
        <p:spPr>
          <a:xfrm rot="196727">
            <a:off x="4264931" y="1063346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9E3F932-9FD3-46EB-B0B8-6E7D76C98F6C}"/>
              </a:ext>
            </a:extLst>
          </p:cNvPr>
          <p:cNvSpPr txBox="1"/>
          <p:nvPr/>
        </p:nvSpPr>
        <p:spPr>
          <a:xfrm>
            <a:off x="2339833" y="1729594"/>
            <a:ext cx="18411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Транспортная доступность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и близость к метро</a:t>
            </a:r>
          </a:p>
        </p:txBody>
      </p:sp>
      <p:sp>
        <p:nvSpPr>
          <p:cNvPr id="105" name="Oval 87">
            <a:extLst>
              <a:ext uri="{FF2B5EF4-FFF2-40B4-BE49-F238E27FC236}">
                <a16:creationId xmlns:a16="http://schemas.microsoft.com/office/drawing/2014/main" id="{9DBAC50C-089D-46E6-907B-E25D3DE6B4B8}"/>
              </a:ext>
            </a:extLst>
          </p:cNvPr>
          <p:cNvSpPr/>
          <p:nvPr/>
        </p:nvSpPr>
        <p:spPr>
          <a:xfrm rot="196727">
            <a:off x="3191956" y="1546979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06" name="Oval 87">
            <a:extLst>
              <a:ext uri="{FF2B5EF4-FFF2-40B4-BE49-F238E27FC236}">
                <a16:creationId xmlns:a16="http://schemas.microsoft.com/office/drawing/2014/main" id="{497CB86A-1E82-4CE6-975E-41C3027314BC}"/>
              </a:ext>
            </a:extLst>
          </p:cNvPr>
          <p:cNvSpPr/>
          <p:nvPr/>
        </p:nvSpPr>
        <p:spPr>
          <a:xfrm rot="196727">
            <a:off x="3522987" y="2279011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07" name="Oval 87">
            <a:extLst>
              <a:ext uri="{FF2B5EF4-FFF2-40B4-BE49-F238E27FC236}">
                <a16:creationId xmlns:a16="http://schemas.microsoft.com/office/drawing/2014/main" id="{2CECA2DA-F1CA-4AEA-8685-F8165CAB7EDE}"/>
              </a:ext>
            </a:extLst>
          </p:cNvPr>
          <p:cNvSpPr/>
          <p:nvPr/>
        </p:nvSpPr>
        <p:spPr>
          <a:xfrm rot="196727">
            <a:off x="4625017" y="3283176"/>
            <a:ext cx="144000" cy="14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BF8281E-FFDC-459C-B01A-081AD061FA90}"/>
              </a:ext>
            </a:extLst>
          </p:cNvPr>
          <p:cNvSpPr txBox="1"/>
          <p:nvPr/>
        </p:nvSpPr>
        <p:spPr>
          <a:xfrm>
            <a:off x="1320781" y="1419650"/>
            <a:ext cx="15861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Выгодные фин. </a:t>
            </a:r>
            <a:r>
              <a:rPr lang="ru-RU" sz="1000" dirty="0">
                <a:solidFill>
                  <a:srgbClr val="121212"/>
                </a:solidFill>
              </a:rPr>
              <a:t>и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нструменты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 для покупки</a:t>
            </a:r>
          </a:p>
        </p:txBody>
      </p:sp>
      <p:sp>
        <p:nvSpPr>
          <p:cNvPr id="109" name="Oval 87">
            <a:extLst>
              <a:ext uri="{FF2B5EF4-FFF2-40B4-BE49-F238E27FC236}">
                <a16:creationId xmlns:a16="http://schemas.microsoft.com/office/drawing/2014/main" id="{4656E410-25E4-4B2A-8A32-56211F6DF399}"/>
              </a:ext>
            </a:extLst>
          </p:cNvPr>
          <p:cNvSpPr/>
          <p:nvPr/>
        </p:nvSpPr>
        <p:spPr>
          <a:xfrm>
            <a:off x="1988238" y="1288546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10" name="Oval 87">
            <a:extLst>
              <a:ext uri="{FF2B5EF4-FFF2-40B4-BE49-F238E27FC236}">
                <a16:creationId xmlns:a16="http://schemas.microsoft.com/office/drawing/2014/main" id="{A701FE5E-357D-4CCD-828C-FDF92A3A53C2}"/>
              </a:ext>
            </a:extLst>
          </p:cNvPr>
          <p:cNvSpPr/>
          <p:nvPr/>
        </p:nvSpPr>
        <p:spPr>
          <a:xfrm>
            <a:off x="1432916" y="1849230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11" name="Rectangle 8">
            <a:extLst>
              <a:ext uri="{FF2B5EF4-FFF2-40B4-BE49-F238E27FC236}">
                <a16:creationId xmlns:a16="http://schemas.microsoft.com/office/drawing/2014/main" id="{5A0EFF6B-45FB-4027-9418-C4D46CB3D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4067" y="1809663"/>
            <a:ext cx="149711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Профессионализм сотрудников отдела продаж</a:t>
            </a:r>
          </a:p>
        </p:txBody>
      </p:sp>
      <p:sp>
        <p:nvSpPr>
          <p:cNvPr id="112" name="Oval 87">
            <a:extLst>
              <a:ext uri="{FF2B5EF4-FFF2-40B4-BE49-F238E27FC236}">
                <a16:creationId xmlns:a16="http://schemas.microsoft.com/office/drawing/2014/main" id="{1465DF57-9FA5-4D95-89A2-9CF9B921FB13}"/>
              </a:ext>
            </a:extLst>
          </p:cNvPr>
          <p:cNvSpPr/>
          <p:nvPr/>
        </p:nvSpPr>
        <p:spPr>
          <a:xfrm rot="196727">
            <a:off x="4738203" y="1644022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13" name="Rectangle 9">
            <a:extLst>
              <a:ext uri="{FF2B5EF4-FFF2-40B4-BE49-F238E27FC236}">
                <a16:creationId xmlns:a16="http://schemas.microsoft.com/office/drawing/2014/main" id="{51425B6F-6811-4731-9163-966082B1E8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8179" y="2440418"/>
            <a:ext cx="14613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Удобство электронной сделки</a:t>
            </a:r>
          </a:p>
        </p:txBody>
      </p:sp>
      <p:sp>
        <p:nvSpPr>
          <p:cNvPr id="114" name="Rectangle 10">
            <a:extLst>
              <a:ext uri="{FF2B5EF4-FFF2-40B4-BE49-F238E27FC236}">
                <a16:creationId xmlns:a16="http://schemas.microsoft.com/office/drawing/2014/main" id="{A7AB3822-C93C-4D16-8603-74CCB8DCA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1480" y="2702991"/>
            <a:ext cx="1447133" cy="310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Если с риелтором - быстро и просто</a:t>
            </a:r>
          </a:p>
        </p:txBody>
      </p:sp>
      <p:sp>
        <p:nvSpPr>
          <p:cNvPr id="115" name="Oval 87">
            <a:extLst>
              <a:ext uri="{FF2B5EF4-FFF2-40B4-BE49-F238E27FC236}">
                <a16:creationId xmlns:a16="http://schemas.microsoft.com/office/drawing/2014/main" id="{82DBD4B1-FAE4-41EC-B9CF-20F93FA4EFC1}"/>
              </a:ext>
            </a:extLst>
          </p:cNvPr>
          <p:cNvSpPr/>
          <p:nvPr/>
        </p:nvSpPr>
        <p:spPr>
          <a:xfrm rot="196727">
            <a:off x="4666211" y="2559250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16" name="Rectangle 11">
            <a:extLst>
              <a:ext uri="{FF2B5EF4-FFF2-40B4-BE49-F238E27FC236}">
                <a16:creationId xmlns:a16="http://schemas.microsoft.com/office/drawing/2014/main" id="{DD27AAF8-F432-4F2F-8A97-9DD9D82F2A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2491" y="2186600"/>
            <a:ext cx="1249505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Ощущение удовлетворения своим выбором</a:t>
            </a:r>
          </a:p>
        </p:txBody>
      </p:sp>
      <p:sp>
        <p:nvSpPr>
          <p:cNvPr id="117" name="Oval 87">
            <a:extLst>
              <a:ext uri="{FF2B5EF4-FFF2-40B4-BE49-F238E27FC236}">
                <a16:creationId xmlns:a16="http://schemas.microsoft.com/office/drawing/2014/main" id="{3D6252A3-EDDC-4DBB-8BFD-0ECFB0E0DF24}"/>
              </a:ext>
            </a:extLst>
          </p:cNvPr>
          <p:cNvSpPr/>
          <p:nvPr/>
        </p:nvSpPr>
        <p:spPr>
          <a:xfrm rot="196727">
            <a:off x="6055996" y="2020431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18" name="Rectangle 12">
            <a:extLst>
              <a:ext uri="{FF2B5EF4-FFF2-40B4-BE49-F238E27FC236}">
                <a16:creationId xmlns:a16="http://schemas.microsoft.com/office/drawing/2014/main" id="{68893825-B8BF-4633-BF1B-5AC12E80BA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7393" y="2696499"/>
            <a:ext cx="897843" cy="310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Радость ожидания</a:t>
            </a:r>
          </a:p>
        </p:txBody>
      </p:sp>
      <p:sp>
        <p:nvSpPr>
          <p:cNvPr id="119" name="Oval 87">
            <a:extLst>
              <a:ext uri="{FF2B5EF4-FFF2-40B4-BE49-F238E27FC236}">
                <a16:creationId xmlns:a16="http://schemas.microsoft.com/office/drawing/2014/main" id="{236D094A-20BE-4ABB-8AFB-253E0AB30B2D}"/>
              </a:ext>
            </a:extLst>
          </p:cNvPr>
          <p:cNvSpPr/>
          <p:nvPr/>
        </p:nvSpPr>
        <p:spPr>
          <a:xfrm rot="196727">
            <a:off x="7086095" y="2504179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43D657CC-EC7A-4440-8E76-4AA1523321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0666" y="3436304"/>
            <a:ext cx="1484829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Если без агента – приходится самому решать проблемы </a:t>
            </a:r>
            <a:br>
              <a:rPr lang="ru-RU" alt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с заключением сделки</a:t>
            </a:r>
            <a:endParaRPr lang="ru-RU" altLang="ru-RU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1" name="Rectangle 14">
            <a:extLst>
              <a:ext uri="{FF2B5EF4-FFF2-40B4-BE49-F238E27FC236}">
                <a16:creationId xmlns:a16="http://schemas.microsoft.com/office/drawing/2014/main" id="{C675CBC8-D6E7-4CF4-B89E-45DD90703C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1501" y="3754740"/>
            <a:ext cx="211798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Отсутствие</a:t>
            </a:r>
            <a:r>
              <a:rPr lang="ru-RU" altLang="ru-RU" sz="1000" b="1" dirty="0">
                <a:solidFill>
                  <a:schemeClr val="bg1"/>
                </a:solidFill>
              </a:rPr>
              <a:t> 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коммуникации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 после подписания договора </a:t>
            </a:r>
            <a:endParaRPr lang="ru-RU" altLang="ru-RU" sz="1000" b="1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</a:endParaRPr>
          </a:p>
        </p:txBody>
      </p:sp>
      <p:sp>
        <p:nvSpPr>
          <p:cNvPr id="122" name="Oval 87">
            <a:extLst>
              <a:ext uri="{FF2B5EF4-FFF2-40B4-BE49-F238E27FC236}">
                <a16:creationId xmlns:a16="http://schemas.microsoft.com/office/drawing/2014/main" id="{5A634CFD-BDFE-4679-ABBB-A4F0BEA84E10}"/>
              </a:ext>
            </a:extLst>
          </p:cNvPr>
          <p:cNvSpPr/>
          <p:nvPr/>
        </p:nvSpPr>
        <p:spPr>
          <a:xfrm rot="196727">
            <a:off x="6354157" y="3593063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23" name="Rectangle 15">
            <a:extLst>
              <a:ext uri="{FF2B5EF4-FFF2-40B4-BE49-F238E27FC236}">
                <a16:creationId xmlns:a16="http://schemas.microsoft.com/office/drawing/2014/main" id="{2A4EF605-65C4-4711-A0D1-5A34F67C95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7424" y="4362211"/>
            <a:ext cx="23679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Недостаточно </a:t>
            </a:r>
            <a:r>
              <a:rPr lang="ru-RU" altLang="ru-RU" sz="1000" b="1">
                <a:solidFill>
                  <a:schemeClr val="bg1"/>
                </a:solidFill>
              </a:rPr>
              <a:t>коммуникации</a:t>
            </a:r>
            <a:endParaRPr lang="en-US" sz="1000" b="1">
              <a:solidFill>
                <a:schemeClr val="bg1"/>
              </a:solidFill>
            </a:endParaRPr>
          </a:p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1">
                <a:solidFill>
                  <a:schemeClr val="bg1"/>
                </a:solidFill>
              </a:rPr>
              <a:t> </a:t>
            </a:r>
            <a:r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о ходе строительства</a:t>
            </a:r>
            <a:endParaRPr lang="ru-RU" sz="1000" b="1"/>
          </a:p>
        </p:txBody>
      </p:sp>
      <p:sp>
        <p:nvSpPr>
          <p:cNvPr id="124" name="Oval 87">
            <a:extLst>
              <a:ext uri="{FF2B5EF4-FFF2-40B4-BE49-F238E27FC236}">
                <a16:creationId xmlns:a16="http://schemas.microsoft.com/office/drawing/2014/main" id="{44BBB934-2264-49EF-9F2F-B6D112FB70A9}"/>
              </a:ext>
            </a:extLst>
          </p:cNvPr>
          <p:cNvSpPr/>
          <p:nvPr/>
        </p:nvSpPr>
        <p:spPr>
          <a:xfrm rot="196727">
            <a:off x="6610725" y="4191336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25" name="Rectangle 16">
            <a:extLst>
              <a:ext uri="{FF2B5EF4-FFF2-40B4-BE49-F238E27FC236}">
                <a16:creationId xmlns:a16="http://schemas.microsoft.com/office/drawing/2014/main" id="{858A477C-850F-4895-9439-C56993536E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8480" y="5090598"/>
            <a:ext cx="1555668" cy="310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Тревога, если задерживают сдачу</a:t>
            </a:r>
          </a:p>
        </p:txBody>
      </p:sp>
      <p:sp>
        <p:nvSpPr>
          <p:cNvPr id="126" name="Oval 87">
            <a:extLst>
              <a:ext uri="{FF2B5EF4-FFF2-40B4-BE49-F238E27FC236}">
                <a16:creationId xmlns:a16="http://schemas.microsoft.com/office/drawing/2014/main" id="{2142759D-06BE-44FA-901F-EF6B570DFA4B}"/>
              </a:ext>
            </a:extLst>
          </p:cNvPr>
          <p:cNvSpPr/>
          <p:nvPr/>
        </p:nvSpPr>
        <p:spPr>
          <a:xfrm rot="196727">
            <a:off x="7109827" y="4965616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27" name="Rectangle 18">
            <a:extLst>
              <a:ext uri="{FF2B5EF4-FFF2-40B4-BE49-F238E27FC236}">
                <a16:creationId xmlns:a16="http://schemas.microsoft.com/office/drawing/2014/main" id="{27A9B77D-90AE-413C-8747-7919C231A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4351" y="2148992"/>
            <a:ext cx="1257671" cy="417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Сдали в срок </a:t>
            </a:r>
            <a:b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(или с небольшой задержкой)</a:t>
            </a:r>
          </a:p>
        </p:txBody>
      </p:sp>
      <p:sp>
        <p:nvSpPr>
          <p:cNvPr id="128" name="Oval 87">
            <a:extLst>
              <a:ext uri="{FF2B5EF4-FFF2-40B4-BE49-F238E27FC236}">
                <a16:creationId xmlns:a16="http://schemas.microsoft.com/office/drawing/2014/main" id="{A91D3627-4998-445C-B7EF-B486537EF688}"/>
              </a:ext>
            </a:extLst>
          </p:cNvPr>
          <p:cNvSpPr/>
          <p:nvPr/>
        </p:nvSpPr>
        <p:spPr>
          <a:xfrm rot="196727">
            <a:off x="8418456" y="1993528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29" name="Rectangle 19">
            <a:extLst>
              <a:ext uri="{FF2B5EF4-FFF2-40B4-BE49-F238E27FC236}">
                <a16:creationId xmlns:a16="http://schemas.microsoft.com/office/drawing/2014/main" id="{E1BC3585-21CD-4FD7-A53D-30C2C9709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150" y="2678096"/>
            <a:ext cx="162691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Быстро устранили мелкие дефекты</a:t>
            </a:r>
          </a:p>
        </p:txBody>
      </p:sp>
      <p:sp>
        <p:nvSpPr>
          <p:cNvPr id="130" name="Oval 87">
            <a:extLst>
              <a:ext uri="{FF2B5EF4-FFF2-40B4-BE49-F238E27FC236}">
                <a16:creationId xmlns:a16="http://schemas.microsoft.com/office/drawing/2014/main" id="{9CD71B35-1659-428B-A05E-E8214813CFB5}"/>
              </a:ext>
            </a:extLst>
          </p:cNvPr>
          <p:cNvSpPr/>
          <p:nvPr/>
        </p:nvSpPr>
        <p:spPr>
          <a:xfrm rot="196727">
            <a:off x="9104993" y="2564733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31" name="Rectangle 20">
            <a:extLst>
              <a:ext uri="{FF2B5EF4-FFF2-40B4-BE49-F238E27FC236}">
                <a16:creationId xmlns:a16="http://schemas.microsoft.com/office/drawing/2014/main" id="{2DC1738C-01BB-4DFA-9E2A-405CDC4E72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0349" y="3602690"/>
            <a:ext cx="156055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Самостоятельный поиск </a:t>
            </a:r>
            <a:r>
              <a:rPr lang="ru-RU" altLang="ru-RU" sz="1000" b="1" dirty="0">
                <a:solidFill>
                  <a:schemeClr val="bg1"/>
                </a:solidFill>
              </a:rPr>
              <a:t>информации</a:t>
            </a:r>
            <a:endParaRPr lang="en-US" sz="1000" b="1" dirty="0">
              <a:solidFill>
                <a:schemeClr val="bg1"/>
              </a:solidFill>
            </a:endParaRPr>
          </a:p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1" dirty="0">
                <a:solidFill>
                  <a:srgbClr val="121212"/>
                </a:solidFill>
              </a:rPr>
              <a:t> 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о начале выдачи ключей</a:t>
            </a:r>
            <a:endParaRPr lang="ru-RU" sz="1000" b="1" dirty="0"/>
          </a:p>
        </p:txBody>
      </p:sp>
      <p:sp>
        <p:nvSpPr>
          <p:cNvPr id="132" name="Rectangle 21">
            <a:extLst>
              <a:ext uri="{FF2B5EF4-FFF2-40B4-BE49-F238E27FC236}">
                <a16:creationId xmlns:a16="http://schemas.microsoft.com/office/drawing/2014/main" id="{2BF5D0C5-0B21-4993-A573-929D155C79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7245" y="4691121"/>
            <a:ext cx="181591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1163638" algn="l"/>
              </a:tabLst>
              <a:defRPr/>
            </a:pPr>
            <a:r>
              <a:rPr lang="ru-RU" altLang="ru-RU" sz="1000" b="1" dirty="0">
                <a:solidFill>
                  <a:schemeClr val="bg1"/>
                </a:solidFill>
              </a:rPr>
              <a:t>Отсутствие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lang="ru-RU" altLang="ru-RU" sz="1000" b="1" dirty="0">
                <a:solidFill>
                  <a:schemeClr val="bg1"/>
                </a:solidFill>
              </a:rPr>
              <a:t>коммуникации</a:t>
            </a:r>
            <a:r>
              <a:rPr lang="ru-RU" altLang="ru-RU" sz="1000" b="1" dirty="0">
                <a:solidFill>
                  <a:srgbClr val="121212"/>
                </a:solidFill>
              </a:rPr>
              <a:t> </a:t>
            </a:r>
            <a:br>
              <a:rPr lang="ru-RU" altLang="ru-RU" sz="1000" b="1" dirty="0">
                <a:solidFill>
                  <a:srgbClr val="121212"/>
                </a:solidFill>
              </a:rPr>
            </a:br>
            <a:r>
              <a:rPr lang="ru-RU" altLang="ru-RU" sz="1000" b="1" dirty="0">
                <a:solidFill>
                  <a:srgbClr val="121212"/>
                </a:solidFill>
              </a:rPr>
              <a:t>о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 </a:t>
            </a:r>
            <a:r>
              <a:rPr lang="ru-RU" altLang="ru-RU" sz="1000" b="1" dirty="0">
                <a:solidFill>
                  <a:srgbClr val="121212"/>
                </a:solidFill>
              </a:rPr>
              <a:t>причине</a:t>
            </a: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 </a:t>
            </a:r>
            <a:r>
              <a:rPr lang="ru-RU" altLang="ru-RU" sz="1000" b="1" dirty="0">
                <a:solidFill>
                  <a:srgbClr val="121212"/>
                </a:solidFill>
              </a:rPr>
              <a:t>и задержки</a:t>
            </a:r>
            <a:endParaRPr kumimoji="0" lang="ru-RU" altLang="ru-RU" sz="1000" b="1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</a:endParaRPr>
          </a:p>
        </p:txBody>
      </p:sp>
      <p:sp>
        <p:nvSpPr>
          <p:cNvPr id="133" name="Oval 87">
            <a:extLst>
              <a:ext uri="{FF2B5EF4-FFF2-40B4-BE49-F238E27FC236}">
                <a16:creationId xmlns:a16="http://schemas.microsoft.com/office/drawing/2014/main" id="{68777DFD-597B-4AB5-A5FB-628A278F37FB}"/>
              </a:ext>
            </a:extLst>
          </p:cNvPr>
          <p:cNvSpPr/>
          <p:nvPr/>
        </p:nvSpPr>
        <p:spPr>
          <a:xfrm rot="196727">
            <a:off x="8737763" y="4510033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34" name="Oval 87">
            <a:extLst>
              <a:ext uri="{FF2B5EF4-FFF2-40B4-BE49-F238E27FC236}">
                <a16:creationId xmlns:a16="http://schemas.microsoft.com/office/drawing/2014/main" id="{244B2461-74A9-4A60-9BB3-F5B57BFA710F}"/>
              </a:ext>
            </a:extLst>
          </p:cNvPr>
          <p:cNvSpPr/>
          <p:nvPr/>
        </p:nvSpPr>
        <p:spPr>
          <a:xfrm rot="196727">
            <a:off x="8094188" y="3621279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35" name="Rectangle 22">
            <a:extLst>
              <a:ext uri="{FF2B5EF4-FFF2-40B4-BE49-F238E27FC236}">
                <a16:creationId xmlns:a16="http://schemas.microsoft.com/office/drawing/2014/main" id="{0C2547B3-F36C-48DB-8F25-2C6259074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0719" y="3613551"/>
            <a:ext cx="132430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Долгое устранение дефектов</a:t>
            </a:r>
          </a:p>
        </p:txBody>
      </p:sp>
      <p:sp>
        <p:nvSpPr>
          <p:cNvPr id="136" name="Rectangle 23">
            <a:extLst>
              <a:ext uri="{FF2B5EF4-FFF2-40B4-BE49-F238E27FC236}">
                <a16:creationId xmlns:a16="http://schemas.microsoft.com/office/drawing/2014/main" id="{EA57184F-493A-47A6-B5D6-07AFA4B7B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8740" y="4082277"/>
            <a:ext cx="2520439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«Футбол» между застройщиком и УК </a:t>
            </a:r>
          </a:p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1" dirty="0">
                <a:solidFill>
                  <a:schemeClr val="bg1"/>
                </a:solidFill>
              </a:rPr>
              <a:t>отсутствие единой системы коммуникации</a:t>
            </a:r>
          </a:p>
        </p:txBody>
      </p:sp>
      <p:sp>
        <p:nvSpPr>
          <p:cNvPr id="137" name="Rectangle 24">
            <a:extLst>
              <a:ext uri="{FF2B5EF4-FFF2-40B4-BE49-F238E27FC236}">
                <a16:creationId xmlns:a16="http://schemas.microsoft.com/office/drawing/2014/main" id="{DFBCABF4-5A24-47A6-9F63-298CC8A133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52583" y="4698646"/>
            <a:ext cx="1976239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Работа инженерных систем при передаче дома (вентиляция, лифты)</a:t>
            </a:r>
          </a:p>
        </p:txBody>
      </p:sp>
      <p:sp>
        <p:nvSpPr>
          <p:cNvPr id="138" name="Rectangle 25">
            <a:extLst>
              <a:ext uri="{FF2B5EF4-FFF2-40B4-BE49-F238E27FC236}">
                <a16:creationId xmlns:a16="http://schemas.microsoft.com/office/drawing/2014/main" id="{82ABFD56-6E96-4D14-A477-76E51C502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03162" y="5306634"/>
            <a:ext cx="185388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</a:rPr>
              <a:t>Разочарование, ощущение брошенности</a:t>
            </a:r>
            <a:endParaRPr lang="ru-RU" altLang="ru-RU" sz="1000" b="1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</a:endParaRPr>
          </a:p>
        </p:txBody>
      </p:sp>
      <p:sp>
        <p:nvSpPr>
          <p:cNvPr id="139" name="Oval 87">
            <a:extLst>
              <a:ext uri="{FF2B5EF4-FFF2-40B4-BE49-F238E27FC236}">
                <a16:creationId xmlns:a16="http://schemas.microsoft.com/office/drawing/2014/main" id="{E3502922-6D37-4809-A342-DEC3336F7A56}"/>
              </a:ext>
            </a:extLst>
          </p:cNvPr>
          <p:cNvSpPr/>
          <p:nvPr/>
        </p:nvSpPr>
        <p:spPr>
          <a:xfrm rot="196727">
            <a:off x="10664279" y="5131922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40" name="Oval 87">
            <a:extLst>
              <a:ext uri="{FF2B5EF4-FFF2-40B4-BE49-F238E27FC236}">
                <a16:creationId xmlns:a16="http://schemas.microsoft.com/office/drawing/2014/main" id="{17F6EF25-C744-4F84-91AA-6472A583B2AD}"/>
              </a:ext>
            </a:extLst>
          </p:cNvPr>
          <p:cNvSpPr/>
          <p:nvPr/>
        </p:nvSpPr>
        <p:spPr>
          <a:xfrm rot="196727">
            <a:off x="11086406" y="4515432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41" name="Oval 87">
            <a:extLst>
              <a:ext uri="{FF2B5EF4-FFF2-40B4-BE49-F238E27FC236}">
                <a16:creationId xmlns:a16="http://schemas.microsoft.com/office/drawing/2014/main" id="{5F4A9422-955E-441D-B819-04D5C68649BB}"/>
              </a:ext>
            </a:extLst>
          </p:cNvPr>
          <p:cNvSpPr/>
          <p:nvPr/>
        </p:nvSpPr>
        <p:spPr>
          <a:xfrm rot="196727">
            <a:off x="10894376" y="3916259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42" name="Oval 87">
            <a:extLst>
              <a:ext uri="{FF2B5EF4-FFF2-40B4-BE49-F238E27FC236}">
                <a16:creationId xmlns:a16="http://schemas.microsoft.com/office/drawing/2014/main" id="{C9BADC23-B6F0-4E15-B940-4799BA2A4370}"/>
              </a:ext>
            </a:extLst>
          </p:cNvPr>
          <p:cNvSpPr/>
          <p:nvPr/>
        </p:nvSpPr>
        <p:spPr>
          <a:xfrm rot="196727">
            <a:off x="10562414" y="3431516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43" name="Oval 87">
            <a:extLst>
              <a:ext uri="{FF2B5EF4-FFF2-40B4-BE49-F238E27FC236}">
                <a16:creationId xmlns:a16="http://schemas.microsoft.com/office/drawing/2014/main" id="{0614BB2A-1BEF-48E3-8DB1-CE12B63B169B}"/>
              </a:ext>
            </a:extLst>
          </p:cNvPr>
          <p:cNvSpPr/>
          <p:nvPr/>
        </p:nvSpPr>
        <p:spPr>
          <a:xfrm rot="196727">
            <a:off x="10504467" y="2712980"/>
            <a:ext cx="144000" cy="14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144" name="Rectangle 19">
            <a:extLst>
              <a:ext uri="{FF2B5EF4-FFF2-40B4-BE49-F238E27FC236}">
                <a16:creationId xmlns:a16="http://schemas.microsoft.com/office/drawing/2014/main" id="{749B7AA6-CDC2-48EB-8218-7364F2D45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47892" y="2820776"/>
            <a:ext cx="10136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ea typeface="+mn-ea"/>
                <a:cs typeface="+mn-cs"/>
              </a:rPr>
              <a:t>Крыша над головой</a:t>
            </a:r>
          </a:p>
        </p:txBody>
      </p:sp>
      <p:sp>
        <p:nvSpPr>
          <p:cNvPr id="146" name="Заголовок 1">
            <a:extLst>
              <a:ext uri="{FF2B5EF4-FFF2-40B4-BE49-F238E27FC236}">
                <a16:creationId xmlns:a16="http://schemas.microsoft.com/office/drawing/2014/main" id="{413C1A23-E195-4E8B-912C-754F2917D6DA}"/>
              </a:ext>
            </a:extLst>
          </p:cNvPr>
          <p:cNvSpPr txBox="1">
            <a:spLocks/>
          </p:cNvSpPr>
          <p:nvPr/>
        </p:nvSpPr>
        <p:spPr>
          <a:xfrm>
            <a:off x="371475" y="311031"/>
            <a:ext cx="11449049" cy="2862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400" dirty="0">
                <a:solidFill>
                  <a:srgbClr val="FFFFFF"/>
                </a:solidFill>
                <a:latin typeface="+mn-lt"/>
                <a:ea typeface="+mj-lt"/>
                <a:cs typeface="+mj-lt"/>
              </a:rPr>
              <a:t>MOMENT OF TRUTH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 Thin" panose="020B0304030203060204" pitchFamily="34" charset="0"/>
                <a:ea typeface="+mn-ea"/>
                <a:cs typeface="+mn-cs"/>
              </a:rPr>
              <a:t>|</a:t>
            </a:r>
            <a:r>
              <a:rPr lang="ru-RU" sz="1400" dirty="0">
                <a:solidFill>
                  <a:srgbClr val="FFFFFF"/>
                </a:solidFill>
                <a:latin typeface="DIN PT Bold"/>
              </a:rPr>
              <a:t> </a:t>
            </a:r>
            <a:r>
              <a:rPr lang="en-US" sz="1400" dirty="0">
                <a:solidFill>
                  <a:schemeClr val="accent1"/>
                </a:solidFill>
                <a:latin typeface="DIN PT"/>
              </a:rPr>
              <a:t>CUSTOMER JOURNEY MAP</a:t>
            </a:r>
            <a:endParaRPr lang="en-US" sz="1400" dirty="0">
              <a:solidFill>
                <a:schemeClr val="accent1"/>
              </a:solidFill>
              <a:latin typeface="DIN PT" panose="020B0504030203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611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4DC550-DFB4-42B2-9C88-F794E0578CFF}"/>
              </a:ext>
            </a:extLst>
          </p:cNvPr>
          <p:cNvSpPr txBox="1">
            <a:spLocks/>
          </p:cNvSpPr>
          <p:nvPr/>
        </p:nvSpPr>
        <p:spPr>
          <a:xfrm>
            <a:off x="371475" y="311031"/>
            <a:ext cx="11449049" cy="2862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ВЛИЯНИЕ ЭТАПОВ ПУТИ НА NPS ИНДЕКС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DIN PT Thin" panose="020B0304030203060204" pitchFamily="34" charset="0"/>
                <a:ea typeface="+mn-ea"/>
                <a:cs typeface="+mn-cs"/>
              </a:rPr>
              <a:t> | 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ВКЛАДЫ НА ОСНОВЕ МОДЕЛИРОВАНИЯ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BAF3A5C-A3B6-4394-9FF0-96660A29A222}"/>
              </a:ext>
            </a:extLst>
          </p:cNvPr>
          <p:cNvGraphicFramePr>
            <a:graphicFrameLocks noGrp="1"/>
          </p:cNvGraphicFramePr>
          <p:nvPr/>
        </p:nvGraphicFramePr>
        <p:xfrm>
          <a:off x="371474" y="1903413"/>
          <a:ext cx="11449050" cy="1085351"/>
        </p:xfrm>
        <a:graphic>
          <a:graphicData uri="http://schemas.openxmlformats.org/drawingml/2006/table">
            <a:tbl>
              <a:tblPr/>
              <a:tblGrid>
                <a:gridCol w="1908175">
                  <a:extLst>
                    <a:ext uri="{9D8B030D-6E8A-4147-A177-3AD203B41FA5}">
                      <a16:colId xmlns:a16="http://schemas.microsoft.com/office/drawing/2014/main" val="331971852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572814595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354388017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4083946463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88088404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193255098"/>
                    </a:ext>
                  </a:extLst>
                </a:gridCol>
              </a:tblGrid>
              <a:tr h="401351">
                <a:tc gridSpan="2"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Выбор и покупка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C0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tx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Ожидание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tx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Приемка, заселение</a:t>
                      </a:r>
                      <a:br>
                        <a:rPr lang="ru-RU" sz="1200" b="0" i="0" u="none" strike="noStrike">
                          <a:solidFill>
                            <a:schemeClr val="tx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chemeClr val="tx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и ремонт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F1A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ru-RU" sz="1200" b="0" i="0" u="none" strike="noStrike">
                          <a:solidFill>
                            <a:schemeClr val="tx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Проживание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F1A">
                        <a:lumMod val="60000"/>
                        <a:lumOff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751750"/>
                  </a:ext>
                </a:extLst>
              </a:tr>
              <a:tr h="684000"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Взаимодействие</a:t>
                      </a:r>
                      <a:r>
                        <a:rPr lang="ru-RU" sz="1200" b="0" i="0" u="none" strike="noStrike" baseline="0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ru-RU" sz="1200" b="0" i="0" u="none" strike="noStrike" baseline="0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="0" i="0" u="none" strike="noStrike" baseline="0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в процессе выбора</a:t>
                      </a:r>
                      <a:endParaRPr lang="ru-RU" sz="1200" b="0" i="0" u="none" strike="noStrike">
                        <a:solidFill>
                          <a:schemeClr val="bg1"/>
                        </a:solidFill>
                        <a:effectLst/>
                        <a:latin typeface="DIN PT" panose="020B050403020306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Совершение сделки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ru-RU" sz="1200" b="0" i="0" u="none" strike="noStrike">
                        <a:solidFill>
                          <a:schemeClr val="bg1"/>
                        </a:solidFill>
                        <a:effectLst/>
                        <a:latin typeface="DIN PT" panose="020B050403020306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ru-RU" sz="1200" b="0" i="0" u="none" strike="noStrike">
                        <a:solidFill>
                          <a:schemeClr val="bg1"/>
                        </a:solidFill>
                        <a:effectLst/>
                        <a:latin typeface="DIN PT" panose="020B050403020306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ru-RU" sz="1200" b="0" i="0" u="none" strike="noStrike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Гарантийное</a:t>
                      </a:r>
                      <a:r>
                        <a:rPr lang="ru-RU" sz="1200" b="0" i="0" u="none" strike="noStrike" baseline="0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 обслуживание</a:t>
                      </a:r>
                      <a:endParaRPr lang="ru-RU" sz="1200" b="0" i="0" u="none" strike="noStrike">
                        <a:solidFill>
                          <a:schemeClr val="bg1"/>
                        </a:solidFill>
                        <a:effectLst/>
                        <a:latin typeface="DIN PT" panose="020B050403020306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7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54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3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09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886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062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240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418" algn="l" defTabSz="91435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DIN PT" panose="020B0504030203060204" pitchFamily="34" charset="0"/>
                          <a:cs typeface="Arial" panose="020B0604020202020204" pitchFamily="34" charset="0"/>
                        </a:rPr>
                        <a:t>Работа УК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8079683"/>
                  </a:ext>
                </a:extLst>
              </a:tr>
            </a:tbl>
          </a:graphicData>
        </a:graphic>
      </p:graphicFrame>
      <p:sp>
        <p:nvSpPr>
          <p:cNvPr id="4" name="Овал 3">
            <a:extLst>
              <a:ext uri="{FF2B5EF4-FFF2-40B4-BE49-F238E27FC236}">
                <a16:creationId xmlns:a16="http://schemas.microsoft.com/office/drawing/2014/main" id="{64D4A88E-57F2-44A5-896F-B12DE85D6A3C}"/>
              </a:ext>
            </a:extLst>
          </p:cNvPr>
          <p:cNvSpPr/>
          <p:nvPr/>
        </p:nvSpPr>
        <p:spPr>
          <a:xfrm>
            <a:off x="840223" y="3229885"/>
            <a:ext cx="899060" cy="899060"/>
          </a:xfrm>
          <a:prstGeom prst="ellips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PT Extra Bold" panose="020B0804030203060204" pitchFamily="34" charset="0"/>
              </a:rPr>
              <a:t>23</a:t>
            </a:r>
            <a:r>
              <a:rPr kumimoji="0" lang="ru-RU" sz="2000" b="0" i="0" u="none" strike="noStrike" kern="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PT Extra Bold" panose="020B0804030203060204" pitchFamily="34" charset="0"/>
              </a:rPr>
              <a:t>%</a:t>
            </a:r>
            <a:endParaRPr lang="ru-RU" sz="2400" b="0" i="0" u="none" strike="noStrike" kern="0" cap="none" spc="0" normalizeH="0" baseline="3000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DIN PT Extra Bold" panose="020B0804030203060204" pitchFamily="34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322D4593-823F-476C-B82D-E3EAC4405E67}"/>
              </a:ext>
            </a:extLst>
          </p:cNvPr>
          <p:cNvSpPr/>
          <p:nvPr/>
        </p:nvSpPr>
        <p:spPr>
          <a:xfrm>
            <a:off x="2786459" y="3351158"/>
            <a:ext cx="656514" cy="656514"/>
          </a:xfrm>
          <a:prstGeom prst="ellips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11</a:t>
            </a:r>
            <a:r>
              <a:rPr kumimoji="0" lang="ru-RU" sz="1600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%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54F261CF-2110-431C-8318-6CFEEB38591B}"/>
              </a:ext>
            </a:extLst>
          </p:cNvPr>
          <p:cNvSpPr/>
          <p:nvPr/>
        </p:nvSpPr>
        <p:spPr>
          <a:xfrm>
            <a:off x="8627755" y="3229885"/>
            <a:ext cx="899060" cy="899060"/>
          </a:xfrm>
          <a:prstGeom prst="ellips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PT Extra Bold" panose="020B0804030203060204" pitchFamily="34" charset="0"/>
              </a:rPr>
              <a:t>22</a:t>
            </a:r>
            <a:r>
              <a:rPr kumimoji="0" lang="ru-RU" sz="2000" b="0" i="0" u="none" strike="noStrike" kern="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PT Extra Bold" panose="020B0804030203060204" pitchFamily="34" charset="0"/>
              </a:rPr>
              <a:t>%</a:t>
            </a:r>
            <a:endParaRPr lang="ru-RU" sz="2400" b="0" i="0" u="none" strike="noStrike" kern="0" cap="none" spc="0" normalizeH="0" baseline="3000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DIN PT Extra Bold" panose="020B0804030203060204" pitchFamily="34" charset="0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528AF4A1-94D9-4C0B-8D99-2B1AA2CCA537}"/>
              </a:ext>
            </a:extLst>
          </p:cNvPr>
          <p:cNvSpPr/>
          <p:nvPr/>
        </p:nvSpPr>
        <p:spPr>
          <a:xfrm>
            <a:off x="10768328" y="3351158"/>
            <a:ext cx="656514" cy="656514"/>
          </a:xfrm>
          <a:prstGeom prst="ellips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12</a:t>
            </a:r>
            <a:r>
              <a:rPr kumimoji="0" lang="ru-RU" sz="1600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%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BB500C91-77E4-417C-BC70-5FD28F054EA9}"/>
              </a:ext>
            </a:extLst>
          </p:cNvPr>
          <p:cNvSpPr/>
          <p:nvPr/>
        </p:nvSpPr>
        <p:spPr>
          <a:xfrm>
            <a:off x="4958159" y="3351158"/>
            <a:ext cx="656514" cy="656514"/>
          </a:xfrm>
          <a:prstGeom prst="ellips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16</a:t>
            </a:r>
            <a:r>
              <a:rPr kumimoji="0" lang="ru-RU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%</a:t>
            </a:r>
            <a:endParaRPr kumimoji="0" lang="ru-RU" sz="2000" b="0" i="0" u="none" strike="noStrike" kern="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ACD2687E-DA66-476C-B862-398CEDF1A182}"/>
              </a:ext>
            </a:extLst>
          </p:cNvPr>
          <p:cNvSpPr/>
          <p:nvPr/>
        </p:nvSpPr>
        <p:spPr>
          <a:xfrm>
            <a:off x="6729728" y="3351158"/>
            <a:ext cx="656514" cy="656514"/>
          </a:xfrm>
          <a:prstGeom prst="ellips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16</a:t>
            </a:r>
            <a:r>
              <a:rPr kumimoji="0" lang="ru-RU" b="0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%</a:t>
            </a:r>
            <a:endParaRPr kumimoji="0" lang="ru-RU" sz="2000" b="0" i="0" u="none" strike="noStrike" kern="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858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7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87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75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875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3">
            <a:extLst>
              <a:ext uri="{FF2B5EF4-FFF2-40B4-BE49-F238E27FC236}">
                <a16:creationId xmlns:a16="http://schemas.microsoft.com/office/drawing/2014/main" id="{493A38C6-70A3-440F-B469-B6E75044066F}"/>
              </a:ext>
            </a:extLst>
          </p:cNvPr>
          <p:cNvSpPr/>
          <p:nvPr/>
        </p:nvSpPr>
        <p:spPr>
          <a:xfrm>
            <a:off x="7898182" y="2898188"/>
            <a:ext cx="3297824" cy="1844630"/>
          </a:xfrm>
          <a:prstGeom prst="roundRect">
            <a:avLst/>
          </a:prstGeom>
          <a:gradFill flip="none" rotWithShape="1">
            <a:gsLst>
              <a:gs pos="71000">
                <a:schemeClr val="accent1">
                  <a:lumMod val="100000"/>
                </a:schemeClr>
              </a:gs>
              <a:gs pos="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203200" sx="99000" sy="99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6CBECB-4291-417E-A0CB-497503DE8EEB}"/>
              </a:ext>
            </a:extLst>
          </p:cNvPr>
          <p:cNvSpPr txBox="1">
            <a:spLocks/>
          </p:cNvSpPr>
          <p:nvPr/>
        </p:nvSpPr>
        <p:spPr>
          <a:xfrm>
            <a:off x="371475" y="311031"/>
            <a:ext cx="11449049" cy="2862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НАЛИЧИЕ СВОЕВРЕМЕННЫХ КОММУНИКАЦИЙ 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DIN PT" panose="020B0504030203060204" pitchFamily="34" charset="0"/>
                <a:ea typeface="+mn-ea"/>
                <a:cs typeface="+mn-cs"/>
              </a:rPr>
              <a:t>ВЛИЯЕТ НА УРОВЕНЬ ЛОЯЛЬНОСТИ КЛИЕНТА</a:t>
            </a: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86D574D9-279B-4307-9656-EAB74CF1FC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776556"/>
              </p:ext>
            </p:extLst>
          </p:nvPr>
        </p:nvGraphicFramePr>
        <p:xfrm>
          <a:off x="307931" y="836613"/>
          <a:ext cx="5883320" cy="5902944"/>
        </p:xfrm>
        <a:graphic>
          <a:graphicData uri="http://schemas.openxmlformats.org/drawingml/2006/table">
            <a:tbl>
              <a:tblPr/>
              <a:tblGrid>
                <a:gridCol w="741268">
                  <a:extLst>
                    <a:ext uri="{9D8B030D-6E8A-4147-A177-3AD203B41FA5}">
                      <a16:colId xmlns:a16="http://schemas.microsoft.com/office/drawing/2014/main" val="1582957198"/>
                    </a:ext>
                  </a:extLst>
                </a:gridCol>
                <a:gridCol w="4642671">
                  <a:extLst>
                    <a:ext uri="{9D8B030D-6E8A-4147-A177-3AD203B41FA5}">
                      <a16:colId xmlns:a16="http://schemas.microsoft.com/office/drawing/2014/main" val="3805558000"/>
                    </a:ext>
                  </a:extLst>
                </a:gridCol>
                <a:gridCol w="499381">
                  <a:extLst>
                    <a:ext uri="{9D8B030D-6E8A-4147-A177-3AD203B41FA5}">
                      <a16:colId xmlns:a16="http://schemas.microsoft.com/office/drawing/2014/main" val="1150981454"/>
                    </a:ext>
                  </a:extLst>
                </a:gridCol>
              </a:tblGrid>
              <a:tr h="148848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9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ыбор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C0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784525"/>
                  </a:ext>
                </a:extLst>
              </a:tr>
              <a:tr h="14884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3%</a:t>
                      </a:r>
                    </a:p>
                  </a:txBody>
                  <a:tcPr marL="1630" marR="1630" marT="1630" marB="782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бота сайта, качество консультации и скорость ответа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77951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бота менеджера в офисе застройщика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581772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ответствие предложенных вариантов квартир потребностям клиентов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3700932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озрачность информации о стоимости и условиях сделки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5377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инансовые инструменты застройщика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002406"/>
                  </a:ext>
                </a:extLst>
              </a:tr>
              <a:tr h="148848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9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делка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C0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5366447"/>
                  </a:ext>
                </a:extLst>
              </a:tr>
              <a:tr h="150354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1630" marR="1630" marT="1630" marB="782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бота менеджера и его вовлеченность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129152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ирование клиента на всех этапах сделки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852598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людение предварительных условий по стоимости недвижимости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996465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омощь при взаимодействии с банком при оформлении ипотеки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274918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корость выхода на сделку (в т.ч. объем документов)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746274"/>
                  </a:ext>
                </a:extLst>
              </a:tr>
              <a:tr h="148848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9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жидание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6926028"/>
                  </a:ext>
                </a:extLst>
              </a:tr>
              <a:tr h="14884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1630" marR="1630" marT="1630" marB="782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олнота и регулярность информирования о ходе строительства 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665950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людение сроков передачи объекта (в т.ч. информирование при задержке)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987672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о фото и видео материалов и возможность посетить площадку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545655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корость и качество консультации представителей застройщика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955144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ирование и подготовка к этапу заселения. Предоставление удобных сервисов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522758"/>
                  </a:ext>
                </a:extLst>
              </a:tr>
              <a:tr h="148848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9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селение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D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9311"/>
                  </a:ext>
                </a:extLst>
              </a:tr>
              <a:tr h="14884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1630" marR="1630" marT="1630" marB="782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о продукта (удовлетворенность ЖК)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274773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о и скорость устранения дефектов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823038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оактивность</a:t>
                      </a:r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застройщика  в устранении дефектов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715540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ответствие предоставленного на приемке жилья ожиданиям 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5894551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Удобство и быстрота взаимодействия с застройщиком, информирование клиента 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1225985"/>
                  </a:ext>
                </a:extLst>
              </a:tr>
              <a:tr h="148848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9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арантия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97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854973"/>
                  </a:ext>
                </a:extLst>
              </a:tr>
              <a:tr h="14884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1630" marR="1630" marT="1630" marB="782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воевременность устранения гарантийных замечаний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419211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о выполнения работ по гарантийной заявке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12165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Удобство взаимодействия с УК и застройщиком на этапе гарантийного обслуживания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68136"/>
                  </a:ext>
                </a:extLst>
              </a:tr>
              <a:tr h="1366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людение Застройщиком гарантийных обязательств (признание заявки гарантийной)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901652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о консультации и действия сотрудников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535541"/>
                  </a:ext>
                </a:extLst>
              </a:tr>
              <a:tr h="148848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95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живание</a:t>
                      </a:r>
                      <a:r>
                        <a:rPr lang="ru-RU" sz="95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97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95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7651721"/>
                  </a:ext>
                </a:extLst>
              </a:tr>
              <a:tr h="14884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1630" marR="1630" marT="1630" marB="782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нтроль УК за порядком и чистотой в ЖК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96233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о и скорость отработки заявок жителей, информирование о статусе заявки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39945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тоимость услуг, прозрачность начисления платежей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527882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Вежливость и компетентность сотрудников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5666193"/>
                  </a:ext>
                </a:extLst>
              </a:tr>
              <a:tr h="1488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о дополнительных услуг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1630" marR="1630" marT="1630" marB="782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994522"/>
                  </a:ext>
                </a:extLst>
              </a:tr>
            </a:tbl>
          </a:graphicData>
        </a:graphic>
      </p:graphicFrame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42880D2F-A546-E36D-DDCC-912121C0A505}"/>
              </a:ext>
            </a:extLst>
          </p:cNvPr>
          <p:cNvGrpSpPr/>
          <p:nvPr/>
        </p:nvGrpSpPr>
        <p:grpSpPr>
          <a:xfrm rot="16200000">
            <a:off x="6454464" y="2188274"/>
            <a:ext cx="763549" cy="638133"/>
            <a:chOff x="1275375" y="4243101"/>
            <a:chExt cx="7801911" cy="1141501"/>
          </a:xfrm>
        </p:grpSpPr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id="{8B272966-62A9-3E35-AA00-3A954E36E0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75375" y="5384602"/>
              <a:ext cx="7801910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  <a:tail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" name="Прямая со стрелкой 4">
              <a:extLst>
                <a:ext uri="{FF2B5EF4-FFF2-40B4-BE49-F238E27FC236}">
                  <a16:creationId xmlns:a16="http://schemas.microsoft.com/office/drawing/2014/main" id="{7E46F706-08B0-30F9-87C3-3F070A65E8A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77285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" name="Прямая со стрелкой 5">
              <a:extLst>
                <a:ext uri="{FF2B5EF4-FFF2-40B4-BE49-F238E27FC236}">
                  <a16:creationId xmlns:a16="http://schemas.microsoft.com/office/drawing/2014/main" id="{21EEDC49-59AE-F276-39AC-44240F46B8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89752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BD6C6B7-A68C-D523-B566-6368C7FDA047}"/>
              </a:ext>
            </a:extLst>
          </p:cNvPr>
          <p:cNvGrpSpPr/>
          <p:nvPr/>
        </p:nvGrpSpPr>
        <p:grpSpPr>
          <a:xfrm rot="16200000">
            <a:off x="6349043" y="3646477"/>
            <a:ext cx="974393" cy="638135"/>
            <a:chOff x="1275375" y="4243101"/>
            <a:chExt cx="7801911" cy="1141501"/>
          </a:xfrm>
        </p:grpSpPr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6E083835-B9EC-BB3C-A267-E17F71E47A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75375" y="5384602"/>
              <a:ext cx="7801910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  <a:tail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" name="Прямая со стрелкой 8">
              <a:extLst>
                <a:ext uri="{FF2B5EF4-FFF2-40B4-BE49-F238E27FC236}">
                  <a16:creationId xmlns:a16="http://schemas.microsoft.com/office/drawing/2014/main" id="{1B5D20D9-4F05-9EFF-6BCE-D0AB5CFE2A6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77285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" name="Прямая со стрелкой 9">
              <a:extLst>
                <a:ext uri="{FF2B5EF4-FFF2-40B4-BE49-F238E27FC236}">
                  <a16:creationId xmlns:a16="http://schemas.microsoft.com/office/drawing/2014/main" id="{98301953-B0BF-8AF1-0E51-3A4F8A69855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89752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C481AACE-25EE-9EBA-6549-01DD6E80E012}"/>
              </a:ext>
            </a:extLst>
          </p:cNvPr>
          <p:cNvGrpSpPr/>
          <p:nvPr/>
        </p:nvGrpSpPr>
        <p:grpSpPr>
          <a:xfrm rot="16200000">
            <a:off x="6380564" y="5129945"/>
            <a:ext cx="814073" cy="638133"/>
            <a:chOff x="1275375" y="4243101"/>
            <a:chExt cx="7801911" cy="1141501"/>
          </a:xfrm>
        </p:grpSpPr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7FD24D3E-C882-53AA-64A8-961AF9398F8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75375" y="5384602"/>
              <a:ext cx="7801910" cy="0"/>
            </a:xfrm>
            <a:prstGeom prst="line">
              <a:avLst/>
            </a:prstGeom>
            <a:noFill/>
            <a:ln w="6350" cap="rnd">
              <a:solidFill>
                <a:schemeClr val="accent1"/>
              </a:solidFill>
              <a:round/>
              <a:tail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" name="Прямая со стрелкой 12">
              <a:extLst>
                <a:ext uri="{FF2B5EF4-FFF2-40B4-BE49-F238E27FC236}">
                  <a16:creationId xmlns:a16="http://schemas.microsoft.com/office/drawing/2014/main" id="{DAEFD363-1D84-943A-6507-CBB155648C2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77285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Прямая со стрелкой 13">
              <a:extLst>
                <a:ext uri="{FF2B5EF4-FFF2-40B4-BE49-F238E27FC236}">
                  <a16:creationId xmlns:a16="http://schemas.microsoft.com/office/drawing/2014/main" id="{6B4BF560-1406-59CA-3328-B5877622B9C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89752" y="4243101"/>
              <a:ext cx="1" cy="1141501"/>
            </a:xfrm>
            <a:prstGeom prst="straightConnector1">
              <a:avLst/>
            </a:prstGeom>
            <a:noFill/>
            <a:ln w="6350" cap="rnd">
              <a:solidFill>
                <a:schemeClr val="accent1"/>
              </a:solidFill>
              <a:round/>
              <a:tailEnd type="stealt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688F1F0F-6B1B-4657-BBF3-744D632559E4}"/>
              </a:ext>
            </a:extLst>
          </p:cNvPr>
          <p:cNvSpPr/>
          <p:nvPr/>
        </p:nvSpPr>
        <p:spPr>
          <a:xfrm>
            <a:off x="8047170" y="4151788"/>
            <a:ext cx="2235445" cy="293431"/>
          </a:xfrm>
          <a:prstGeom prst="roundRect">
            <a:avLst>
              <a:gd name="adj" fmla="val 16957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FFFFFF"/>
                </a:solidFill>
                <a:latin typeface="DIN PT" panose="020B0504030203060204" pitchFamily="34" charset="0"/>
              </a:rPr>
              <a:t>Увеличение индекса потребительской лояльност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PT" panose="020B050403020306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5B93B9-F3F9-4483-99E1-EECF07B359DF}"/>
              </a:ext>
            </a:extLst>
          </p:cNvPr>
          <p:cNvSpPr txBox="1"/>
          <p:nvPr/>
        </p:nvSpPr>
        <p:spPr>
          <a:xfrm>
            <a:off x="7518944" y="3046063"/>
            <a:ext cx="264734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/>
              </a:rPr>
              <a:t>17</a:t>
            </a:r>
            <a:r>
              <a:rPr kumimoji="0" lang="ru-RU" sz="600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/>
              </a:rPr>
              <a:t>%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DIN PT" panose="020B0504030203060204" pitchFamily="34" charset="0"/>
              <a:ea typeface="Verdana" panose="020B0604030504040204" pitchFamily="34" charset="0"/>
              <a:cs typeface="Arial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8765D9B-61B2-48F8-9B94-8A7EBF250E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986" y="2615409"/>
            <a:ext cx="4570353" cy="4570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432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067EA-9B73-6EA3-8E1F-E5CDFEF82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3">
            <a:extLst>
              <a:ext uri="{FF2B5EF4-FFF2-40B4-BE49-F238E27FC236}">
                <a16:creationId xmlns:a16="http://schemas.microsoft.com/office/drawing/2014/main" id="{AFBA7AD6-051D-474C-8C66-4A6E02AFB66C}"/>
              </a:ext>
            </a:extLst>
          </p:cNvPr>
          <p:cNvSpPr/>
          <p:nvPr/>
        </p:nvSpPr>
        <p:spPr>
          <a:xfrm>
            <a:off x="496111" y="976313"/>
            <a:ext cx="11199778" cy="369331"/>
          </a:xfrm>
          <a:prstGeom prst="roundRect">
            <a:avLst/>
          </a:prstGeom>
          <a:gradFill flip="none" rotWithShape="1">
            <a:gsLst>
              <a:gs pos="100000">
                <a:schemeClr val="accent1">
                  <a:lumMod val="100000"/>
                </a:schemeClr>
              </a:gs>
              <a:gs pos="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203200" sx="99000" sy="99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31FD5093-54D3-323A-D7FB-C52D9DC8F4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51" r="10983"/>
          <a:stretch/>
        </p:blipFill>
        <p:spPr bwMode="auto">
          <a:xfrm>
            <a:off x="371475" y="1711963"/>
            <a:ext cx="4605193" cy="4605193"/>
          </a:xfrm>
          <a:prstGeom prst="roundRect">
            <a:avLst>
              <a:gd name="adj" fmla="val 591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B710CFA-52DA-8148-C295-DE0D4B456191}"/>
              </a:ext>
            </a:extLst>
          </p:cNvPr>
          <p:cNvSpPr txBox="1">
            <a:spLocks/>
          </p:cNvSpPr>
          <p:nvPr/>
        </p:nvSpPr>
        <p:spPr>
          <a:xfrm>
            <a:off x="371475" y="311031"/>
            <a:ext cx="11449049" cy="2862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4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УДЕРЖАНИЕ ЛОЯЛЬНОСТИ ЧЕРЕЗ </a:t>
            </a:r>
            <a:r>
              <a:rPr lang="ru-RU" sz="1400" dirty="0">
                <a:solidFill>
                  <a:srgbClr val="F15A22"/>
                </a:solidFill>
                <a:latin typeface="+mn-lt"/>
                <a:ea typeface="+mn-ea"/>
                <a:cs typeface="+mn-cs"/>
              </a:rPr>
              <a:t>СЕРВИСНЫЕ КОММУНИКАЦИ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С КЛИЕНТОМ</a:t>
            </a:r>
          </a:p>
        </p:txBody>
      </p:sp>
      <p:graphicFrame>
        <p:nvGraphicFramePr>
          <p:cNvPr id="26" name="Таблица 33">
            <a:extLst>
              <a:ext uri="{FF2B5EF4-FFF2-40B4-BE49-F238E27FC236}">
                <a16:creationId xmlns:a16="http://schemas.microsoft.com/office/drawing/2014/main" id="{7F1A44A8-009E-2BF2-ACA5-5D72D79AE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17461"/>
              </p:ext>
            </p:extLst>
          </p:nvPr>
        </p:nvGraphicFramePr>
        <p:xfrm>
          <a:off x="5194300" y="1711963"/>
          <a:ext cx="6626224" cy="1935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26224">
                  <a:extLst>
                    <a:ext uri="{9D8B030D-6E8A-4147-A177-3AD203B41FA5}">
                      <a16:colId xmlns:a16="http://schemas.microsoft.com/office/drawing/2014/main" val="3900400295"/>
                    </a:ext>
                  </a:extLst>
                </a:gridCol>
              </a:tblGrid>
              <a:tr h="310513"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+mn-lt"/>
                        </a:rPr>
                        <a:t>Тёплое сопровождение после сделки </a:t>
                      </a:r>
                      <a:br>
                        <a:rPr lang="ru-RU" sz="12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Рассказываем с заботой, даем полезную информацию вместо молчания или сухих уведомлений</a:t>
                      </a:r>
                      <a:endParaRPr lang="ru-RU" sz="1100" dirty="0">
                        <a:solidFill>
                          <a:schemeClr val="accent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12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Информация о ходе строительства для каждого ЖК / корпуса </a:t>
                      </a:r>
                      <a:b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Визуализация прогресса снижает беспокойство и создает эффект присутстви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12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Люди прощают сдвиги, но переживают из-за молчания Застройщика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Информирование о сдвиге сроков заселения и их причинах значительно снижают тревожность и позволяют клиентам правильно планировать время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35814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A31CF50-7255-5B26-6760-02D8601AE39F}"/>
              </a:ext>
            </a:extLst>
          </p:cNvPr>
          <p:cNvSpPr txBox="1"/>
          <p:nvPr/>
        </p:nvSpPr>
        <p:spPr>
          <a:xfrm>
            <a:off x="496111" y="1002343"/>
            <a:ext cx="111997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DIN PT" panose="020B0504030203060204" pitchFamily="34" charset="0"/>
              </a:rPr>
              <a:t>Ожидание ключей</a:t>
            </a:r>
            <a:endParaRPr lang="en-US" sz="1400" dirty="0">
              <a:solidFill>
                <a:schemeClr val="bg1"/>
              </a:solidFill>
              <a:latin typeface="DIN PT" panose="020B0504030203060204" pitchFamily="34" charset="0"/>
            </a:endParaRPr>
          </a:p>
        </p:txBody>
      </p:sp>
      <p:graphicFrame>
        <p:nvGraphicFramePr>
          <p:cNvPr id="7" name="Таблица 33">
            <a:extLst>
              <a:ext uri="{FF2B5EF4-FFF2-40B4-BE49-F238E27FC236}">
                <a16:creationId xmlns:a16="http://schemas.microsoft.com/office/drawing/2014/main" id="{B8073620-4A51-3E4A-1EA6-9D70B4E155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8976016"/>
              </p:ext>
            </p:extLst>
          </p:nvPr>
        </p:nvGraphicFramePr>
        <p:xfrm>
          <a:off x="6096000" y="3758053"/>
          <a:ext cx="5199908" cy="1314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39612">
                  <a:extLst>
                    <a:ext uri="{9D8B030D-6E8A-4147-A177-3AD203B41FA5}">
                      <a16:colId xmlns:a16="http://schemas.microsoft.com/office/drawing/2014/main" val="3900400295"/>
                    </a:ext>
                  </a:extLst>
                </a:gridCol>
                <a:gridCol w="3760296">
                  <a:extLst>
                    <a:ext uri="{9D8B030D-6E8A-4147-A177-3AD203B41FA5}">
                      <a16:colId xmlns:a16="http://schemas.microsoft.com/office/drawing/2014/main" val="1523665546"/>
                    </a:ext>
                  </a:extLst>
                </a:gridCol>
              </a:tblGrid>
              <a:tr h="365229"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До </a:t>
                      </a:r>
                      <a:r>
                        <a:rPr lang="ru-RU" sz="20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sz="12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мес.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Незначительное снижение индекса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NPS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DIN PT" panose="020B050403020306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253586"/>
                  </a:ext>
                </a:extLst>
              </a:tr>
              <a:tr h="413976"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20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2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 до </a:t>
                      </a:r>
                      <a:r>
                        <a:rPr lang="ru-RU" sz="20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6 </a:t>
                      </a:r>
                      <a:r>
                        <a:rPr lang="ru-RU" sz="12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мес.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Снижение до 10 - 15%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894127"/>
                  </a:ext>
                </a:extLst>
              </a:tr>
              <a:tr h="504434"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Более </a:t>
                      </a:r>
                      <a:r>
                        <a:rPr lang="ru-RU" sz="20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6 </a:t>
                      </a:r>
                      <a:r>
                        <a:rPr lang="ru-RU" sz="1200" kern="120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мес.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Значительное снижение индекса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NPS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, </a:t>
                      </a:r>
                      <a:b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  <a:ea typeface="+mn-ea"/>
                          <a:cs typeface="+mn-cs"/>
                        </a:rPr>
                        <a:t>риск перехода в отрицательное значение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358148"/>
                  </a:ext>
                </a:extLst>
              </a:tr>
            </a:tbl>
          </a:graphicData>
        </a:graphic>
      </p:graphicFrame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DDCCA57E-BBCF-469B-8DC8-16F473033431}"/>
              </a:ext>
            </a:extLst>
          </p:cNvPr>
          <p:cNvSpPr/>
          <p:nvPr/>
        </p:nvSpPr>
        <p:spPr>
          <a:xfrm>
            <a:off x="5194300" y="5295901"/>
            <a:ext cx="6501589" cy="938296"/>
          </a:xfrm>
          <a:prstGeom prst="roundRect">
            <a:avLst>
              <a:gd name="adj" fmla="val 15927"/>
            </a:avLst>
          </a:prstGeom>
          <a:noFill/>
          <a:ln w="6350">
            <a:gradFill flip="none" rotWithShape="1">
              <a:gsLst>
                <a:gs pos="0">
                  <a:srgbClr val="FFCB64"/>
                </a:gs>
                <a:gs pos="100000">
                  <a:srgbClr val="FD5F70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ru-RU" sz="1400" dirty="0">
                <a:solidFill>
                  <a:schemeClr val="bg1"/>
                </a:solidFill>
                <a:latin typeface="DIN PT" panose="020B0504030203060204" pitchFamily="34" charset="0"/>
              </a:rPr>
              <a:t>В случае своевременного информирования и продуманного план взаимодействий </a:t>
            </a:r>
            <a:r>
              <a:rPr lang="ru-RU" sz="1400" dirty="0">
                <a:solidFill>
                  <a:schemeClr val="accent1"/>
                </a:solidFill>
                <a:latin typeface="DIN PT" panose="020B0504030203060204" pitchFamily="34" charset="0"/>
              </a:rPr>
              <a:t>Застройщик увеличивает вероятность сохранения лояльности и снижает затраты на судебные издержки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8145F0A9-FA2B-4E10-9C83-4AD246F46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295908" y="5914976"/>
            <a:ext cx="542419" cy="542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43343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0E3D9-5FDD-F476-02B4-1D1D92032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0A8AB00-CD86-1FFA-3503-478461552FB1}"/>
              </a:ext>
            </a:extLst>
          </p:cNvPr>
          <p:cNvSpPr txBox="1">
            <a:spLocks/>
          </p:cNvSpPr>
          <p:nvPr/>
        </p:nvSpPr>
        <p:spPr>
          <a:xfrm>
            <a:off x="371475" y="311031"/>
            <a:ext cx="11449049" cy="2862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4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УДЕРЖАНИЕ ЛОЯЛЬНОСТИ ЧЕРЕЗ </a:t>
            </a:r>
            <a:r>
              <a:rPr lang="ru-RU" sz="1400" dirty="0">
                <a:solidFill>
                  <a:srgbClr val="F15A22"/>
                </a:solidFill>
                <a:latin typeface="+mn-lt"/>
                <a:ea typeface="+mn-ea"/>
                <a:cs typeface="+mn-cs"/>
              </a:rPr>
              <a:t>СЕРВИСНЫЕ КОММУНИКАЦИИ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15A2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С КЛИЕНТОМ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A4AD53B-F261-23AB-17DD-1AF2C2F41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 bwMode="auto">
          <a:xfrm>
            <a:off x="371475" y="1711994"/>
            <a:ext cx="4604400" cy="4604400"/>
          </a:xfrm>
          <a:prstGeom prst="roundRect">
            <a:avLst>
              <a:gd name="adj" fmla="val 591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29A27F-2342-6ADC-1B08-823DF39AFA88}"/>
              </a:ext>
            </a:extLst>
          </p:cNvPr>
          <p:cNvSpPr txBox="1"/>
          <p:nvPr/>
        </p:nvSpPr>
        <p:spPr>
          <a:xfrm>
            <a:off x="371475" y="6402070"/>
            <a:ext cx="60943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900" dirty="0">
                <a:solidFill>
                  <a:schemeClr val="bg2"/>
                </a:solidFill>
              </a:rPr>
              <a:t>*согласно внутренних данных компании за 2025 </a:t>
            </a:r>
          </a:p>
        </p:txBody>
      </p:sp>
      <p:sp>
        <p:nvSpPr>
          <p:cNvPr id="8" name="Скругленный прямоугольник 3">
            <a:extLst>
              <a:ext uri="{FF2B5EF4-FFF2-40B4-BE49-F238E27FC236}">
                <a16:creationId xmlns:a16="http://schemas.microsoft.com/office/drawing/2014/main" id="{FDDF9E96-FD58-43C7-BF2D-EB966963C97F}"/>
              </a:ext>
            </a:extLst>
          </p:cNvPr>
          <p:cNvSpPr/>
          <p:nvPr/>
        </p:nvSpPr>
        <p:spPr>
          <a:xfrm>
            <a:off x="496111" y="976313"/>
            <a:ext cx="11199778" cy="369331"/>
          </a:xfrm>
          <a:prstGeom prst="roundRect">
            <a:avLst/>
          </a:prstGeom>
          <a:gradFill flip="none" rotWithShape="1">
            <a:gsLst>
              <a:gs pos="100000">
                <a:schemeClr val="accent1">
                  <a:lumMod val="100000"/>
                </a:schemeClr>
              </a:gs>
              <a:gs pos="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203200" sx="99000" sy="99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086928-33C5-4F19-B2AC-658415C28347}"/>
              </a:ext>
            </a:extLst>
          </p:cNvPr>
          <p:cNvSpPr txBox="1"/>
          <p:nvPr/>
        </p:nvSpPr>
        <p:spPr>
          <a:xfrm>
            <a:off x="496111" y="1002343"/>
            <a:ext cx="111997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DIN PT" panose="020B0504030203060204" pitchFamily="34" charset="0"/>
              </a:rPr>
              <a:t>Передача ключей, устранение первичных замечаний</a:t>
            </a:r>
          </a:p>
        </p:txBody>
      </p:sp>
      <p:graphicFrame>
        <p:nvGraphicFramePr>
          <p:cNvPr id="12" name="Таблица 33">
            <a:extLst>
              <a:ext uri="{FF2B5EF4-FFF2-40B4-BE49-F238E27FC236}">
                <a16:creationId xmlns:a16="http://schemas.microsoft.com/office/drawing/2014/main" id="{7F206E00-3C4E-4E93-B346-62E3C16124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4538777"/>
              </p:ext>
            </p:extLst>
          </p:nvPr>
        </p:nvGraphicFramePr>
        <p:xfrm>
          <a:off x="5194300" y="1711963"/>
          <a:ext cx="6626224" cy="2194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26224">
                  <a:extLst>
                    <a:ext uri="{9D8B030D-6E8A-4147-A177-3AD203B41FA5}">
                      <a16:colId xmlns:a16="http://schemas.microsoft.com/office/drawing/2014/main" val="3900400295"/>
                    </a:ext>
                  </a:extLst>
                </a:gridCol>
              </a:tblGrid>
              <a:tr h="310513"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+mn-lt"/>
                        </a:rPr>
                        <a:t>Информирование о подготовке к заселению</a:t>
                      </a:r>
                      <a:br>
                        <a:rPr lang="ru-RU" sz="12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Даем полезную информацию об этапах приемки, что необходимо знать клиенту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ru-RU" sz="12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Приглашаем клиента на передачу ключей</a:t>
                      </a:r>
                      <a:b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</a:b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Клиент не ищет информацию в чатах, а получает персональную информацию от Застройщика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ru-RU" sz="12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Информируем о статусе и сроках устранения замечаний </a:t>
                      </a:r>
                      <a:r>
                        <a:rPr lang="ru-RU" sz="1400" dirty="0">
                          <a:solidFill>
                            <a:schemeClr val="bg2"/>
                          </a:solidFill>
                          <a:latin typeface="DIN PT" panose="020B0504030203060204" pitchFamily="34" charset="0"/>
                        </a:rPr>
                        <a:t>(при наличии)</a:t>
                      </a: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Клиент видит статус с личном кабинете, получает </a:t>
                      </a:r>
                      <a:r>
                        <a:rPr lang="ru-RU" sz="1100" dirty="0" err="1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push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DIN PT" panose="020B0504030203060204" pitchFamily="34" charset="0"/>
                        </a:rPr>
                        <a:t> или смс-уведомление о статусе заявки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ru-RU" sz="11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  <a:p>
                      <a:pPr marL="285750" marR="0" lvl="0" indent="-28575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1"/>
                          </a:solidFill>
                          <a:latin typeface="DIN PT" panose="020B0504030203060204" pitchFamily="34" charset="0"/>
                        </a:rPr>
                        <a:t>Своевременно реагируем на обращения в рамках досудебного урегулирования</a:t>
                      </a:r>
                      <a:endParaRPr lang="ru-RU" sz="1100" dirty="0">
                        <a:solidFill>
                          <a:schemeClr val="bg1"/>
                        </a:solidFill>
                        <a:latin typeface="DIN PT" panose="020B050403020306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358148"/>
                  </a:ext>
                </a:extLst>
              </a:tr>
            </a:tbl>
          </a:graphicData>
        </a:graphic>
      </p:graphicFrame>
      <p:sp>
        <p:nvSpPr>
          <p:cNvPr id="13" name="Скругленный прямоугольник 3">
            <a:extLst>
              <a:ext uri="{FF2B5EF4-FFF2-40B4-BE49-F238E27FC236}">
                <a16:creationId xmlns:a16="http://schemas.microsoft.com/office/drawing/2014/main" id="{915EEFA9-3DB6-4107-AC97-7CC133702F9A}"/>
              </a:ext>
            </a:extLst>
          </p:cNvPr>
          <p:cNvSpPr/>
          <p:nvPr/>
        </p:nvSpPr>
        <p:spPr>
          <a:xfrm>
            <a:off x="5194300" y="4210872"/>
            <a:ext cx="6197600" cy="1098341"/>
          </a:xfrm>
          <a:prstGeom prst="roundRect">
            <a:avLst/>
          </a:prstGeom>
          <a:noFill/>
          <a:ln w="6350">
            <a:gradFill flip="none" rotWithShape="1">
              <a:gsLst>
                <a:gs pos="0">
                  <a:srgbClr val="FFCB64"/>
                </a:gs>
                <a:gs pos="100000">
                  <a:srgbClr val="FD5F70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endParaRPr lang="ru-RU" sz="1400">
              <a:solidFill>
                <a:schemeClr val="bg1"/>
              </a:solidFill>
              <a:latin typeface="DIN PT" panose="020B0504030203060204" pitchFamily="34" charset="0"/>
            </a:endParaRP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28BD3E8F-566D-4AF2-8F7F-9585A9549B53}"/>
              </a:ext>
            </a:extLst>
          </p:cNvPr>
          <p:cNvSpPr/>
          <p:nvPr/>
        </p:nvSpPr>
        <p:spPr>
          <a:xfrm>
            <a:off x="6922826" y="4499430"/>
            <a:ext cx="4546278" cy="574326"/>
          </a:xfrm>
          <a:prstGeom prst="roundRect">
            <a:avLst>
              <a:gd name="adj" fmla="val 16957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FFFFFF"/>
                </a:solidFill>
                <a:latin typeface="DIN PT" panose="020B0504030203060204" pitchFamily="34" charset="0"/>
              </a:rPr>
              <a:t>обращений, при своевременной реакции проведении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FFFFFF"/>
                </a:solidFill>
                <a:latin typeface="DIN PT" panose="020B0504030203060204" pitchFamily="34" charset="0"/>
              </a:rPr>
              <a:t>досудебной работы, заканчиваются согласием клиента </a:t>
            </a:r>
            <a:br>
              <a:rPr lang="ru-RU" sz="1100" dirty="0">
                <a:solidFill>
                  <a:srgbClr val="FFFFFF"/>
                </a:solidFill>
                <a:latin typeface="DIN PT" panose="020B0504030203060204" pitchFamily="34" charset="0"/>
              </a:rPr>
            </a:br>
            <a:r>
              <a:rPr lang="ru-RU" sz="1100" dirty="0">
                <a:solidFill>
                  <a:srgbClr val="FFFFFF"/>
                </a:solidFill>
                <a:latin typeface="DIN PT" panose="020B0504030203060204" pitchFamily="34" charset="0"/>
              </a:rPr>
              <a:t>на встречные условия Застройщика*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35FBEB-955D-4267-9F05-5C9152E70D33}"/>
              </a:ext>
            </a:extLst>
          </p:cNvPr>
          <p:cNvSpPr txBox="1"/>
          <p:nvPr/>
        </p:nvSpPr>
        <p:spPr>
          <a:xfrm>
            <a:off x="4809557" y="4216110"/>
            <a:ext cx="264734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/>
              </a:rPr>
              <a:t>70</a:t>
            </a:r>
            <a:r>
              <a:rPr kumimoji="0" lang="ru-RU" sz="600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/>
              </a:rPr>
              <a:t>%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DIN PT" panose="020B0504030203060204" pitchFamily="34" charset="0"/>
              <a:ea typeface="Verdana" panose="020B0604030504040204" pitchFamily="34" charset="0"/>
              <a:cs typeface="Arial"/>
            </a:endParaRPr>
          </a:p>
        </p:txBody>
      </p:sp>
      <p:pic>
        <p:nvPicPr>
          <p:cNvPr id="3074" name="Picture 2" descr="Как выглядит эмодзи Весы в Apple.">
            <a:extLst>
              <a:ext uri="{FF2B5EF4-FFF2-40B4-BE49-F238E27FC236}">
                <a16:creationId xmlns:a16="http://schemas.microsoft.com/office/drawing/2014/main" id="{07D609BE-834A-427A-B1DE-CF93B293C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0817" y="4165152"/>
            <a:ext cx="1173846" cy="1173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0240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fsk_new">
  <a:themeElements>
    <a:clrScheme name="FSK_template">
      <a:dk1>
        <a:srgbClr val="121212"/>
      </a:dk1>
      <a:lt1>
        <a:srgbClr val="FFFFFF"/>
      </a:lt1>
      <a:dk2>
        <a:srgbClr val="4D4D4D"/>
      </a:dk2>
      <a:lt2>
        <a:srgbClr val="838383"/>
      </a:lt2>
      <a:accent1>
        <a:srgbClr val="F15A22"/>
      </a:accent1>
      <a:accent2>
        <a:srgbClr val="D46515"/>
      </a:accent2>
      <a:accent3>
        <a:srgbClr val="9E9E9E"/>
      </a:accent3>
      <a:accent4>
        <a:srgbClr val="BCBCBC"/>
      </a:accent4>
      <a:accent5>
        <a:srgbClr val="E6BA00"/>
      </a:accent5>
      <a:accent6>
        <a:srgbClr val="017D10"/>
      </a:accent6>
      <a:hlink>
        <a:srgbClr val="925E30"/>
      </a:hlink>
      <a:folHlink>
        <a:srgbClr val="F15A22"/>
      </a:folHlink>
    </a:clrScheme>
    <a:fontScheme name="FSK_1">
      <a:majorFont>
        <a:latin typeface="DIN PT Bold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sk_new" id="{9C2DE5F5-BA0E-447B-AA4D-BC4169EBCF1C}" vid="{859E92A2-B69B-4EFF-8139-FD71315EB3B1}"/>
    </a:ext>
  </a:extLst>
</a:theme>
</file>

<file path=ppt/theme/theme2.xml><?xml version="1.0" encoding="utf-8"?>
<a:theme xmlns:a="http://schemas.openxmlformats.org/drawingml/2006/main" name="4_fsk_new">
  <a:themeElements>
    <a:clrScheme name="FSK_template">
      <a:dk1>
        <a:srgbClr val="121212"/>
      </a:dk1>
      <a:lt1>
        <a:srgbClr val="FFFFFF"/>
      </a:lt1>
      <a:dk2>
        <a:srgbClr val="4D4D4D"/>
      </a:dk2>
      <a:lt2>
        <a:srgbClr val="838383"/>
      </a:lt2>
      <a:accent1>
        <a:srgbClr val="F15A22"/>
      </a:accent1>
      <a:accent2>
        <a:srgbClr val="D46515"/>
      </a:accent2>
      <a:accent3>
        <a:srgbClr val="9E9E9E"/>
      </a:accent3>
      <a:accent4>
        <a:srgbClr val="BCBCBC"/>
      </a:accent4>
      <a:accent5>
        <a:srgbClr val="E6BA00"/>
      </a:accent5>
      <a:accent6>
        <a:srgbClr val="017D10"/>
      </a:accent6>
      <a:hlink>
        <a:srgbClr val="925E30"/>
      </a:hlink>
      <a:folHlink>
        <a:srgbClr val="F15A22"/>
      </a:folHlink>
    </a:clrScheme>
    <a:fontScheme name="Другая 1">
      <a:majorFont>
        <a:latin typeface="DIN PT Bold"/>
        <a:ea typeface=""/>
        <a:cs typeface=""/>
      </a:majorFont>
      <a:minorFont>
        <a:latin typeface="DIN P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sk_new" id="{9C2DE5F5-BA0E-447B-AA4D-BC4169EBCF1C}" vid="{859E92A2-B69B-4EFF-8139-FD71315EB3B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9</TotalTime>
  <Words>1120</Words>
  <Application>Microsoft Office PowerPoint</Application>
  <PresentationFormat>Широкоэкранный</PresentationFormat>
  <Paragraphs>226</Paragraphs>
  <Slides>12</Slides>
  <Notes>1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9" baseType="lpstr">
      <vt:lpstr>Andy</vt:lpstr>
      <vt:lpstr>DIN PT Medium</vt:lpstr>
      <vt:lpstr>Times New Roman</vt:lpstr>
      <vt:lpstr>Century Gothic</vt:lpstr>
      <vt:lpstr>DIN PT Thin</vt:lpstr>
      <vt:lpstr>League Spartan</vt:lpstr>
      <vt:lpstr>DIN PT Bold</vt:lpstr>
      <vt:lpstr>Verdana</vt:lpstr>
      <vt:lpstr>Arial</vt:lpstr>
      <vt:lpstr>Poppins</vt:lpstr>
      <vt:lpstr>DIN PT</vt:lpstr>
      <vt:lpstr>DIN PT Light</vt:lpstr>
      <vt:lpstr>DIN PT Extra Bold</vt:lpstr>
      <vt:lpstr>Calibri</vt:lpstr>
      <vt:lpstr>3_fsk_new</vt:lpstr>
      <vt:lpstr>4_fsk_new</vt:lpstr>
      <vt:lpstr>Слайд think-cell</vt:lpstr>
      <vt:lpstr>Презентация PowerPoint</vt:lpstr>
      <vt:lpstr>ГК ФС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истопадова Марина Анатольевна</dc:creator>
  <cp:lastModifiedBy>Долбышева Наталья Юрьевна</cp:lastModifiedBy>
  <cp:revision>20</cp:revision>
  <dcterms:created xsi:type="dcterms:W3CDTF">2026-02-27T16:58:34Z</dcterms:created>
  <dcterms:modified xsi:type="dcterms:W3CDTF">2026-03-05T10:46:08Z</dcterms:modified>
</cp:coreProperties>
</file>